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1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8.xml" ContentType="application/vnd.openxmlformats-officedocument.presentationml.notesSlide+xml"/>
  <Override PartName="/ppt/charts/chart3.xml" ContentType="application/vnd.openxmlformats-officedocument.drawingml.chart+xml"/>
  <Override PartName="/ppt/notesSlides/notesSlide19.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70" r:id="rId4"/>
    <p:sldMasterId id="2147484640" r:id="rId5"/>
    <p:sldMasterId id="2147484643" r:id="rId6"/>
    <p:sldMasterId id="2147484697" r:id="rId7"/>
    <p:sldMasterId id="2147484756" r:id="rId8"/>
    <p:sldMasterId id="2147484769" r:id="rId9"/>
    <p:sldMasterId id="2147484801" r:id="rId10"/>
  </p:sldMasterIdLst>
  <p:notesMasterIdLst>
    <p:notesMasterId r:id="rId82"/>
  </p:notesMasterIdLst>
  <p:handoutMasterIdLst>
    <p:handoutMasterId r:id="rId83"/>
  </p:handoutMasterIdLst>
  <p:sldIdLst>
    <p:sldId id="260" r:id="rId11"/>
    <p:sldId id="2147375966" r:id="rId12"/>
    <p:sldId id="2147375975" r:id="rId13"/>
    <p:sldId id="2147375971" r:id="rId14"/>
    <p:sldId id="2147375967" r:id="rId15"/>
    <p:sldId id="2147375970" r:id="rId16"/>
    <p:sldId id="2147375969" r:id="rId17"/>
    <p:sldId id="2145707445" r:id="rId18"/>
    <p:sldId id="2145707446" r:id="rId19"/>
    <p:sldId id="2147375958" r:id="rId20"/>
    <p:sldId id="2147375959" r:id="rId21"/>
    <p:sldId id="2147375960" r:id="rId22"/>
    <p:sldId id="2147375961" r:id="rId23"/>
    <p:sldId id="2147375962" r:id="rId24"/>
    <p:sldId id="2147375963" r:id="rId25"/>
    <p:sldId id="2147375964" r:id="rId26"/>
    <p:sldId id="2147375965" r:id="rId27"/>
    <p:sldId id="256" r:id="rId28"/>
    <p:sldId id="2147375996" r:id="rId29"/>
    <p:sldId id="2145707397" r:id="rId30"/>
    <p:sldId id="2147375991" r:id="rId31"/>
    <p:sldId id="2145707417" r:id="rId32"/>
    <p:sldId id="2147375982" r:id="rId33"/>
    <p:sldId id="2147375989" r:id="rId34"/>
    <p:sldId id="2145707222" r:id="rId35"/>
    <p:sldId id="2145707414" r:id="rId36"/>
    <p:sldId id="2147375983" r:id="rId37"/>
    <p:sldId id="2147375988" r:id="rId38"/>
    <p:sldId id="2147375992" r:id="rId39"/>
    <p:sldId id="2147375994" r:id="rId40"/>
    <p:sldId id="2147375993" r:id="rId41"/>
    <p:sldId id="2145707428" r:id="rId42"/>
    <p:sldId id="2145707429" r:id="rId43"/>
    <p:sldId id="2145707432" r:id="rId44"/>
    <p:sldId id="2145707447" r:id="rId45"/>
    <p:sldId id="2147375953" r:id="rId46"/>
    <p:sldId id="1870" r:id="rId47"/>
    <p:sldId id="2147375977" r:id="rId48"/>
    <p:sldId id="609" r:id="rId49"/>
    <p:sldId id="1899" r:id="rId50"/>
    <p:sldId id="1875" r:id="rId51"/>
    <p:sldId id="1886" r:id="rId52"/>
    <p:sldId id="1851" r:id="rId53"/>
    <p:sldId id="1846" r:id="rId54"/>
    <p:sldId id="1827" r:id="rId55"/>
    <p:sldId id="605" r:id="rId56"/>
    <p:sldId id="1868" r:id="rId57"/>
    <p:sldId id="272" r:id="rId58"/>
    <p:sldId id="1869" r:id="rId59"/>
    <p:sldId id="1887" r:id="rId60"/>
    <p:sldId id="1898" r:id="rId61"/>
    <p:sldId id="1888" r:id="rId62"/>
    <p:sldId id="1889" r:id="rId63"/>
    <p:sldId id="1895" r:id="rId64"/>
    <p:sldId id="1890" r:id="rId65"/>
    <p:sldId id="1897" r:id="rId66"/>
    <p:sldId id="1891" r:id="rId67"/>
    <p:sldId id="1894" r:id="rId68"/>
    <p:sldId id="1892" r:id="rId69"/>
    <p:sldId id="1900" r:id="rId70"/>
    <p:sldId id="2147375972" r:id="rId71"/>
    <p:sldId id="2147375924" r:id="rId72"/>
    <p:sldId id="2147375951" r:id="rId73"/>
    <p:sldId id="2147375950" r:id="rId74"/>
    <p:sldId id="2147375952" r:id="rId75"/>
    <p:sldId id="2147375954" r:id="rId76"/>
    <p:sldId id="2147375955" r:id="rId77"/>
    <p:sldId id="2147375956" r:id="rId78"/>
    <p:sldId id="2147375957" r:id="rId79"/>
    <p:sldId id="2147375979" r:id="rId80"/>
    <p:sldId id="2147375976" r:id="rId81"/>
  </p:sldIdLst>
  <p:sldSz cx="9906000" cy="6858000" type="A4"/>
  <p:notesSz cx="6797675" cy="9926638"/>
  <p:defaultTextStyle>
    <a:defPPr>
      <a:defRPr lang="cs-CZ"/>
    </a:defPPr>
    <a:lvl1pPr marL="0" algn="l" defTabSz="1072740" rtl="0" eaLnBrk="1" latinLnBrk="0" hangingPunct="1">
      <a:defRPr sz="2094" kern="1200">
        <a:solidFill>
          <a:schemeClr val="tx1"/>
        </a:solidFill>
        <a:latin typeface="+mn-lt"/>
        <a:ea typeface="+mn-ea"/>
        <a:cs typeface="+mn-cs"/>
      </a:defRPr>
    </a:lvl1pPr>
    <a:lvl2pPr marL="536370" algn="l" defTabSz="1072740" rtl="0" eaLnBrk="1" latinLnBrk="0" hangingPunct="1">
      <a:defRPr sz="2094" kern="1200">
        <a:solidFill>
          <a:schemeClr val="tx1"/>
        </a:solidFill>
        <a:latin typeface="+mn-lt"/>
        <a:ea typeface="+mn-ea"/>
        <a:cs typeface="+mn-cs"/>
      </a:defRPr>
    </a:lvl2pPr>
    <a:lvl3pPr marL="1072740" algn="l" defTabSz="1072740" rtl="0" eaLnBrk="1" latinLnBrk="0" hangingPunct="1">
      <a:defRPr sz="2094" kern="1200">
        <a:solidFill>
          <a:schemeClr val="tx1"/>
        </a:solidFill>
        <a:latin typeface="+mn-lt"/>
        <a:ea typeface="+mn-ea"/>
        <a:cs typeface="+mn-cs"/>
      </a:defRPr>
    </a:lvl3pPr>
    <a:lvl4pPr marL="1609111" algn="l" defTabSz="1072740" rtl="0" eaLnBrk="1" latinLnBrk="0" hangingPunct="1">
      <a:defRPr sz="2094" kern="1200">
        <a:solidFill>
          <a:schemeClr val="tx1"/>
        </a:solidFill>
        <a:latin typeface="+mn-lt"/>
        <a:ea typeface="+mn-ea"/>
        <a:cs typeface="+mn-cs"/>
      </a:defRPr>
    </a:lvl4pPr>
    <a:lvl5pPr marL="2145481" algn="l" defTabSz="1072740" rtl="0" eaLnBrk="1" latinLnBrk="0" hangingPunct="1">
      <a:defRPr sz="2094" kern="1200">
        <a:solidFill>
          <a:schemeClr val="tx1"/>
        </a:solidFill>
        <a:latin typeface="+mn-lt"/>
        <a:ea typeface="+mn-ea"/>
        <a:cs typeface="+mn-cs"/>
      </a:defRPr>
    </a:lvl5pPr>
    <a:lvl6pPr marL="2681852" algn="l" defTabSz="1072740" rtl="0" eaLnBrk="1" latinLnBrk="0" hangingPunct="1">
      <a:defRPr sz="2094" kern="1200">
        <a:solidFill>
          <a:schemeClr val="tx1"/>
        </a:solidFill>
        <a:latin typeface="+mn-lt"/>
        <a:ea typeface="+mn-ea"/>
        <a:cs typeface="+mn-cs"/>
      </a:defRPr>
    </a:lvl6pPr>
    <a:lvl7pPr marL="3218222" algn="l" defTabSz="1072740" rtl="0" eaLnBrk="1" latinLnBrk="0" hangingPunct="1">
      <a:defRPr sz="2094" kern="1200">
        <a:solidFill>
          <a:schemeClr val="tx1"/>
        </a:solidFill>
        <a:latin typeface="+mn-lt"/>
        <a:ea typeface="+mn-ea"/>
        <a:cs typeface="+mn-cs"/>
      </a:defRPr>
    </a:lvl7pPr>
    <a:lvl8pPr marL="3754593" algn="l" defTabSz="1072740" rtl="0" eaLnBrk="1" latinLnBrk="0" hangingPunct="1">
      <a:defRPr sz="2094" kern="1200">
        <a:solidFill>
          <a:schemeClr val="tx1"/>
        </a:solidFill>
        <a:latin typeface="+mn-lt"/>
        <a:ea typeface="+mn-ea"/>
        <a:cs typeface="+mn-cs"/>
      </a:defRPr>
    </a:lvl8pPr>
    <a:lvl9pPr marL="4290963" algn="l" defTabSz="1072740" rtl="0" eaLnBrk="1" latinLnBrk="0" hangingPunct="1">
      <a:defRPr sz="2094"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5" userDrawn="1">
          <p15:clr>
            <a:srgbClr val="A4A3A4"/>
          </p15:clr>
        </p15:guide>
        <p15:guide id="6" pos="312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8F8536-4367-CD87-F1EA-D783C9CFC6A2}" name="Košťálová Pavla" initials="PK" userId="S::pavla.kostalova@mmr.cz::fb3655b9-53e7-4957-986b-4909406ee6c7" providerId="AD"/>
  <p188:author id="{E98EC73F-3FA6-9EF5-5BE4-C4F1107360F1}" name="Alansari Dana" initials="AD" userId="S::dana.alansari@mmr.cz::b80a14e5-ba71-4234-80d0-2932a37598c5" providerId="AD"/>
  <p188:author id="{CFDE6F4B-D94B-E6FF-9BAC-E0B3140C5BB7}" name="Valenta Petr" initials="VP" userId="S::petr.valenta@mmr.cz::caa613ad-df55-4410-a595-0bab62bb6911" providerId="AD"/>
  <p188:author id="{2EDBCD8A-D31C-0C54-C285-C5C434AB5388}" name="Puršl František" initials="PF" userId="S::frantisek.pursl@mmr.cz::2d9cc4cd-da54-43dd-9e09-f57d243d731a" providerId="AD"/>
  <p188:author id="{8DEA8B99-8B5C-64A1-D06E-D41C50563DB0}" name="Sokol Daniel" initials="SD" userId="S::daniel.sokol@mmr.cz::06e50c18-97c9-46fd-91f7-e2b20856e520" providerId="AD"/>
  <p188:author id="{4624F9A6-248A-F310-3DD6-804E0C24E6EA}" name="Balatka Miroslav" initials="BM" userId="S::miroslav.balatka@mmr.cz::eea70a59-7f6e-44f9-ac44-471d32b65f47" providerId="AD"/>
  <p188:author id="{474DF9B2-FAD3-7E88-969F-6027E9D8A8E0}" name="Reznikow Alexandre" initials="AR" userId="S::alexandre.reznikow@mmr.cz::2dcdf4f9-0806-4776-ace0-fa22fa39ba66" providerId="AD"/>
  <p188:author id="{54E1ADC4-FFED-D8AF-5F0A-C60B4E91463F}" name="Opravil Zdeněk" initials="OZ" userId="S::zdenek.opravil@mmr.cz::432fd13f-eea1-44cb-8bc8-b34480f7dd5c" providerId="AD"/>
  <p188:author id="{E77C62E4-E18B-B18C-1411-1319AC210C89}" name="Zvolský Michal" initials="ZM" userId="S::michal.zvolsky@mmr.cz::5c7e5c27-30ab-43af-b7a3-dfc147d2a781" providerId="AD"/>
  <p188:author id="{9CF38EEE-0BAE-7116-4A73-47C4DDC3B842}" name="Barcalová Jitka" initials="BJ" userId="S::jitka.barcalova@mmr.cz::ee576c53-5c4f-489f-b6ff-d6731ecd73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František Puršl" initials="FP" lastIdx="1" clrIdx="0"/>
  <p:cmAuthor id="1" name="Barcalová Jitka" initials="BJ" lastIdx="2" clrIdx="1"/>
  <p:cmAuthor id="2" name="Puršl František" initials="PF" lastIdx="2" clrIdx="2"/>
  <p:cmAuthor id="3" name="Moravcová Ivana" initials="MI" lastIdx="0" clrIdx="3"/>
  <p:cmAuthor id="4" name="Ondřej Pergl" initials="OP" lastIdx="3" clrIdx="4">
    <p:extLst>
      <p:ext uri="{19B8F6BF-5375-455C-9EA6-DF929625EA0E}">
        <p15:presenceInfo xmlns:p15="http://schemas.microsoft.com/office/powerpoint/2012/main" userId="Ondřej Pergl" providerId="None"/>
      </p:ext>
    </p:extLst>
  </p:cmAuthor>
  <p:cmAuthor id="5" name="Hanousková Beáta" initials="HB" lastIdx="1" clrIdx="5">
    <p:extLst>
      <p:ext uri="{19B8F6BF-5375-455C-9EA6-DF929625EA0E}">
        <p15:presenceInfo xmlns:p15="http://schemas.microsoft.com/office/powerpoint/2012/main" userId="S::beata.hanouskova@mmr.cz::f6acd72f-2131-4f86-9d33-9f3cc992225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4EA2"/>
    <a:srgbClr val="0C4CA3"/>
    <a:srgbClr val="3166A8"/>
    <a:srgbClr val="000099"/>
    <a:srgbClr val="FF5050"/>
    <a:srgbClr val="4472C4"/>
    <a:srgbClr val="7BBAE6"/>
    <a:srgbClr val="14BE9E"/>
    <a:srgbClr val="5A92CD"/>
    <a:srgbClr val="7D9E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82E2DF-86B8-47A9-9176-252B0D135F6B}" v="499" dt="2025-09-09T17:27:38.484"/>
  </p1510:revLst>
</p1510:revInfo>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Světlý styl 1 – zvýraznění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EC20E35-A176-4012-BC5E-935CFFF8708E}" styleName="Styl Středně sytá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Bez stylu, bez mřížky">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Střední styl 2 – zvýraznění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Světlý styl 3 – zvýraznění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Světlý styl 2 – zvýraznění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7B26C5-4107-4FEC-AEDC-1716B250A1EF}" styleName="Světlý sty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A107856-5554-42FB-B03E-39F5DBC370BA}" styleName="Střední styl 4 – zvýraznění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Střední styl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5758FB7-9AC5-4552-8A53-C91805E547FA}" styleName="Styl s motivem 1 – zvýraznění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ED083AE6-46FA-4A59-8FB0-9F97EB10719F}" styleName="Světlý styl 3 – zvýraznění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7" d="100"/>
          <a:sy n="117" d="100"/>
        </p:scale>
        <p:origin x="1074" y="108"/>
      </p:cViewPr>
      <p:guideLst>
        <p:guide orient="horz" pos="5"/>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commentAuthors" Target="commentAuthors.xml"/><Relationship Id="rId89" Type="http://schemas.microsoft.com/office/2016/11/relationships/changesInfo" Target="changesInfos/changesInfo1.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5" Type="http://schemas.openxmlformats.org/officeDocument/2006/relationships/slideMaster" Target="slideMasters/slideMaster2.xml"/><Relationship Id="rId90" Type="http://schemas.microsoft.com/office/2015/10/relationships/revisionInfo" Target="revisionInfo.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handoutMaster" Target="handoutMasters/handoutMaster1.xml"/><Relationship Id="rId88" Type="http://schemas.openxmlformats.org/officeDocument/2006/relationships/tableStyles" Target="tableStyles.xml"/><Relationship Id="rId9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theme" Target="theme/theme1.xml"/><Relationship Id="rId61" Type="http://schemas.openxmlformats.org/officeDocument/2006/relationships/slide" Target="slides/slide51.xml"/><Relationship Id="rId82" Type="http://schemas.openxmlformats.org/officeDocument/2006/relationships/notesMaster" Target="notesMasters/notesMaster1.xml"/><Relationship Id="rId19" Type="http://schemas.openxmlformats.org/officeDocument/2006/relationships/slide" Target="slides/slide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pež Kamil" userId="S::kamil.papez@mmr.cz::aa27ec93-dc52-4f03-a33b-07fe73c35624" providerId="AD" clId="Web-{A967C53D-2A1E-9D64-0C28-CD20D1FCDC23}"/>
    <pc:docChg chg="addSld delSld modSld sldOrd">
      <pc:chgData name="Papež Kamil" userId="S::kamil.papez@mmr.cz::aa27ec93-dc52-4f03-a33b-07fe73c35624" providerId="AD" clId="Web-{A967C53D-2A1E-9D64-0C28-CD20D1FCDC23}" dt="2025-09-08T13:52:35.972" v="131" actId="20577"/>
      <pc:docMkLst>
        <pc:docMk/>
      </pc:docMkLst>
      <pc:sldChg chg="ord">
        <pc:chgData name="Papež Kamil" userId="S::kamil.papez@mmr.cz::aa27ec93-dc52-4f03-a33b-07fe73c35624" providerId="AD" clId="Web-{A967C53D-2A1E-9D64-0C28-CD20D1FCDC23}" dt="2025-09-08T13:50:25.529" v="105"/>
        <pc:sldMkLst>
          <pc:docMk/>
          <pc:sldMk cId="2532388755" sldId="2147375953"/>
        </pc:sldMkLst>
      </pc:sldChg>
      <pc:sldChg chg="new del">
        <pc:chgData name="Papež Kamil" userId="S::kamil.papez@mmr.cz::aa27ec93-dc52-4f03-a33b-07fe73c35624" providerId="AD" clId="Web-{A967C53D-2A1E-9D64-0C28-CD20D1FCDC23}" dt="2025-09-08T12:11:30.630" v="1"/>
        <pc:sldMkLst>
          <pc:docMk/>
          <pc:sldMk cId="462109425" sldId="2147375966"/>
        </pc:sldMkLst>
      </pc:sldChg>
      <pc:sldChg chg="modSp add ord replId">
        <pc:chgData name="Papež Kamil" userId="S::kamil.papez@mmr.cz::aa27ec93-dc52-4f03-a33b-07fe73c35624" providerId="AD" clId="Web-{A967C53D-2A1E-9D64-0C28-CD20D1FCDC23}" dt="2025-09-08T12:11:53.459" v="22" actId="20577"/>
        <pc:sldMkLst>
          <pc:docMk/>
          <pc:sldMk cId="2294658225" sldId="2147375966"/>
        </pc:sldMkLst>
        <pc:spChg chg="mod">
          <ac:chgData name="Papež Kamil" userId="S::kamil.papez@mmr.cz::aa27ec93-dc52-4f03-a33b-07fe73c35624" providerId="AD" clId="Web-{A967C53D-2A1E-9D64-0C28-CD20D1FCDC23}" dt="2025-09-08T12:11:47.318" v="13" actId="20577"/>
          <ac:spMkLst>
            <pc:docMk/>
            <pc:sldMk cId="2294658225" sldId="2147375966"/>
            <ac:spMk id="2" creationId="{5CB0B8C0-DAB1-B1C3-9F81-6F85965B1DF7}"/>
          </ac:spMkLst>
        </pc:spChg>
        <pc:spChg chg="mod">
          <ac:chgData name="Papež Kamil" userId="S::kamil.papez@mmr.cz::aa27ec93-dc52-4f03-a33b-07fe73c35624" providerId="AD" clId="Web-{A967C53D-2A1E-9D64-0C28-CD20D1FCDC23}" dt="2025-09-08T12:11:53.459" v="22" actId="20577"/>
          <ac:spMkLst>
            <pc:docMk/>
            <pc:sldMk cId="2294658225" sldId="2147375966"/>
            <ac:spMk id="3" creationId="{5D207E7E-34AC-FD76-D5A1-0D87BC028434}"/>
          </ac:spMkLst>
        </pc:spChg>
      </pc:sldChg>
      <pc:sldChg chg="modSp new">
        <pc:chgData name="Papež Kamil" userId="S::kamil.papez@mmr.cz::aa27ec93-dc52-4f03-a33b-07fe73c35624" providerId="AD" clId="Web-{A967C53D-2A1E-9D64-0C28-CD20D1FCDC23}" dt="2025-09-08T13:52:35.972" v="131" actId="20577"/>
        <pc:sldMkLst>
          <pc:docMk/>
          <pc:sldMk cId="3194915111" sldId="2147375967"/>
        </pc:sldMkLst>
        <pc:spChg chg="mod">
          <ac:chgData name="Papež Kamil" userId="S::kamil.papez@mmr.cz::aa27ec93-dc52-4f03-a33b-07fe73c35624" providerId="AD" clId="Web-{A967C53D-2A1E-9D64-0C28-CD20D1FCDC23}" dt="2025-09-08T12:14:26.293" v="75" actId="20577"/>
          <ac:spMkLst>
            <pc:docMk/>
            <pc:sldMk cId="3194915111" sldId="2147375967"/>
            <ac:spMk id="2" creationId="{BC909E77-0145-F3CA-8CCB-C954F0768670}"/>
          </ac:spMkLst>
        </pc:spChg>
        <pc:spChg chg="mod">
          <ac:chgData name="Papež Kamil" userId="S::kamil.papez@mmr.cz::aa27ec93-dc52-4f03-a33b-07fe73c35624" providerId="AD" clId="Web-{A967C53D-2A1E-9D64-0C28-CD20D1FCDC23}" dt="2025-09-08T13:52:35.972" v="131" actId="20577"/>
          <ac:spMkLst>
            <pc:docMk/>
            <pc:sldMk cId="3194915111" sldId="2147375967"/>
            <ac:spMk id="3" creationId="{79BFD934-D538-FCBE-611B-DE1951495F98}"/>
          </ac:spMkLst>
        </pc:spChg>
      </pc:sldChg>
    </pc:docChg>
  </pc:docChgLst>
  <pc:docChgLst>
    <pc:chgData name="Papež Kamil" userId="S::kamil.papez@mmr.cz::aa27ec93-dc52-4f03-a33b-07fe73c35624" providerId="AD" clId="Web-{F1045059-F521-0CC4-268C-8508210E002A}"/>
    <pc:docChg chg="modSld">
      <pc:chgData name="Papež Kamil" userId="S::kamil.papez@mmr.cz::aa27ec93-dc52-4f03-a33b-07fe73c35624" providerId="AD" clId="Web-{F1045059-F521-0CC4-268C-8508210E002A}" dt="2025-09-10T08:03:12.899" v="9"/>
      <pc:docMkLst>
        <pc:docMk/>
      </pc:docMkLst>
      <pc:sldChg chg="mod modShow">
        <pc:chgData name="Papež Kamil" userId="S::kamil.papez@mmr.cz::aa27ec93-dc52-4f03-a33b-07fe73c35624" providerId="AD" clId="Web-{F1045059-F521-0CC4-268C-8508210E002A}" dt="2025-09-10T08:03:04.414" v="7"/>
        <pc:sldMkLst>
          <pc:docMk/>
          <pc:sldMk cId="453328397" sldId="2145707418"/>
        </pc:sldMkLst>
      </pc:sldChg>
      <pc:sldChg chg="mod modShow">
        <pc:chgData name="Papež Kamil" userId="S::kamil.papez@mmr.cz::aa27ec93-dc52-4f03-a33b-07fe73c35624" providerId="AD" clId="Web-{F1045059-F521-0CC4-268C-8508210E002A}" dt="2025-09-10T08:03:06.961" v="8"/>
        <pc:sldMkLst>
          <pc:docMk/>
          <pc:sldMk cId="1163216872" sldId="2145707420"/>
        </pc:sldMkLst>
      </pc:sldChg>
      <pc:sldChg chg="mod modShow">
        <pc:chgData name="Papež Kamil" userId="S::kamil.papez@mmr.cz::aa27ec93-dc52-4f03-a33b-07fe73c35624" providerId="AD" clId="Web-{F1045059-F521-0CC4-268C-8508210E002A}" dt="2025-09-10T08:03:12.899" v="9"/>
        <pc:sldMkLst>
          <pc:docMk/>
          <pc:sldMk cId="1995325976" sldId="2145707421"/>
        </pc:sldMkLst>
      </pc:sldChg>
      <pc:sldChg chg="modSp">
        <pc:chgData name="Papež Kamil" userId="S::kamil.papez@mmr.cz::aa27ec93-dc52-4f03-a33b-07fe73c35624" providerId="AD" clId="Web-{F1045059-F521-0CC4-268C-8508210E002A}" dt="2025-09-10T08:02:08.412" v="6" actId="20577"/>
        <pc:sldMkLst>
          <pc:docMk/>
          <pc:sldMk cId="2132234729" sldId="2147375969"/>
        </pc:sldMkLst>
        <pc:spChg chg="mod">
          <ac:chgData name="Papež Kamil" userId="S::kamil.papez@mmr.cz::aa27ec93-dc52-4f03-a33b-07fe73c35624" providerId="AD" clId="Web-{F1045059-F521-0CC4-268C-8508210E002A}" dt="2025-09-10T08:02:08.412" v="6" actId="20577"/>
          <ac:spMkLst>
            <pc:docMk/>
            <pc:sldMk cId="2132234729" sldId="2147375969"/>
            <ac:spMk id="3" creationId="{073F6400-691F-2012-4698-F90B4204948A}"/>
          </ac:spMkLst>
        </pc:spChg>
      </pc:sldChg>
      <pc:sldChg chg="modSp">
        <pc:chgData name="Papež Kamil" userId="S::kamil.papez@mmr.cz::aa27ec93-dc52-4f03-a33b-07fe73c35624" providerId="AD" clId="Web-{F1045059-F521-0CC4-268C-8508210E002A}" dt="2025-09-10T08:01:11.347" v="0" actId="20577"/>
        <pc:sldMkLst>
          <pc:docMk/>
          <pc:sldMk cId="784599496" sldId="2147375970"/>
        </pc:sldMkLst>
        <pc:spChg chg="mod">
          <ac:chgData name="Papež Kamil" userId="S::kamil.papez@mmr.cz::aa27ec93-dc52-4f03-a33b-07fe73c35624" providerId="AD" clId="Web-{F1045059-F521-0CC4-268C-8508210E002A}" dt="2025-09-10T08:01:11.347" v="0" actId="20577"/>
          <ac:spMkLst>
            <pc:docMk/>
            <pc:sldMk cId="784599496" sldId="2147375970"/>
            <ac:spMk id="3" creationId="{1BEF9562-428C-2C0B-09DD-5D8EF5B4B2BA}"/>
          </ac:spMkLst>
        </pc:spChg>
      </pc:sldChg>
    </pc:docChg>
  </pc:docChgLst>
  <pc:docChgLst>
    <pc:chgData name="Košťálová Pavla" userId="fb3655b9-53e7-4957-986b-4909406ee6c7" providerId="ADAL" clId="{04EDCFA6-7296-4C3F-95E8-44EB96719D50}"/>
    <pc:docChg chg="undo custSel addSld delSld modSld sldOrd">
      <pc:chgData name="Košťálová Pavla" userId="fb3655b9-53e7-4957-986b-4909406ee6c7" providerId="ADAL" clId="{04EDCFA6-7296-4C3F-95E8-44EB96719D50}" dt="2025-09-10T10:18:05.014" v="324" actId="255"/>
      <pc:docMkLst>
        <pc:docMk/>
      </pc:docMkLst>
      <pc:sldChg chg="modSp mod">
        <pc:chgData name="Košťálová Pavla" userId="fb3655b9-53e7-4957-986b-4909406ee6c7" providerId="ADAL" clId="{04EDCFA6-7296-4C3F-95E8-44EB96719D50}" dt="2025-09-10T09:57:50.329" v="264" actId="179"/>
        <pc:sldMkLst>
          <pc:docMk/>
          <pc:sldMk cId="1198961556" sldId="2145707222"/>
        </pc:sldMkLst>
        <pc:spChg chg="mod">
          <ac:chgData name="Košťálová Pavla" userId="fb3655b9-53e7-4957-986b-4909406ee6c7" providerId="ADAL" clId="{04EDCFA6-7296-4C3F-95E8-44EB96719D50}" dt="2025-09-10T09:57:50.329" v="264" actId="179"/>
          <ac:spMkLst>
            <pc:docMk/>
            <pc:sldMk cId="1198961556" sldId="2145707222"/>
            <ac:spMk id="2" creationId="{90744F45-0553-428D-0DC8-C3846EE4C9B0}"/>
          </ac:spMkLst>
        </pc:spChg>
        <pc:spChg chg="mod">
          <ac:chgData name="Košťálová Pavla" userId="fb3655b9-53e7-4957-986b-4909406ee6c7" providerId="ADAL" clId="{04EDCFA6-7296-4C3F-95E8-44EB96719D50}" dt="2025-09-10T09:53:43.294" v="257" actId="2711"/>
          <ac:spMkLst>
            <pc:docMk/>
            <pc:sldMk cId="1198961556" sldId="2145707222"/>
            <ac:spMk id="3" creationId="{E27BD65F-278F-EF7A-8EB5-703FD48F89A8}"/>
          </ac:spMkLst>
        </pc:spChg>
        <pc:spChg chg="mod">
          <ac:chgData name="Košťálová Pavla" userId="fb3655b9-53e7-4957-986b-4909406ee6c7" providerId="ADAL" clId="{04EDCFA6-7296-4C3F-95E8-44EB96719D50}" dt="2025-09-10T09:53:52.954" v="258" actId="2711"/>
          <ac:spMkLst>
            <pc:docMk/>
            <pc:sldMk cId="1198961556" sldId="2145707222"/>
            <ac:spMk id="5" creationId="{B5DDF583-80C1-7BEA-EC69-6D1B0CD18FC9}"/>
          </ac:spMkLst>
        </pc:spChg>
        <pc:spChg chg="mod">
          <ac:chgData name="Košťálová Pavla" userId="fb3655b9-53e7-4957-986b-4909406ee6c7" providerId="ADAL" clId="{04EDCFA6-7296-4C3F-95E8-44EB96719D50}" dt="2025-09-10T09:54:15.593" v="260" actId="2711"/>
          <ac:spMkLst>
            <pc:docMk/>
            <pc:sldMk cId="1198961556" sldId="2145707222"/>
            <ac:spMk id="13" creationId="{34793FC1-56D3-D2EE-851B-C6E72E4AE68B}"/>
          </ac:spMkLst>
        </pc:spChg>
        <pc:spChg chg="mod">
          <ac:chgData name="Košťálová Pavla" userId="fb3655b9-53e7-4957-986b-4909406ee6c7" providerId="ADAL" clId="{04EDCFA6-7296-4C3F-95E8-44EB96719D50}" dt="2025-09-10T09:54:02.331" v="259" actId="2711"/>
          <ac:spMkLst>
            <pc:docMk/>
            <pc:sldMk cId="1198961556" sldId="2145707222"/>
            <ac:spMk id="14" creationId="{90E8C99D-F21D-1F65-36A5-62F3D69AD601}"/>
          </ac:spMkLst>
        </pc:spChg>
        <pc:spChg chg="mod">
          <ac:chgData name="Košťálová Pavla" userId="fb3655b9-53e7-4957-986b-4909406ee6c7" providerId="ADAL" clId="{04EDCFA6-7296-4C3F-95E8-44EB96719D50}" dt="2025-09-10T09:54:23.312" v="261" actId="2711"/>
          <ac:spMkLst>
            <pc:docMk/>
            <pc:sldMk cId="1198961556" sldId="2145707222"/>
            <ac:spMk id="16" creationId="{C42A46C7-3308-745D-D0B1-AA4833486DDA}"/>
          </ac:spMkLst>
        </pc:spChg>
      </pc:sldChg>
      <pc:sldChg chg="add">
        <pc:chgData name="Košťálová Pavla" userId="fb3655b9-53e7-4957-986b-4909406ee6c7" providerId="ADAL" clId="{04EDCFA6-7296-4C3F-95E8-44EB96719D50}" dt="2025-09-09T14:40:20.421" v="11"/>
        <pc:sldMkLst>
          <pc:docMk/>
          <pc:sldMk cId="2313129677" sldId="2145707231"/>
        </pc:sldMkLst>
      </pc:sldChg>
      <pc:sldChg chg="add">
        <pc:chgData name="Košťálová Pavla" userId="fb3655b9-53e7-4957-986b-4909406ee6c7" providerId="ADAL" clId="{04EDCFA6-7296-4C3F-95E8-44EB96719D50}" dt="2025-09-09T14:40:20.421" v="11"/>
        <pc:sldMkLst>
          <pc:docMk/>
          <pc:sldMk cId="3245583261" sldId="2145707326"/>
        </pc:sldMkLst>
      </pc:sldChg>
      <pc:sldChg chg="add">
        <pc:chgData name="Košťálová Pavla" userId="fb3655b9-53e7-4957-986b-4909406ee6c7" providerId="ADAL" clId="{04EDCFA6-7296-4C3F-95E8-44EB96719D50}" dt="2025-09-09T14:40:20.421" v="11"/>
        <pc:sldMkLst>
          <pc:docMk/>
          <pc:sldMk cId="1706154766" sldId="2145707358"/>
        </pc:sldMkLst>
      </pc:sldChg>
      <pc:sldChg chg="add">
        <pc:chgData name="Košťálová Pavla" userId="fb3655b9-53e7-4957-986b-4909406ee6c7" providerId="ADAL" clId="{04EDCFA6-7296-4C3F-95E8-44EB96719D50}" dt="2025-09-09T14:40:20.421" v="11"/>
        <pc:sldMkLst>
          <pc:docMk/>
          <pc:sldMk cId="1259391422" sldId="2145707371"/>
        </pc:sldMkLst>
      </pc:sldChg>
      <pc:sldChg chg="add">
        <pc:chgData name="Košťálová Pavla" userId="fb3655b9-53e7-4957-986b-4909406ee6c7" providerId="ADAL" clId="{04EDCFA6-7296-4C3F-95E8-44EB96719D50}" dt="2025-09-09T14:40:20.421" v="11"/>
        <pc:sldMkLst>
          <pc:docMk/>
          <pc:sldMk cId="2432869218" sldId="2145707392"/>
        </pc:sldMkLst>
      </pc:sldChg>
      <pc:sldChg chg="add">
        <pc:chgData name="Košťálová Pavla" userId="fb3655b9-53e7-4957-986b-4909406ee6c7" providerId="ADAL" clId="{04EDCFA6-7296-4C3F-95E8-44EB96719D50}" dt="2025-09-09T14:40:20.421" v="11"/>
        <pc:sldMkLst>
          <pc:docMk/>
          <pc:sldMk cId="2209763462" sldId="2145707393"/>
        </pc:sldMkLst>
      </pc:sldChg>
      <pc:sldChg chg="modSp add mod">
        <pc:chgData name="Košťálová Pavla" userId="fb3655b9-53e7-4957-986b-4909406ee6c7" providerId="ADAL" clId="{04EDCFA6-7296-4C3F-95E8-44EB96719D50}" dt="2025-09-10T09:44:25.089" v="190" actId="108"/>
        <pc:sldMkLst>
          <pc:docMk/>
          <pc:sldMk cId="4046492476" sldId="2145707397"/>
        </pc:sldMkLst>
        <pc:spChg chg="mod">
          <ac:chgData name="Košťálová Pavla" userId="fb3655b9-53e7-4957-986b-4909406ee6c7" providerId="ADAL" clId="{04EDCFA6-7296-4C3F-95E8-44EB96719D50}" dt="2025-09-10T09:44:25.089" v="190" actId="108"/>
          <ac:spMkLst>
            <pc:docMk/>
            <pc:sldMk cId="4046492476" sldId="2145707397"/>
            <ac:spMk id="2" creationId="{C0D43453-8F5C-8E22-99F9-C4FF2AFD4E38}"/>
          </ac:spMkLst>
        </pc:spChg>
      </pc:sldChg>
      <pc:sldChg chg="add">
        <pc:chgData name="Košťálová Pavla" userId="fb3655b9-53e7-4957-986b-4909406ee6c7" providerId="ADAL" clId="{04EDCFA6-7296-4C3F-95E8-44EB96719D50}" dt="2025-09-09T14:40:20.421" v="11"/>
        <pc:sldMkLst>
          <pc:docMk/>
          <pc:sldMk cId="1225989194" sldId="2145707401"/>
        </pc:sldMkLst>
      </pc:sldChg>
      <pc:sldChg chg="add">
        <pc:chgData name="Košťálová Pavla" userId="fb3655b9-53e7-4957-986b-4909406ee6c7" providerId="ADAL" clId="{04EDCFA6-7296-4C3F-95E8-44EB96719D50}" dt="2025-09-09T14:40:20.421" v="11"/>
        <pc:sldMkLst>
          <pc:docMk/>
          <pc:sldMk cId="2852883058" sldId="2145707404"/>
        </pc:sldMkLst>
      </pc:sldChg>
      <pc:sldChg chg="add">
        <pc:chgData name="Košťálová Pavla" userId="fb3655b9-53e7-4957-986b-4909406ee6c7" providerId="ADAL" clId="{04EDCFA6-7296-4C3F-95E8-44EB96719D50}" dt="2025-09-09T14:40:20.421" v="11"/>
        <pc:sldMkLst>
          <pc:docMk/>
          <pc:sldMk cId="3870305492" sldId="2145707405"/>
        </pc:sldMkLst>
      </pc:sldChg>
      <pc:sldChg chg="add">
        <pc:chgData name="Košťálová Pavla" userId="fb3655b9-53e7-4957-986b-4909406ee6c7" providerId="ADAL" clId="{04EDCFA6-7296-4C3F-95E8-44EB96719D50}" dt="2025-09-09T14:40:20.421" v="11"/>
        <pc:sldMkLst>
          <pc:docMk/>
          <pc:sldMk cId="3007970856" sldId="2145707407"/>
        </pc:sldMkLst>
      </pc:sldChg>
      <pc:sldChg chg="add">
        <pc:chgData name="Košťálová Pavla" userId="fb3655b9-53e7-4957-986b-4909406ee6c7" providerId="ADAL" clId="{04EDCFA6-7296-4C3F-95E8-44EB96719D50}" dt="2025-09-09T14:40:20.421" v="11"/>
        <pc:sldMkLst>
          <pc:docMk/>
          <pc:sldMk cId="2786802000" sldId="2145707408"/>
        </pc:sldMkLst>
      </pc:sldChg>
      <pc:sldChg chg="add">
        <pc:chgData name="Košťálová Pavla" userId="fb3655b9-53e7-4957-986b-4909406ee6c7" providerId="ADAL" clId="{04EDCFA6-7296-4C3F-95E8-44EB96719D50}" dt="2025-09-09T14:40:20.421" v="11"/>
        <pc:sldMkLst>
          <pc:docMk/>
          <pc:sldMk cId="3263213021" sldId="2145707412"/>
        </pc:sldMkLst>
      </pc:sldChg>
      <pc:sldChg chg="modSp mod">
        <pc:chgData name="Košťálová Pavla" userId="fb3655b9-53e7-4957-986b-4909406ee6c7" providerId="ADAL" clId="{04EDCFA6-7296-4C3F-95E8-44EB96719D50}" dt="2025-09-10T10:18:05.014" v="324" actId="255"/>
        <pc:sldMkLst>
          <pc:docMk/>
          <pc:sldMk cId="893611663" sldId="2145707414"/>
        </pc:sldMkLst>
        <pc:spChg chg="mod">
          <ac:chgData name="Košťálová Pavla" userId="fb3655b9-53e7-4957-986b-4909406ee6c7" providerId="ADAL" clId="{04EDCFA6-7296-4C3F-95E8-44EB96719D50}" dt="2025-09-10T09:57:55.393" v="265" actId="179"/>
          <ac:spMkLst>
            <pc:docMk/>
            <pc:sldMk cId="893611663" sldId="2145707414"/>
            <ac:spMk id="2" creationId="{79E97C43-E7A3-B0D6-62DA-FB6200618D98}"/>
          </ac:spMkLst>
        </pc:spChg>
        <pc:spChg chg="mod">
          <ac:chgData name="Košťálová Pavla" userId="fb3655b9-53e7-4957-986b-4909406ee6c7" providerId="ADAL" clId="{04EDCFA6-7296-4C3F-95E8-44EB96719D50}" dt="2025-09-10T10:18:05.014" v="324" actId="255"/>
          <ac:spMkLst>
            <pc:docMk/>
            <pc:sldMk cId="893611663" sldId="2145707414"/>
            <ac:spMk id="13" creationId="{311D4E24-B8F8-71E3-2368-50A809C66050}"/>
          </ac:spMkLst>
        </pc:spChg>
        <pc:spChg chg="mod">
          <ac:chgData name="Košťálová Pavla" userId="fb3655b9-53e7-4957-986b-4909406ee6c7" providerId="ADAL" clId="{04EDCFA6-7296-4C3F-95E8-44EB96719D50}" dt="2025-09-10T09:58:23.334" v="267" actId="2711"/>
          <ac:spMkLst>
            <pc:docMk/>
            <pc:sldMk cId="893611663" sldId="2145707414"/>
            <ac:spMk id="14" creationId="{0ADE2366-51B2-6937-F716-EB50B3C63E6E}"/>
          </ac:spMkLst>
        </pc:spChg>
        <pc:spChg chg="mod">
          <ac:chgData name="Košťálová Pavla" userId="fb3655b9-53e7-4957-986b-4909406ee6c7" providerId="ADAL" clId="{04EDCFA6-7296-4C3F-95E8-44EB96719D50}" dt="2025-09-10T09:58:34.278" v="268" actId="2711"/>
          <ac:spMkLst>
            <pc:docMk/>
            <pc:sldMk cId="893611663" sldId="2145707414"/>
            <ac:spMk id="15" creationId="{E624213B-DCBE-E825-B74C-987F89F5CED0}"/>
          </ac:spMkLst>
        </pc:spChg>
        <pc:spChg chg="mod">
          <ac:chgData name="Košťálová Pavla" userId="fb3655b9-53e7-4957-986b-4909406ee6c7" providerId="ADAL" clId="{04EDCFA6-7296-4C3F-95E8-44EB96719D50}" dt="2025-09-10T10:12:52.876" v="284" actId="255"/>
          <ac:spMkLst>
            <pc:docMk/>
            <pc:sldMk cId="893611663" sldId="2145707414"/>
            <ac:spMk id="16" creationId="{D51968A5-BD8A-DEE7-9CCD-8CB07CDD51DA}"/>
          </ac:spMkLst>
        </pc:spChg>
        <pc:spChg chg="mod">
          <ac:chgData name="Košťálová Pavla" userId="fb3655b9-53e7-4957-986b-4909406ee6c7" providerId="ADAL" clId="{04EDCFA6-7296-4C3F-95E8-44EB96719D50}" dt="2025-09-10T10:12:59.022" v="285" actId="255"/>
          <ac:spMkLst>
            <pc:docMk/>
            <pc:sldMk cId="893611663" sldId="2145707414"/>
            <ac:spMk id="17" creationId="{A8CADAA0-2E54-091D-5F33-6D4A6ED341CF}"/>
          </ac:spMkLst>
        </pc:spChg>
        <pc:spChg chg="mod">
          <ac:chgData name="Košťálová Pavla" userId="fb3655b9-53e7-4957-986b-4909406ee6c7" providerId="ADAL" clId="{04EDCFA6-7296-4C3F-95E8-44EB96719D50}" dt="2025-09-10T10:13:06.822" v="288" actId="255"/>
          <ac:spMkLst>
            <pc:docMk/>
            <pc:sldMk cId="893611663" sldId="2145707414"/>
            <ac:spMk id="18" creationId="{EE0A24FC-28D0-2268-E47F-68459A8DE457}"/>
          </ac:spMkLst>
        </pc:spChg>
      </pc:sldChg>
      <pc:sldChg chg="add">
        <pc:chgData name="Košťálová Pavla" userId="fb3655b9-53e7-4957-986b-4909406ee6c7" providerId="ADAL" clId="{04EDCFA6-7296-4C3F-95E8-44EB96719D50}" dt="2025-09-09T14:40:20.421" v="11"/>
        <pc:sldMkLst>
          <pc:docMk/>
          <pc:sldMk cId="796137716" sldId="2145707415"/>
        </pc:sldMkLst>
      </pc:sldChg>
      <pc:sldChg chg="modSp mod">
        <pc:chgData name="Košťálová Pavla" userId="fb3655b9-53e7-4957-986b-4909406ee6c7" providerId="ADAL" clId="{04EDCFA6-7296-4C3F-95E8-44EB96719D50}" dt="2025-09-10T09:52:22.428" v="249" actId="5793"/>
        <pc:sldMkLst>
          <pc:docMk/>
          <pc:sldMk cId="1773580056" sldId="2145707417"/>
        </pc:sldMkLst>
        <pc:spChg chg="mod">
          <ac:chgData name="Košťálová Pavla" userId="fb3655b9-53e7-4957-986b-4909406ee6c7" providerId="ADAL" clId="{04EDCFA6-7296-4C3F-95E8-44EB96719D50}" dt="2025-09-10T09:44:56.105" v="194" actId="179"/>
          <ac:spMkLst>
            <pc:docMk/>
            <pc:sldMk cId="1773580056" sldId="2145707417"/>
            <ac:spMk id="2" creationId="{7CB3F985-B228-66A9-24CE-F538654120E5}"/>
          </ac:spMkLst>
        </pc:spChg>
        <pc:spChg chg="mod">
          <ac:chgData name="Košťálová Pavla" userId="fb3655b9-53e7-4957-986b-4909406ee6c7" providerId="ADAL" clId="{04EDCFA6-7296-4C3F-95E8-44EB96719D50}" dt="2025-09-10T09:52:22.428" v="249" actId="5793"/>
          <ac:spMkLst>
            <pc:docMk/>
            <pc:sldMk cId="1773580056" sldId="2145707417"/>
            <ac:spMk id="3" creationId="{04835AC2-CAB2-31C5-4803-3C183612AF55}"/>
          </ac:spMkLst>
        </pc:spChg>
      </pc:sldChg>
      <pc:sldChg chg="add">
        <pc:chgData name="Košťálová Pavla" userId="fb3655b9-53e7-4957-986b-4909406ee6c7" providerId="ADAL" clId="{04EDCFA6-7296-4C3F-95E8-44EB96719D50}" dt="2025-09-09T14:40:20.421" v="11"/>
        <pc:sldMkLst>
          <pc:docMk/>
          <pc:sldMk cId="453328397" sldId="2145707418"/>
        </pc:sldMkLst>
      </pc:sldChg>
      <pc:sldChg chg="add">
        <pc:chgData name="Košťálová Pavla" userId="fb3655b9-53e7-4957-986b-4909406ee6c7" providerId="ADAL" clId="{04EDCFA6-7296-4C3F-95E8-44EB96719D50}" dt="2025-09-09T14:40:20.421" v="11"/>
        <pc:sldMkLst>
          <pc:docMk/>
          <pc:sldMk cId="2773494271" sldId="2145707419"/>
        </pc:sldMkLst>
      </pc:sldChg>
      <pc:sldChg chg="add">
        <pc:chgData name="Košťálová Pavla" userId="fb3655b9-53e7-4957-986b-4909406ee6c7" providerId="ADAL" clId="{04EDCFA6-7296-4C3F-95E8-44EB96719D50}" dt="2025-09-09T14:40:20.421" v="11"/>
        <pc:sldMkLst>
          <pc:docMk/>
          <pc:sldMk cId="1163216872" sldId="2145707420"/>
        </pc:sldMkLst>
      </pc:sldChg>
      <pc:sldChg chg="add">
        <pc:chgData name="Košťálová Pavla" userId="fb3655b9-53e7-4957-986b-4909406ee6c7" providerId="ADAL" clId="{04EDCFA6-7296-4C3F-95E8-44EB96719D50}" dt="2025-09-09T14:40:20.421" v="11"/>
        <pc:sldMkLst>
          <pc:docMk/>
          <pc:sldMk cId="1995325976" sldId="2145707421"/>
        </pc:sldMkLst>
      </pc:sldChg>
      <pc:sldChg chg="add">
        <pc:chgData name="Košťálová Pavla" userId="fb3655b9-53e7-4957-986b-4909406ee6c7" providerId="ADAL" clId="{04EDCFA6-7296-4C3F-95E8-44EB96719D50}" dt="2025-09-09T14:40:20.421" v="11"/>
        <pc:sldMkLst>
          <pc:docMk/>
          <pc:sldMk cId="3731147642" sldId="2145707422"/>
        </pc:sldMkLst>
      </pc:sldChg>
      <pc:sldChg chg="add">
        <pc:chgData name="Košťálová Pavla" userId="fb3655b9-53e7-4957-986b-4909406ee6c7" providerId="ADAL" clId="{04EDCFA6-7296-4C3F-95E8-44EB96719D50}" dt="2025-09-09T14:40:20.421" v="11"/>
        <pc:sldMkLst>
          <pc:docMk/>
          <pc:sldMk cId="777394138" sldId="2145707423"/>
        </pc:sldMkLst>
      </pc:sldChg>
      <pc:sldChg chg="add">
        <pc:chgData name="Košťálová Pavla" userId="fb3655b9-53e7-4957-986b-4909406ee6c7" providerId="ADAL" clId="{04EDCFA6-7296-4C3F-95E8-44EB96719D50}" dt="2025-09-09T14:40:20.421" v="11"/>
        <pc:sldMkLst>
          <pc:docMk/>
          <pc:sldMk cId="2505326134" sldId="2145707424"/>
        </pc:sldMkLst>
      </pc:sldChg>
      <pc:sldChg chg="add">
        <pc:chgData name="Košťálová Pavla" userId="fb3655b9-53e7-4957-986b-4909406ee6c7" providerId="ADAL" clId="{04EDCFA6-7296-4C3F-95E8-44EB96719D50}" dt="2025-09-09T14:40:20.421" v="11"/>
        <pc:sldMkLst>
          <pc:docMk/>
          <pc:sldMk cId="2533733556" sldId="2145707425"/>
        </pc:sldMkLst>
      </pc:sldChg>
      <pc:sldChg chg="add">
        <pc:chgData name="Košťálová Pavla" userId="fb3655b9-53e7-4957-986b-4909406ee6c7" providerId="ADAL" clId="{04EDCFA6-7296-4C3F-95E8-44EB96719D50}" dt="2025-09-09T14:40:20.421" v="11"/>
        <pc:sldMkLst>
          <pc:docMk/>
          <pc:sldMk cId="1879668839" sldId="2145707427"/>
        </pc:sldMkLst>
      </pc:sldChg>
      <pc:sldChg chg="add">
        <pc:chgData name="Košťálová Pavla" userId="fb3655b9-53e7-4957-986b-4909406ee6c7" providerId="ADAL" clId="{04EDCFA6-7296-4C3F-95E8-44EB96719D50}" dt="2025-09-09T14:40:20.421" v="11"/>
        <pc:sldMkLst>
          <pc:docMk/>
          <pc:sldMk cId="4037307031" sldId="2145707428"/>
        </pc:sldMkLst>
      </pc:sldChg>
      <pc:sldChg chg="modSp add setBg">
        <pc:chgData name="Košťálová Pavla" userId="fb3655b9-53e7-4957-986b-4909406ee6c7" providerId="ADAL" clId="{04EDCFA6-7296-4C3F-95E8-44EB96719D50}" dt="2025-09-10T09:46:25.647" v="207"/>
        <pc:sldMkLst>
          <pc:docMk/>
          <pc:sldMk cId="2185572" sldId="2145707429"/>
        </pc:sldMkLst>
        <pc:spChg chg="mod">
          <ac:chgData name="Košťálová Pavla" userId="fb3655b9-53e7-4957-986b-4909406ee6c7" providerId="ADAL" clId="{04EDCFA6-7296-4C3F-95E8-44EB96719D50}" dt="2025-09-10T09:46:25.647" v="207"/>
          <ac:spMkLst>
            <pc:docMk/>
            <pc:sldMk cId="2185572" sldId="2145707429"/>
            <ac:spMk id="3" creationId="{60E5BA2B-230C-25A0-C4AF-BFF1C57C8893}"/>
          </ac:spMkLst>
        </pc:spChg>
      </pc:sldChg>
      <pc:sldChg chg="modSp add mod">
        <pc:chgData name="Košťálová Pavla" userId="fb3655b9-53e7-4957-986b-4909406ee6c7" providerId="ADAL" clId="{04EDCFA6-7296-4C3F-95E8-44EB96719D50}" dt="2025-09-10T09:46:33.938" v="208" actId="108"/>
        <pc:sldMkLst>
          <pc:docMk/>
          <pc:sldMk cId="3964681946" sldId="2145707430"/>
        </pc:sldMkLst>
        <pc:spChg chg="mod">
          <ac:chgData name="Košťálová Pavla" userId="fb3655b9-53e7-4957-986b-4909406ee6c7" providerId="ADAL" clId="{04EDCFA6-7296-4C3F-95E8-44EB96719D50}" dt="2025-09-10T09:46:33.938" v="208" actId="108"/>
          <ac:spMkLst>
            <pc:docMk/>
            <pc:sldMk cId="3964681946" sldId="2145707430"/>
            <ac:spMk id="2" creationId="{39A281A2-93D0-131C-DBCB-A96F4864369C}"/>
          </ac:spMkLst>
        </pc:spChg>
      </pc:sldChg>
      <pc:sldChg chg="modSp add mod">
        <pc:chgData name="Košťálová Pavla" userId="fb3655b9-53e7-4957-986b-4909406ee6c7" providerId="ADAL" clId="{04EDCFA6-7296-4C3F-95E8-44EB96719D50}" dt="2025-09-10T09:46:37.749" v="209" actId="108"/>
        <pc:sldMkLst>
          <pc:docMk/>
          <pc:sldMk cId="1120452062" sldId="2145707431"/>
        </pc:sldMkLst>
        <pc:spChg chg="mod">
          <ac:chgData name="Košťálová Pavla" userId="fb3655b9-53e7-4957-986b-4909406ee6c7" providerId="ADAL" clId="{04EDCFA6-7296-4C3F-95E8-44EB96719D50}" dt="2025-09-10T09:46:37.749" v="209" actId="108"/>
          <ac:spMkLst>
            <pc:docMk/>
            <pc:sldMk cId="1120452062" sldId="2145707431"/>
            <ac:spMk id="2" creationId="{F8694C14-8A3B-71E3-7816-B4B7465BF001}"/>
          </ac:spMkLst>
        </pc:spChg>
      </pc:sldChg>
      <pc:sldChg chg="modSp add mod setBg">
        <pc:chgData name="Košťálová Pavla" userId="fb3655b9-53e7-4957-986b-4909406ee6c7" providerId="ADAL" clId="{04EDCFA6-7296-4C3F-95E8-44EB96719D50}" dt="2025-09-10T10:14:07.625" v="296" actId="14100"/>
        <pc:sldMkLst>
          <pc:docMk/>
          <pc:sldMk cId="2760545540" sldId="2145707432"/>
        </pc:sldMkLst>
        <pc:spChg chg="mod">
          <ac:chgData name="Košťálová Pavla" userId="fb3655b9-53e7-4957-986b-4909406ee6c7" providerId="ADAL" clId="{04EDCFA6-7296-4C3F-95E8-44EB96719D50}" dt="2025-09-10T09:46:41.397" v="210"/>
          <ac:spMkLst>
            <pc:docMk/>
            <pc:sldMk cId="2760545540" sldId="2145707432"/>
            <ac:spMk id="2" creationId="{AA19F515-F0B0-7EB4-1125-4787FB1E2CAC}"/>
          </ac:spMkLst>
        </pc:spChg>
        <pc:spChg chg="mod">
          <ac:chgData name="Košťálová Pavla" userId="fb3655b9-53e7-4957-986b-4909406ee6c7" providerId="ADAL" clId="{04EDCFA6-7296-4C3F-95E8-44EB96719D50}" dt="2025-09-10T10:14:07.625" v="296" actId="14100"/>
          <ac:spMkLst>
            <pc:docMk/>
            <pc:sldMk cId="2760545540" sldId="2145707432"/>
            <ac:spMk id="3" creationId="{236DD0DB-260C-189F-8B09-92C2282E5704}"/>
          </ac:spMkLst>
        </pc:spChg>
      </pc:sldChg>
      <pc:sldChg chg="modSp add mod">
        <pc:chgData name="Košťálová Pavla" userId="fb3655b9-53e7-4957-986b-4909406ee6c7" providerId="ADAL" clId="{04EDCFA6-7296-4C3F-95E8-44EB96719D50}" dt="2025-09-10T09:47:15.003" v="214" actId="14100"/>
        <pc:sldMkLst>
          <pc:docMk/>
          <pc:sldMk cId="3922368084" sldId="2145707433"/>
        </pc:sldMkLst>
        <pc:spChg chg="mod">
          <ac:chgData name="Košťálová Pavla" userId="fb3655b9-53e7-4957-986b-4909406ee6c7" providerId="ADAL" clId="{04EDCFA6-7296-4C3F-95E8-44EB96719D50}" dt="2025-09-10T09:47:15.003" v="214" actId="14100"/>
          <ac:spMkLst>
            <pc:docMk/>
            <pc:sldMk cId="3922368084" sldId="2145707433"/>
            <ac:spMk id="2" creationId="{AA19F515-F0B0-7EB4-1125-4787FB1E2CAC}"/>
          </ac:spMkLst>
        </pc:spChg>
        <pc:graphicFrameChg chg="mod">
          <ac:chgData name="Košťálová Pavla" userId="fb3655b9-53e7-4957-986b-4909406ee6c7" providerId="ADAL" clId="{04EDCFA6-7296-4C3F-95E8-44EB96719D50}" dt="2025-09-10T09:47:01.497" v="213"/>
          <ac:graphicFrameMkLst>
            <pc:docMk/>
            <pc:sldMk cId="3922368084" sldId="2145707433"/>
            <ac:graphicFrameMk id="4" creationId="{C3EDB479-D7FA-A066-6E7A-059F0AA59811}"/>
          </ac:graphicFrameMkLst>
        </pc:graphicFrameChg>
      </pc:sldChg>
      <pc:sldChg chg="modSp add mod">
        <pc:chgData name="Košťálová Pavla" userId="fb3655b9-53e7-4957-986b-4909406ee6c7" providerId="ADAL" clId="{04EDCFA6-7296-4C3F-95E8-44EB96719D50}" dt="2025-09-09T19:15:37.188" v="48" actId="20577"/>
        <pc:sldMkLst>
          <pc:docMk/>
          <pc:sldMk cId="1970857533" sldId="2145707434"/>
        </pc:sldMkLst>
      </pc:sldChg>
      <pc:sldChg chg="add">
        <pc:chgData name="Košťálová Pavla" userId="fb3655b9-53e7-4957-986b-4909406ee6c7" providerId="ADAL" clId="{04EDCFA6-7296-4C3F-95E8-44EB96719D50}" dt="2025-09-09T14:40:20.421" v="11"/>
        <pc:sldMkLst>
          <pc:docMk/>
          <pc:sldMk cId="1411330243" sldId="2145707435"/>
        </pc:sldMkLst>
      </pc:sldChg>
      <pc:sldChg chg="modSp add del mod">
        <pc:chgData name="Košťálová Pavla" userId="fb3655b9-53e7-4957-986b-4909406ee6c7" providerId="ADAL" clId="{04EDCFA6-7296-4C3F-95E8-44EB96719D50}" dt="2025-09-09T14:43:36.163" v="16" actId="2696"/>
        <pc:sldMkLst>
          <pc:docMk/>
          <pc:sldMk cId="3113115222" sldId="2145707438"/>
        </pc:sldMkLst>
      </pc:sldChg>
      <pc:sldChg chg="add">
        <pc:chgData name="Košťálová Pavla" userId="fb3655b9-53e7-4957-986b-4909406ee6c7" providerId="ADAL" clId="{04EDCFA6-7296-4C3F-95E8-44EB96719D50}" dt="2025-09-09T14:40:20.421" v="11"/>
        <pc:sldMkLst>
          <pc:docMk/>
          <pc:sldMk cId="4182196693" sldId="2145707439"/>
        </pc:sldMkLst>
      </pc:sldChg>
      <pc:sldChg chg="add">
        <pc:chgData name="Košťálová Pavla" userId="fb3655b9-53e7-4957-986b-4909406ee6c7" providerId="ADAL" clId="{04EDCFA6-7296-4C3F-95E8-44EB96719D50}" dt="2025-09-09T14:40:20.421" v="11"/>
        <pc:sldMkLst>
          <pc:docMk/>
          <pc:sldMk cId="177774860" sldId="2145707440"/>
        </pc:sldMkLst>
      </pc:sldChg>
      <pc:sldChg chg="add">
        <pc:chgData name="Košťálová Pavla" userId="fb3655b9-53e7-4957-986b-4909406ee6c7" providerId="ADAL" clId="{04EDCFA6-7296-4C3F-95E8-44EB96719D50}" dt="2025-09-09T14:40:20.421" v="11"/>
        <pc:sldMkLst>
          <pc:docMk/>
          <pc:sldMk cId="3910267132" sldId="2145707441"/>
        </pc:sldMkLst>
      </pc:sldChg>
      <pc:sldChg chg="add">
        <pc:chgData name="Košťálová Pavla" userId="fb3655b9-53e7-4957-986b-4909406ee6c7" providerId="ADAL" clId="{04EDCFA6-7296-4C3F-95E8-44EB96719D50}" dt="2025-09-09T14:40:20.421" v="11"/>
        <pc:sldMkLst>
          <pc:docMk/>
          <pc:sldMk cId="1806666340" sldId="2145707442"/>
        </pc:sldMkLst>
      </pc:sldChg>
      <pc:sldChg chg="add">
        <pc:chgData name="Košťálová Pavla" userId="fb3655b9-53e7-4957-986b-4909406ee6c7" providerId="ADAL" clId="{04EDCFA6-7296-4C3F-95E8-44EB96719D50}" dt="2025-09-09T14:40:20.421" v="11"/>
        <pc:sldMkLst>
          <pc:docMk/>
          <pc:sldMk cId="4225793887" sldId="2145707443"/>
        </pc:sldMkLst>
      </pc:sldChg>
      <pc:sldChg chg="add">
        <pc:chgData name="Košťálová Pavla" userId="fb3655b9-53e7-4957-986b-4909406ee6c7" providerId="ADAL" clId="{04EDCFA6-7296-4C3F-95E8-44EB96719D50}" dt="2025-09-09T14:40:20.421" v="11"/>
        <pc:sldMkLst>
          <pc:docMk/>
          <pc:sldMk cId="4093238162" sldId="2145707444"/>
        </pc:sldMkLst>
      </pc:sldChg>
      <pc:sldChg chg="modSp mod">
        <pc:chgData name="Košťálová Pavla" userId="fb3655b9-53e7-4957-986b-4909406ee6c7" providerId="ADAL" clId="{04EDCFA6-7296-4C3F-95E8-44EB96719D50}" dt="2025-09-10T09:44:11.729" v="188" actId="108"/>
        <pc:sldMkLst>
          <pc:docMk/>
          <pc:sldMk cId="2277844832" sldId="2145707445"/>
        </pc:sldMkLst>
        <pc:spChg chg="mod">
          <ac:chgData name="Košťálová Pavla" userId="fb3655b9-53e7-4957-986b-4909406ee6c7" providerId="ADAL" clId="{04EDCFA6-7296-4C3F-95E8-44EB96719D50}" dt="2025-09-10T09:44:11.729" v="188" actId="108"/>
          <ac:spMkLst>
            <pc:docMk/>
            <pc:sldMk cId="2277844832" sldId="2145707445"/>
            <ac:spMk id="3" creationId="{3D46920C-395D-03CE-07B9-EC73DD9B23B7}"/>
          </ac:spMkLst>
        </pc:spChg>
      </pc:sldChg>
      <pc:sldChg chg="modSp mod">
        <pc:chgData name="Košťálová Pavla" userId="fb3655b9-53e7-4957-986b-4909406ee6c7" providerId="ADAL" clId="{04EDCFA6-7296-4C3F-95E8-44EB96719D50}" dt="2025-09-10T09:44:17.257" v="189" actId="108"/>
        <pc:sldMkLst>
          <pc:docMk/>
          <pc:sldMk cId="851397258" sldId="2145707446"/>
        </pc:sldMkLst>
        <pc:spChg chg="mod">
          <ac:chgData name="Košťálová Pavla" userId="fb3655b9-53e7-4957-986b-4909406ee6c7" providerId="ADAL" clId="{04EDCFA6-7296-4C3F-95E8-44EB96719D50}" dt="2025-09-10T09:44:17.257" v="189" actId="108"/>
          <ac:spMkLst>
            <pc:docMk/>
            <pc:sldMk cId="851397258" sldId="2145707446"/>
            <ac:spMk id="2" creationId="{AC2A6B27-746A-69A8-B01F-BE7BCC397274}"/>
          </ac:spMkLst>
        </pc:spChg>
      </pc:sldChg>
      <pc:sldChg chg="modSp add mod">
        <pc:chgData name="Košťálová Pavla" userId="fb3655b9-53e7-4957-986b-4909406ee6c7" providerId="ADAL" clId="{04EDCFA6-7296-4C3F-95E8-44EB96719D50}" dt="2025-09-10T09:47:22.666" v="215" actId="108"/>
        <pc:sldMkLst>
          <pc:docMk/>
          <pc:sldMk cId="2776861103" sldId="2145707447"/>
        </pc:sldMkLst>
        <pc:spChg chg="mod">
          <ac:chgData name="Košťálová Pavla" userId="fb3655b9-53e7-4957-986b-4909406ee6c7" providerId="ADAL" clId="{04EDCFA6-7296-4C3F-95E8-44EB96719D50}" dt="2025-09-10T09:47:22.666" v="215" actId="108"/>
          <ac:spMkLst>
            <pc:docMk/>
            <pc:sldMk cId="2776861103" sldId="2145707447"/>
            <ac:spMk id="2" creationId="{8580CEB0-D713-BB4F-37FB-3EB28E90AC5F}"/>
          </ac:spMkLst>
        </pc:spChg>
        <pc:spChg chg="mod">
          <ac:chgData name="Košťálová Pavla" userId="fb3655b9-53e7-4957-986b-4909406ee6c7" providerId="ADAL" clId="{04EDCFA6-7296-4C3F-95E8-44EB96719D50}" dt="2025-09-09T19:52:09.268" v="98" actId="20577"/>
          <ac:spMkLst>
            <pc:docMk/>
            <pc:sldMk cId="2776861103" sldId="2145707447"/>
            <ac:spMk id="3" creationId="{8D37384D-9BCA-1C54-A3C3-081E02A7CAC0}"/>
          </ac:spMkLst>
        </pc:spChg>
      </pc:sldChg>
      <pc:sldChg chg="modSp mod">
        <pc:chgData name="Košťálová Pavla" userId="fb3655b9-53e7-4957-986b-4909406ee6c7" providerId="ADAL" clId="{04EDCFA6-7296-4C3F-95E8-44EB96719D50}" dt="2025-09-10T09:47:32.379" v="216" actId="108"/>
        <pc:sldMkLst>
          <pc:docMk/>
          <pc:sldMk cId="4244934613" sldId="2147375924"/>
        </pc:sldMkLst>
        <pc:spChg chg="mod">
          <ac:chgData name="Košťálová Pavla" userId="fb3655b9-53e7-4957-986b-4909406ee6c7" providerId="ADAL" clId="{04EDCFA6-7296-4C3F-95E8-44EB96719D50}" dt="2025-09-10T09:47:32.379" v="216" actId="108"/>
          <ac:spMkLst>
            <pc:docMk/>
            <pc:sldMk cId="4244934613" sldId="2147375924"/>
            <ac:spMk id="2" creationId="{0C3FA854-E4D7-004A-4A73-B8ECEF3F033E}"/>
          </ac:spMkLst>
        </pc:spChg>
      </pc:sldChg>
      <pc:sldChg chg="modSp mod">
        <pc:chgData name="Košťálová Pavla" userId="fb3655b9-53e7-4957-986b-4909406ee6c7" providerId="ADAL" clId="{04EDCFA6-7296-4C3F-95E8-44EB96719D50}" dt="2025-09-10T09:47:49.939" v="219" actId="108"/>
        <pc:sldMkLst>
          <pc:docMk/>
          <pc:sldMk cId="2900972615" sldId="2147375950"/>
        </pc:sldMkLst>
        <pc:spChg chg="mod">
          <ac:chgData name="Košťálová Pavla" userId="fb3655b9-53e7-4957-986b-4909406ee6c7" providerId="ADAL" clId="{04EDCFA6-7296-4C3F-95E8-44EB96719D50}" dt="2025-09-10T09:47:49.939" v="219" actId="108"/>
          <ac:spMkLst>
            <pc:docMk/>
            <pc:sldMk cId="2900972615" sldId="2147375950"/>
            <ac:spMk id="2" creationId="{542C36A5-134B-38E8-0D9D-F74EDB594AB2}"/>
          </ac:spMkLst>
        </pc:spChg>
      </pc:sldChg>
      <pc:sldChg chg="modSp mod">
        <pc:chgData name="Košťálová Pavla" userId="fb3655b9-53e7-4957-986b-4909406ee6c7" providerId="ADAL" clId="{04EDCFA6-7296-4C3F-95E8-44EB96719D50}" dt="2025-09-10T09:47:41.078" v="218" actId="108"/>
        <pc:sldMkLst>
          <pc:docMk/>
          <pc:sldMk cId="3888782459" sldId="2147375951"/>
        </pc:sldMkLst>
        <pc:spChg chg="mod">
          <ac:chgData name="Košťálová Pavla" userId="fb3655b9-53e7-4957-986b-4909406ee6c7" providerId="ADAL" clId="{04EDCFA6-7296-4C3F-95E8-44EB96719D50}" dt="2025-09-10T09:47:41.078" v="218" actId="108"/>
          <ac:spMkLst>
            <pc:docMk/>
            <pc:sldMk cId="3888782459" sldId="2147375951"/>
            <ac:spMk id="2" creationId="{45EE1B5E-BDD1-62D9-A671-B7B723641D12}"/>
          </ac:spMkLst>
        </pc:spChg>
      </pc:sldChg>
      <pc:sldChg chg="modSp mod">
        <pc:chgData name="Košťálová Pavla" userId="fb3655b9-53e7-4957-986b-4909406ee6c7" providerId="ADAL" clId="{04EDCFA6-7296-4C3F-95E8-44EB96719D50}" dt="2025-09-10T09:47:59.538" v="220" actId="108"/>
        <pc:sldMkLst>
          <pc:docMk/>
          <pc:sldMk cId="300959258" sldId="2147375952"/>
        </pc:sldMkLst>
        <pc:spChg chg="mod">
          <ac:chgData name="Košťálová Pavla" userId="fb3655b9-53e7-4957-986b-4909406ee6c7" providerId="ADAL" clId="{04EDCFA6-7296-4C3F-95E8-44EB96719D50}" dt="2025-09-10T09:47:59.538" v="220" actId="108"/>
          <ac:spMkLst>
            <pc:docMk/>
            <pc:sldMk cId="300959258" sldId="2147375952"/>
            <ac:spMk id="2" creationId="{1FD00D7C-8D8C-A2AD-CBB6-421E8E3777D9}"/>
          </ac:spMkLst>
        </pc:spChg>
        <pc:spChg chg="mod">
          <ac:chgData name="Košťálová Pavla" userId="fb3655b9-53e7-4957-986b-4909406ee6c7" providerId="ADAL" clId="{04EDCFA6-7296-4C3F-95E8-44EB96719D50}" dt="2025-09-09T19:53:52.255" v="103" actId="20577"/>
          <ac:spMkLst>
            <pc:docMk/>
            <pc:sldMk cId="300959258" sldId="2147375952"/>
            <ac:spMk id="7" creationId="{0A26447A-F9DC-B2CF-B197-AC4447D4C886}"/>
          </ac:spMkLst>
        </pc:spChg>
      </pc:sldChg>
      <pc:sldChg chg="modSp mod">
        <pc:chgData name="Košťálová Pavla" userId="fb3655b9-53e7-4957-986b-4909406ee6c7" providerId="ADAL" clId="{04EDCFA6-7296-4C3F-95E8-44EB96719D50}" dt="2025-09-10T09:48:07.873" v="221" actId="108"/>
        <pc:sldMkLst>
          <pc:docMk/>
          <pc:sldMk cId="491166048" sldId="2147375955"/>
        </pc:sldMkLst>
        <pc:spChg chg="mod">
          <ac:chgData name="Košťálová Pavla" userId="fb3655b9-53e7-4957-986b-4909406ee6c7" providerId="ADAL" clId="{04EDCFA6-7296-4C3F-95E8-44EB96719D50}" dt="2025-09-10T09:48:07.873" v="221" actId="108"/>
          <ac:spMkLst>
            <pc:docMk/>
            <pc:sldMk cId="491166048" sldId="2147375955"/>
            <ac:spMk id="2" creationId="{EC445D5C-12EE-E0D9-D998-5E460FDAB963}"/>
          </ac:spMkLst>
        </pc:spChg>
      </pc:sldChg>
      <pc:sldChg chg="modSp mod">
        <pc:chgData name="Košťálová Pavla" userId="fb3655b9-53e7-4957-986b-4909406ee6c7" providerId="ADAL" clId="{04EDCFA6-7296-4C3F-95E8-44EB96719D50}" dt="2025-09-10T09:48:11.690" v="222" actId="108"/>
        <pc:sldMkLst>
          <pc:docMk/>
          <pc:sldMk cId="1286022810" sldId="2147375956"/>
        </pc:sldMkLst>
        <pc:spChg chg="mod">
          <ac:chgData name="Košťálová Pavla" userId="fb3655b9-53e7-4957-986b-4909406ee6c7" providerId="ADAL" clId="{04EDCFA6-7296-4C3F-95E8-44EB96719D50}" dt="2025-09-10T09:48:11.690" v="222" actId="108"/>
          <ac:spMkLst>
            <pc:docMk/>
            <pc:sldMk cId="1286022810" sldId="2147375956"/>
            <ac:spMk id="2" creationId="{79E09A67-595B-88FE-656F-4D15681B56D2}"/>
          </ac:spMkLst>
        </pc:spChg>
      </pc:sldChg>
      <pc:sldChg chg="modSp mod">
        <pc:chgData name="Košťálová Pavla" userId="fb3655b9-53e7-4957-986b-4909406ee6c7" providerId="ADAL" clId="{04EDCFA6-7296-4C3F-95E8-44EB96719D50}" dt="2025-09-10T09:48:16.210" v="223" actId="108"/>
        <pc:sldMkLst>
          <pc:docMk/>
          <pc:sldMk cId="898716340" sldId="2147375957"/>
        </pc:sldMkLst>
        <pc:spChg chg="mod">
          <ac:chgData name="Košťálová Pavla" userId="fb3655b9-53e7-4957-986b-4909406ee6c7" providerId="ADAL" clId="{04EDCFA6-7296-4C3F-95E8-44EB96719D50}" dt="2025-09-10T09:48:16.210" v="223" actId="108"/>
          <ac:spMkLst>
            <pc:docMk/>
            <pc:sldMk cId="898716340" sldId="2147375957"/>
            <ac:spMk id="2" creationId="{87F662ED-2547-A083-BB73-4039C1F2059E}"/>
          </ac:spMkLst>
        </pc:spChg>
        <pc:spChg chg="mod">
          <ac:chgData name="Košťálová Pavla" userId="fb3655b9-53e7-4957-986b-4909406ee6c7" providerId="ADAL" clId="{04EDCFA6-7296-4C3F-95E8-44EB96719D50}" dt="2025-09-09T19:53:04.211" v="102" actId="20577"/>
          <ac:spMkLst>
            <pc:docMk/>
            <pc:sldMk cId="898716340" sldId="2147375957"/>
            <ac:spMk id="7" creationId="{1FBE9B4D-A8C8-9F38-E9CF-E24FEB4CC57B}"/>
          </ac:spMkLst>
        </pc:spChg>
      </pc:sldChg>
      <pc:sldChg chg="modSp mod">
        <pc:chgData name="Košťálová Pavla" userId="fb3655b9-53e7-4957-986b-4909406ee6c7" providerId="ADAL" clId="{04EDCFA6-7296-4C3F-95E8-44EB96719D50}" dt="2025-09-10T09:43:39.563" v="183" actId="108"/>
        <pc:sldMkLst>
          <pc:docMk/>
          <pc:sldMk cId="2294658225" sldId="2147375966"/>
        </pc:sldMkLst>
        <pc:spChg chg="mod">
          <ac:chgData name="Košťálová Pavla" userId="fb3655b9-53e7-4957-986b-4909406ee6c7" providerId="ADAL" clId="{04EDCFA6-7296-4C3F-95E8-44EB96719D50}" dt="2025-09-10T09:43:39.563" v="183" actId="108"/>
          <ac:spMkLst>
            <pc:docMk/>
            <pc:sldMk cId="2294658225" sldId="2147375966"/>
            <ac:spMk id="2" creationId="{5CB0B8C0-DAB1-B1C3-9F81-6F85965B1DF7}"/>
          </ac:spMkLst>
        </pc:spChg>
      </pc:sldChg>
      <pc:sldChg chg="modSp mod">
        <pc:chgData name="Košťálová Pavla" userId="fb3655b9-53e7-4957-986b-4909406ee6c7" providerId="ADAL" clId="{04EDCFA6-7296-4C3F-95E8-44EB96719D50}" dt="2025-09-10T09:43:49.594" v="185" actId="108"/>
        <pc:sldMkLst>
          <pc:docMk/>
          <pc:sldMk cId="3194915111" sldId="2147375967"/>
        </pc:sldMkLst>
        <pc:spChg chg="mod">
          <ac:chgData name="Košťálová Pavla" userId="fb3655b9-53e7-4957-986b-4909406ee6c7" providerId="ADAL" clId="{04EDCFA6-7296-4C3F-95E8-44EB96719D50}" dt="2025-09-10T09:43:49.594" v="185" actId="108"/>
          <ac:spMkLst>
            <pc:docMk/>
            <pc:sldMk cId="3194915111" sldId="2147375967"/>
            <ac:spMk id="2" creationId="{BC909E77-0145-F3CA-8CCB-C954F0768670}"/>
          </ac:spMkLst>
        </pc:spChg>
      </pc:sldChg>
      <pc:sldChg chg="modSp mod">
        <pc:chgData name="Košťálová Pavla" userId="fb3655b9-53e7-4957-986b-4909406ee6c7" providerId="ADAL" clId="{04EDCFA6-7296-4C3F-95E8-44EB96719D50}" dt="2025-09-10T09:44:06.742" v="187" actId="108"/>
        <pc:sldMkLst>
          <pc:docMk/>
          <pc:sldMk cId="2132234729" sldId="2147375969"/>
        </pc:sldMkLst>
        <pc:spChg chg="mod">
          <ac:chgData name="Košťálová Pavla" userId="fb3655b9-53e7-4957-986b-4909406ee6c7" providerId="ADAL" clId="{04EDCFA6-7296-4C3F-95E8-44EB96719D50}" dt="2025-09-10T09:44:06.742" v="187" actId="108"/>
          <ac:spMkLst>
            <pc:docMk/>
            <pc:sldMk cId="2132234729" sldId="2147375969"/>
            <ac:spMk id="2" creationId="{8A65D8DC-938F-92CB-8C08-99BF80411051}"/>
          </ac:spMkLst>
        </pc:spChg>
      </pc:sldChg>
      <pc:sldChg chg="modSp mod">
        <pc:chgData name="Košťálová Pavla" userId="fb3655b9-53e7-4957-986b-4909406ee6c7" providerId="ADAL" clId="{04EDCFA6-7296-4C3F-95E8-44EB96719D50}" dt="2025-09-10T09:44:02.522" v="186" actId="108"/>
        <pc:sldMkLst>
          <pc:docMk/>
          <pc:sldMk cId="784599496" sldId="2147375970"/>
        </pc:sldMkLst>
        <pc:spChg chg="mod">
          <ac:chgData name="Košťálová Pavla" userId="fb3655b9-53e7-4957-986b-4909406ee6c7" providerId="ADAL" clId="{04EDCFA6-7296-4C3F-95E8-44EB96719D50}" dt="2025-09-10T09:44:02.522" v="186" actId="108"/>
          <ac:spMkLst>
            <pc:docMk/>
            <pc:sldMk cId="784599496" sldId="2147375970"/>
            <ac:spMk id="2" creationId="{071BF468-E2A7-F929-CE05-19A752A360DB}"/>
          </ac:spMkLst>
        </pc:spChg>
      </pc:sldChg>
      <pc:sldChg chg="modSp mod">
        <pc:chgData name="Košťálová Pavla" userId="fb3655b9-53e7-4957-986b-4909406ee6c7" providerId="ADAL" clId="{04EDCFA6-7296-4C3F-95E8-44EB96719D50}" dt="2025-09-10T09:43:45.818" v="184" actId="108"/>
        <pc:sldMkLst>
          <pc:docMk/>
          <pc:sldMk cId="3739954223" sldId="2147375971"/>
        </pc:sldMkLst>
        <pc:spChg chg="mod">
          <ac:chgData name="Košťálová Pavla" userId="fb3655b9-53e7-4957-986b-4909406ee6c7" providerId="ADAL" clId="{04EDCFA6-7296-4C3F-95E8-44EB96719D50}" dt="2025-09-10T09:43:45.818" v="184" actId="108"/>
          <ac:spMkLst>
            <pc:docMk/>
            <pc:sldMk cId="3739954223" sldId="2147375971"/>
            <ac:spMk id="2" creationId="{5664689B-04AA-5993-03A9-377B0C1D7162}"/>
          </ac:spMkLst>
        </pc:spChg>
      </pc:sldChg>
      <pc:sldChg chg="modSp mod ord">
        <pc:chgData name="Košťálová Pavla" userId="fb3655b9-53e7-4957-986b-4909406ee6c7" providerId="ADAL" clId="{04EDCFA6-7296-4C3F-95E8-44EB96719D50}" dt="2025-09-10T09:41:02.555" v="157" actId="108"/>
        <pc:sldMkLst>
          <pc:docMk/>
          <pc:sldMk cId="2159330621" sldId="2147375975"/>
        </pc:sldMkLst>
        <pc:spChg chg="mod">
          <ac:chgData name="Košťálová Pavla" userId="fb3655b9-53e7-4957-986b-4909406ee6c7" providerId="ADAL" clId="{04EDCFA6-7296-4C3F-95E8-44EB96719D50}" dt="2025-09-10T09:41:02.555" v="157" actId="108"/>
          <ac:spMkLst>
            <pc:docMk/>
            <pc:sldMk cId="2159330621" sldId="2147375975"/>
            <ac:spMk id="2" creationId="{206C55F8-DB3C-05C3-12A9-9E4F7C127941}"/>
          </ac:spMkLst>
        </pc:spChg>
      </pc:sldChg>
      <pc:sldChg chg="modSp add mod">
        <pc:chgData name="Košťálová Pavla" userId="fb3655b9-53e7-4957-986b-4909406ee6c7" providerId="ADAL" clId="{04EDCFA6-7296-4C3F-95E8-44EB96719D50}" dt="2025-09-09T14:43:43.843" v="39" actId="20577"/>
        <pc:sldMkLst>
          <pc:docMk/>
          <pc:sldMk cId="2727891347" sldId="2147375976"/>
        </pc:sldMkLst>
        <pc:spChg chg="mod">
          <ac:chgData name="Košťálová Pavla" userId="fb3655b9-53e7-4957-986b-4909406ee6c7" providerId="ADAL" clId="{04EDCFA6-7296-4C3F-95E8-44EB96719D50}" dt="2025-09-09T14:43:43.843" v="39" actId="20577"/>
          <ac:spMkLst>
            <pc:docMk/>
            <pc:sldMk cId="2727891347" sldId="2147375976"/>
            <ac:spMk id="3" creationId="{00000000-0000-0000-0000-000000000000}"/>
          </ac:spMkLst>
        </pc:spChg>
      </pc:sldChg>
      <pc:sldChg chg="modSp add del mod">
        <pc:chgData name="Košťálová Pavla" userId="fb3655b9-53e7-4957-986b-4909406ee6c7" providerId="ADAL" clId="{04EDCFA6-7296-4C3F-95E8-44EB96719D50}" dt="2025-09-09T19:51:33.484" v="96" actId="2696"/>
        <pc:sldMkLst>
          <pc:docMk/>
          <pc:sldMk cId="828596369" sldId="2147375980"/>
        </pc:sldMkLst>
      </pc:sldChg>
      <pc:sldChg chg="del">
        <pc:chgData name="Košťálová Pavla" userId="fb3655b9-53e7-4957-986b-4909406ee6c7" providerId="ADAL" clId="{04EDCFA6-7296-4C3F-95E8-44EB96719D50}" dt="2025-09-10T09:38:47.498" v="104" actId="2696"/>
        <pc:sldMkLst>
          <pc:docMk/>
          <pc:sldMk cId="3629055855" sldId="2147375980"/>
        </pc:sldMkLst>
      </pc:sldChg>
      <pc:sldChg chg="del ord">
        <pc:chgData name="Košťálová Pavla" userId="fb3655b9-53e7-4957-986b-4909406ee6c7" providerId="ADAL" clId="{04EDCFA6-7296-4C3F-95E8-44EB96719D50}" dt="2025-09-09T19:12:04.194" v="47" actId="2696"/>
        <pc:sldMkLst>
          <pc:docMk/>
          <pc:sldMk cId="4191080503" sldId="2147375980"/>
        </pc:sldMkLst>
      </pc:sldChg>
      <pc:sldChg chg="modSp mod">
        <pc:chgData name="Košťálová Pavla" userId="fb3655b9-53e7-4957-986b-4909406ee6c7" providerId="ADAL" clId="{04EDCFA6-7296-4C3F-95E8-44EB96719D50}" dt="2025-09-10T09:57:39.355" v="262" actId="179"/>
        <pc:sldMkLst>
          <pc:docMk/>
          <pc:sldMk cId="3842275172" sldId="2147375982"/>
        </pc:sldMkLst>
        <pc:spChg chg="mod">
          <ac:chgData name="Košťálová Pavla" userId="fb3655b9-53e7-4957-986b-4909406ee6c7" providerId="ADAL" clId="{04EDCFA6-7296-4C3F-95E8-44EB96719D50}" dt="2025-09-10T09:57:39.355" v="262" actId="179"/>
          <ac:spMkLst>
            <pc:docMk/>
            <pc:sldMk cId="3842275172" sldId="2147375982"/>
            <ac:spMk id="2" creationId="{A7CF0C14-51F0-EFC5-E74F-E382DFD86783}"/>
          </ac:spMkLst>
        </pc:spChg>
      </pc:sldChg>
      <pc:sldChg chg="modSp mod">
        <pc:chgData name="Košťálová Pavla" userId="fb3655b9-53e7-4957-986b-4909406ee6c7" providerId="ADAL" clId="{04EDCFA6-7296-4C3F-95E8-44EB96719D50}" dt="2025-09-10T10:17:33.817" v="320" actId="255"/>
        <pc:sldMkLst>
          <pc:docMk/>
          <pc:sldMk cId="2860795123" sldId="2147375983"/>
        </pc:sldMkLst>
        <pc:spChg chg="mod">
          <ac:chgData name="Košťálová Pavla" userId="fb3655b9-53e7-4957-986b-4909406ee6c7" providerId="ADAL" clId="{04EDCFA6-7296-4C3F-95E8-44EB96719D50}" dt="2025-09-10T09:45:52.700" v="200" actId="108"/>
          <ac:spMkLst>
            <pc:docMk/>
            <pc:sldMk cId="2860795123" sldId="2147375983"/>
            <ac:spMk id="2" creationId="{79E97C43-E7A3-B0D6-62DA-FB6200618D98}"/>
          </ac:spMkLst>
        </pc:spChg>
        <pc:spChg chg="mod">
          <ac:chgData name="Košťálová Pavla" userId="fb3655b9-53e7-4957-986b-4909406ee6c7" providerId="ADAL" clId="{04EDCFA6-7296-4C3F-95E8-44EB96719D50}" dt="2025-09-10T10:17:28.603" v="319" actId="255"/>
          <ac:spMkLst>
            <pc:docMk/>
            <pc:sldMk cId="2860795123" sldId="2147375983"/>
            <ac:spMk id="15" creationId="{E624213B-DCBE-E825-B74C-987F89F5CED0}"/>
          </ac:spMkLst>
        </pc:spChg>
        <pc:spChg chg="mod">
          <ac:chgData name="Košťálová Pavla" userId="fb3655b9-53e7-4957-986b-4909406ee6c7" providerId="ADAL" clId="{04EDCFA6-7296-4C3F-95E8-44EB96719D50}" dt="2025-09-10T10:17:33.817" v="320" actId="255"/>
          <ac:spMkLst>
            <pc:docMk/>
            <pc:sldMk cId="2860795123" sldId="2147375983"/>
            <ac:spMk id="16" creationId="{D51968A5-BD8A-DEE7-9CCD-8CB07CDD51DA}"/>
          </ac:spMkLst>
        </pc:spChg>
      </pc:sldChg>
      <pc:sldChg chg="modSp mod">
        <pc:chgData name="Košťálová Pavla" userId="fb3655b9-53e7-4957-986b-4909406ee6c7" providerId="ADAL" clId="{04EDCFA6-7296-4C3F-95E8-44EB96719D50}" dt="2025-09-10T10:17:10.650" v="318" actId="207"/>
        <pc:sldMkLst>
          <pc:docMk/>
          <pc:sldMk cId="1037386557" sldId="2147375988"/>
        </pc:sldMkLst>
        <pc:spChg chg="mod">
          <ac:chgData name="Košťálová Pavla" userId="fb3655b9-53e7-4957-986b-4909406ee6c7" providerId="ADAL" clId="{04EDCFA6-7296-4C3F-95E8-44EB96719D50}" dt="2025-09-10T09:45:57.770" v="201" actId="108"/>
          <ac:spMkLst>
            <pc:docMk/>
            <pc:sldMk cId="1037386557" sldId="2147375988"/>
            <ac:spMk id="2" creationId="{B9D74681-E204-14C8-E56E-A21D44625181}"/>
          </ac:spMkLst>
        </pc:spChg>
        <pc:spChg chg="mod">
          <ac:chgData name="Košťálová Pavla" userId="fb3655b9-53e7-4957-986b-4909406ee6c7" providerId="ADAL" clId="{04EDCFA6-7296-4C3F-95E8-44EB96719D50}" dt="2025-09-10T10:16:46.774" v="311" actId="207"/>
          <ac:spMkLst>
            <pc:docMk/>
            <pc:sldMk cId="1037386557" sldId="2147375988"/>
            <ac:spMk id="5" creationId="{43AC64FD-9E34-27F1-9951-99838082864A}"/>
          </ac:spMkLst>
        </pc:spChg>
        <pc:spChg chg="mod">
          <ac:chgData name="Košťálová Pavla" userId="fb3655b9-53e7-4957-986b-4909406ee6c7" providerId="ADAL" clId="{04EDCFA6-7296-4C3F-95E8-44EB96719D50}" dt="2025-09-10T10:16:36.842" v="308" actId="207"/>
          <ac:spMkLst>
            <pc:docMk/>
            <pc:sldMk cId="1037386557" sldId="2147375988"/>
            <ac:spMk id="7" creationId="{17583194-0CA5-FA9F-6E4C-EF8A2E8983D7}"/>
          </ac:spMkLst>
        </pc:spChg>
        <pc:spChg chg="mod">
          <ac:chgData name="Košťálová Pavla" userId="fb3655b9-53e7-4957-986b-4909406ee6c7" providerId="ADAL" clId="{04EDCFA6-7296-4C3F-95E8-44EB96719D50}" dt="2025-09-10T10:16:59.961" v="315" actId="207"/>
          <ac:spMkLst>
            <pc:docMk/>
            <pc:sldMk cId="1037386557" sldId="2147375988"/>
            <ac:spMk id="8" creationId="{5EE641D7-C10B-AA0D-EB7A-C6C5CCD641F3}"/>
          </ac:spMkLst>
        </pc:spChg>
        <pc:spChg chg="mod">
          <ac:chgData name="Košťálová Pavla" userId="fb3655b9-53e7-4957-986b-4909406ee6c7" providerId="ADAL" clId="{04EDCFA6-7296-4C3F-95E8-44EB96719D50}" dt="2025-09-10T10:17:10.650" v="318" actId="207"/>
          <ac:spMkLst>
            <pc:docMk/>
            <pc:sldMk cId="1037386557" sldId="2147375988"/>
            <ac:spMk id="16" creationId="{5A8F35C2-2E59-4C56-A2B1-9BCD8138E69B}"/>
          </ac:spMkLst>
        </pc:spChg>
        <pc:spChg chg="mod">
          <ac:chgData name="Košťálová Pavla" userId="fb3655b9-53e7-4957-986b-4909406ee6c7" providerId="ADAL" clId="{04EDCFA6-7296-4C3F-95E8-44EB96719D50}" dt="2025-09-10T10:16:40.499" v="309" actId="207"/>
          <ac:spMkLst>
            <pc:docMk/>
            <pc:sldMk cId="1037386557" sldId="2147375988"/>
            <ac:spMk id="17" creationId="{016B061A-E2B0-AEE4-4A35-DC3C95303B9F}"/>
          </ac:spMkLst>
        </pc:spChg>
        <pc:spChg chg="mod">
          <ac:chgData name="Košťálová Pavla" userId="fb3655b9-53e7-4957-986b-4909406ee6c7" providerId="ADAL" clId="{04EDCFA6-7296-4C3F-95E8-44EB96719D50}" dt="2025-09-10T10:16:43.427" v="310" actId="207"/>
          <ac:spMkLst>
            <pc:docMk/>
            <pc:sldMk cId="1037386557" sldId="2147375988"/>
            <ac:spMk id="25" creationId="{CF01E952-E94C-B300-C0E9-76FF6150021F}"/>
          </ac:spMkLst>
        </pc:spChg>
      </pc:sldChg>
      <pc:sldChg chg="modSp mod">
        <pc:chgData name="Košťálová Pavla" userId="fb3655b9-53e7-4957-986b-4909406ee6c7" providerId="ADAL" clId="{04EDCFA6-7296-4C3F-95E8-44EB96719D50}" dt="2025-09-10T09:57:44.349" v="263" actId="179"/>
        <pc:sldMkLst>
          <pc:docMk/>
          <pc:sldMk cId="2481836335" sldId="2147375989"/>
        </pc:sldMkLst>
        <pc:spChg chg="mod">
          <ac:chgData name="Košťálová Pavla" userId="fb3655b9-53e7-4957-986b-4909406ee6c7" providerId="ADAL" clId="{04EDCFA6-7296-4C3F-95E8-44EB96719D50}" dt="2025-09-10T09:57:44.349" v="263" actId="179"/>
          <ac:spMkLst>
            <pc:docMk/>
            <pc:sldMk cId="2481836335" sldId="2147375989"/>
            <ac:spMk id="2" creationId="{B2A04DC3-272F-71F4-6A27-E9DCA2565F11}"/>
          </ac:spMkLst>
        </pc:spChg>
      </pc:sldChg>
      <pc:sldChg chg="modSp mod">
        <pc:chgData name="Košťálová Pavla" userId="fb3655b9-53e7-4957-986b-4909406ee6c7" providerId="ADAL" clId="{04EDCFA6-7296-4C3F-95E8-44EB96719D50}" dt="2025-09-10T09:51:34.265" v="241" actId="179"/>
        <pc:sldMkLst>
          <pc:docMk/>
          <pc:sldMk cId="2905473827" sldId="2147375991"/>
        </pc:sldMkLst>
        <pc:spChg chg="mod">
          <ac:chgData name="Košťálová Pavla" userId="fb3655b9-53e7-4957-986b-4909406ee6c7" providerId="ADAL" clId="{04EDCFA6-7296-4C3F-95E8-44EB96719D50}" dt="2025-09-10T09:44:29.817" v="191" actId="108"/>
          <ac:spMkLst>
            <pc:docMk/>
            <pc:sldMk cId="2905473827" sldId="2147375991"/>
            <ac:spMk id="2" creationId="{A066C8FA-BA30-B845-9466-84BDD411DBF6}"/>
          </ac:spMkLst>
        </pc:spChg>
        <pc:spChg chg="mod">
          <ac:chgData name="Košťálová Pavla" userId="fb3655b9-53e7-4957-986b-4909406ee6c7" providerId="ADAL" clId="{04EDCFA6-7296-4C3F-95E8-44EB96719D50}" dt="2025-09-10T09:51:34.265" v="241" actId="179"/>
          <ac:spMkLst>
            <pc:docMk/>
            <pc:sldMk cId="2905473827" sldId="2147375991"/>
            <ac:spMk id="3" creationId="{5679F7A0-D648-11AF-3FE5-BB5F001C8706}"/>
          </ac:spMkLst>
        </pc:spChg>
      </pc:sldChg>
      <pc:sldChg chg="modSp mod">
        <pc:chgData name="Košťálová Pavla" userId="fb3655b9-53e7-4957-986b-4909406ee6c7" providerId="ADAL" clId="{04EDCFA6-7296-4C3F-95E8-44EB96719D50}" dt="2025-09-10T09:46:03.856" v="202" actId="108"/>
        <pc:sldMkLst>
          <pc:docMk/>
          <pc:sldMk cId="3489710637" sldId="2147375992"/>
        </pc:sldMkLst>
        <pc:spChg chg="mod">
          <ac:chgData name="Košťálová Pavla" userId="fb3655b9-53e7-4957-986b-4909406ee6c7" providerId="ADAL" clId="{04EDCFA6-7296-4C3F-95E8-44EB96719D50}" dt="2025-09-10T09:46:03.856" v="202" actId="108"/>
          <ac:spMkLst>
            <pc:docMk/>
            <pc:sldMk cId="3489710637" sldId="2147375992"/>
            <ac:spMk id="2" creationId="{E1EBD9E5-E06E-D49E-3DDF-4D8BAABDD716}"/>
          </ac:spMkLst>
        </pc:spChg>
      </pc:sldChg>
      <pc:sldChg chg="modSp mod">
        <pc:chgData name="Košťálová Pavla" userId="fb3655b9-53e7-4957-986b-4909406ee6c7" providerId="ADAL" clId="{04EDCFA6-7296-4C3F-95E8-44EB96719D50}" dt="2025-09-10T09:46:20.747" v="206" actId="108"/>
        <pc:sldMkLst>
          <pc:docMk/>
          <pc:sldMk cId="2602683621" sldId="2147375993"/>
        </pc:sldMkLst>
        <pc:spChg chg="mod">
          <ac:chgData name="Košťálová Pavla" userId="fb3655b9-53e7-4957-986b-4909406ee6c7" providerId="ADAL" clId="{04EDCFA6-7296-4C3F-95E8-44EB96719D50}" dt="2025-09-10T09:46:20.747" v="206" actId="108"/>
          <ac:spMkLst>
            <pc:docMk/>
            <pc:sldMk cId="2602683621" sldId="2147375993"/>
            <ac:spMk id="2" creationId="{8C19BDAB-6B3C-7633-17CF-F5AF5D54E8B0}"/>
          </ac:spMkLst>
        </pc:spChg>
      </pc:sldChg>
      <pc:sldChg chg="modSp mod">
        <pc:chgData name="Košťálová Pavla" userId="fb3655b9-53e7-4957-986b-4909406ee6c7" providerId="ADAL" clId="{04EDCFA6-7296-4C3F-95E8-44EB96719D50}" dt="2025-09-10T09:46:07.635" v="203" actId="108"/>
        <pc:sldMkLst>
          <pc:docMk/>
          <pc:sldMk cId="3660389665" sldId="2147375994"/>
        </pc:sldMkLst>
        <pc:spChg chg="mod">
          <ac:chgData name="Košťálová Pavla" userId="fb3655b9-53e7-4957-986b-4909406ee6c7" providerId="ADAL" clId="{04EDCFA6-7296-4C3F-95E8-44EB96719D50}" dt="2025-09-10T09:46:07.635" v="203" actId="108"/>
          <ac:spMkLst>
            <pc:docMk/>
            <pc:sldMk cId="3660389665" sldId="2147375994"/>
            <ac:spMk id="2" creationId="{6C551801-BBCC-30C3-6880-508AD1614D24}"/>
          </ac:spMkLst>
        </pc:spChg>
      </pc:sldChg>
      <pc:sldChg chg="modSp mod">
        <pc:chgData name="Košťálová Pavla" userId="fb3655b9-53e7-4957-986b-4909406ee6c7" providerId="ADAL" clId="{04EDCFA6-7296-4C3F-95E8-44EB96719D50}" dt="2025-09-10T09:53:08.849" v="255" actId="255"/>
        <pc:sldMkLst>
          <pc:docMk/>
          <pc:sldMk cId="2958881643" sldId="2147375995"/>
        </pc:sldMkLst>
        <pc:spChg chg="mod">
          <ac:chgData name="Košťálová Pavla" userId="fb3655b9-53e7-4957-986b-4909406ee6c7" providerId="ADAL" clId="{04EDCFA6-7296-4C3F-95E8-44EB96719D50}" dt="2025-09-10T09:45:03.369" v="195" actId="179"/>
          <ac:spMkLst>
            <pc:docMk/>
            <pc:sldMk cId="2958881643" sldId="2147375995"/>
            <ac:spMk id="2" creationId="{BA08F395-FB87-FCBF-7FDB-4A40D7C083D7}"/>
          </ac:spMkLst>
        </pc:spChg>
        <pc:spChg chg="mod">
          <ac:chgData name="Košťálová Pavla" userId="fb3655b9-53e7-4957-986b-4909406ee6c7" providerId="ADAL" clId="{04EDCFA6-7296-4C3F-95E8-44EB96719D50}" dt="2025-09-10T09:52:45.216" v="251" actId="255"/>
          <ac:spMkLst>
            <pc:docMk/>
            <pc:sldMk cId="2958881643" sldId="2147375995"/>
            <ac:spMk id="6" creationId="{57C39C2B-5DC2-976D-ECD2-25D3D518DBB5}"/>
          </ac:spMkLst>
        </pc:spChg>
        <pc:spChg chg="mod">
          <ac:chgData name="Košťálová Pavla" userId="fb3655b9-53e7-4957-986b-4909406ee6c7" providerId="ADAL" clId="{04EDCFA6-7296-4C3F-95E8-44EB96719D50}" dt="2025-09-10T09:52:57.784" v="253" actId="255"/>
          <ac:spMkLst>
            <pc:docMk/>
            <pc:sldMk cId="2958881643" sldId="2147375995"/>
            <ac:spMk id="7" creationId="{A42790ED-B1E7-4E60-BAE2-5EC7CEA919A3}"/>
          </ac:spMkLst>
        </pc:spChg>
        <pc:spChg chg="mod">
          <ac:chgData name="Košťálová Pavla" userId="fb3655b9-53e7-4957-986b-4909406ee6c7" providerId="ADAL" clId="{04EDCFA6-7296-4C3F-95E8-44EB96719D50}" dt="2025-09-10T09:53:08.849" v="255" actId="255"/>
          <ac:spMkLst>
            <pc:docMk/>
            <pc:sldMk cId="2958881643" sldId="2147375995"/>
            <ac:spMk id="8" creationId="{20CA503F-CD6C-7DD0-BC8C-E92F4DFAFD7C}"/>
          </ac:spMkLst>
        </pc:spChg>
      </pc:sldChg>
      <pc:sldChg chg="modSp mod">
        <pc:chgData name="Košťálová Pavla" userId="fb3655b9-53e7-4957-986b-4909406ee6c7" providerId="ADAL" clId="{04EDCFA6-7296-4C3F-95E8-44EB96719D50}" dt="2025-09-10T09:39:18.894" v="142" actId="20577"/>
        <pc:sldMkLst>
          <pc:docMk/>
          <pc:sldMk cId="1170133789" sldId="2147375996"/>
        </pc:sldMkLst>
        <pc:spChg chg="mod">
          <ac:chgData name="Košťálová Pavla" userId="fb3655b9-53e7-4957-986b-4909406ee6c7" providerId="ADAL" clId="{04EDCFA6-7296-4C3F-95E8-44EB96719D50}" dt="2025-09-10T09:39:18.894" v="142" actId="20577"/>
          <ac:spMkLst>
            <pc:docMk/>
            <pc:sldMk cId="1170133789" sldId="2147375996"/>
            <ac:spMk id="2" creationId="{3AB6729E-DBCF-D03C-D12E-E903DFC6F5DD}"/>
          </ac:spMkLst>
        </pc:spChg>
      </pc:sldChg>
    </pc:docChg>
  </pc:docChgLst>
  <pc:docChgLst>
    <pc:chgData name="Puršl František" userId="2d9cc4cd-da54-43dd-9e09-f57d243d731a" providerId="ADAL" clId="{7582E2DF-86B8-47A9-9176-252B0D135F6B}"/>
    <pc:docChg chg="undo custSel delSld modSld delMainMaster modMainMaster">
      <pc:chgData name="Puršl František" userId="2d9cc4cd-da54-43dd-9e09-f57d243d731a" providerId="ADAL" clId="{7582E2DF-86B8-47A9-9176-252B0D135F6B}" dt="2025-09-15T08:03:40.714" v="514" actId="166"/>
      <pc:docMkLst>
        <pc:docMk/>
      </pc:docMkLst>
      <pc:sldChg chg="addSp delSp modSp mod modClrScheme chgLayout">
        <pc:chgData name="Puršl František" userId="2d9cc4cd-da54-43dd-9e09-f57d243d731a" providerId="ADAL" clId="{7582E2DF-86B8-47A9-9176-252B0D135F6B}" dt="2025-09-09T16:14:33.704" v="90" actId="478"/>
        <pc:sldMkLst>
          <pc:docMk/>
          <pc:sldMk cId="329049294" sldId="256"/>
        </pc:sldMkLst>
        <pc:spChg chg="mod ord">
          <ac:chgData name="Puršl František" userId="2d9cc4cd-da54-43dd-9e09-f57d243d731a" providerId="ADAL" clId="{7582E2DF-86B8-47A9-9176-252B0D135F6B}" dt="2025-09-09T16:14:28.343" v="89" actId="700"/>
          <ac:spMkLst>
            <pc:docMk/>
            <pc:sldMk cId="329049294" sldId="256"/>
            <ac:spMk id="2" creationId="{0672F3E4-156E-0045-911B-1B54C82DBB8B}"/>
          </ac:spMkLst>
        </pc:spChg>
        <pc:spChg chg="mod ord">
          <ac:chgData name="Puršl František" userId="2d9cc4cd-da54-43dd-9e09-f57d243d731a" providerId="ADAL" clId="{7582E2DF-86B8-47A9-9176-252B0D135F6B}" dt="2025-09-09T16:14:28.343" v="89" actId="700"/>
          <ac:spMkLst>
            <pc:docMk/>
            <pc:sldMk cId="329049294" sldId="256"/>
            <ac:spMk id="3" creationId="{B70EB2BE-A47F-6743-A95B-DD2D721E2B5C}"/>
          </ac:spMkLst>
        </pc:spChg>
      </pc:sldChg>
      <pc:sldChg chg="modSp">
        <pc:chgData name="Puršl František" userId="2d9cc4cd-da54-43dd-9e09-f57d243d731a" providerId="ADAL" clId="{7582E2DF-86B8-47A9-9176-252B0D135F6B}" dt="2025-09-09T16:00:19.816" v="10" actId="1076"/>
        <pc:sldMkLst>
          <pc:docMk/>
          <pc:sldMk cId="1293841127" sldId="260"/>
        </pc:sldMkLst>
      </pc:sldChg>
      <pc:sldChg chg="del">
        <pc:chgData name="Puršl František" userId="2d9cc4cd-da54-43dd-9e09-f57d243d731a" providerId="ADAL" clId="{7582E2DF-86B8-47A9-9176-252B0D135F6B}" dt="2025-09-09T17:27:20.257" v="492" actId="47"/>
        <pc:sldMkLst>
          <pc:docMk/>
          <pc:sldMk cId="967778488" sldId="272"/>
        </pc:sldMkLst>
      </pc:sldChg>
      <pc:sldChg chg="del">
        <pc:chgData name="Puršl František" userId="2d9cc4cd-da54-43dd-9e09-f57d243d731a" providerId="ADAL" clId="{7582E2DF-86B8-47A9-9176-252B0D135F6B}" dt="2025-09-08T10:29:13.243" v="6" actId="47"/>
        <pc:sldMkLst>
          <pc:docMk/>
          <pc:sldMk cId="1337361045" sldId="411"/>
        </pc:sldMkLst>
      </pc:sldChg>
      <pc:sldChg chg="del">
        <pc:chgData name="Puršl František" userId="2d9cc4cd-da54-43dd-9e09-f57d243d731a" providerId="ADAL" clId="{7582E2DF-86B8-47A9-9176-252B0D135F6B}" dt="2025-09-08T10:29:13.243" v="6" actId="47"/>
        <pc:sldMkLst>
          <pc:docMk/>
          <pc:sldMk cId="2135211233" sldId="418"/>
        </pc:sldMkLst>
      </pc:sldChg>
      <pc:sldChg chg="del">
        <pc:chgData name="Puršl František" userId="2d9cc4cd-da54-43dd-9e09-f57d243d731a" providerId="ADAL" clId="{7582E2DF-86B8-47A9-9176-252B0D135F6B}" dt="2025-09-08T10:29:13.243" v="6" actId="47"/>
        <pc:sldMkLst>
          <pc:docMk/>
          <pc:sldMk cId="2758758110" sldId="419"/>
        </pc:sldMkLst>
      </pc:sldChg>
      <pc:sldChg chg="modSp del mod">
        <pc:chgData name="Puršl František" userId="2d9cc4cd-da54-43dd-9e09-f57d243d731a" providerId="ADAL" clId="{7582E2DF-86B8-47A9-9176-252B0D135F6B}" dt="2025-09-08T10:29:13.243" v="6" actId="47"/>
        <pc:sldMkLst>
          <pc:docMk/>
          <pc:sldMk cId="2760448442" sldId="420"/>
        </pc:sldMkLst>
      </pc:sldChg>
      <pc:sldChg chg="del">
        <pc:chgData name="Puršl František" userId="2d9cc4cd-da54-43dd-9e09-f57d243d731a" providerId="ADAL" clId="{7582E2DF-86B8-47A9-9176-252B0D135F6B}" dt="2025-09-08T10:29:13.243" v="6" actId="47"/>
        <pc:sldMkLst>
          <pc:docMk/>
          <pc:sldMk cId="189448450" sldId="435"/>
        </pc:sldMkLst>
      </pc:sldChg>
      <pc:sldChg chg="del">
        <pc:chgData name="Puršl František" userId="2d9cc4cd-da54-43dd-9e09-f57d243d731a" providerId="ADAL" clId="{7582E2DF-86B8-47A9-9176-252B0D135F6B}" dt="2025-09-08T10:29:13.243" v="6" actId="47"/>
        <pc:sldMkLst>
          <pc:docMk/>
          <pc:sldMk cId="3460063137" sldId="436"/>
        </pc:sldMkLst>
      </pc:sldChg>
      <pc:sldChg chg="modSp del mod">
        <pc:chgData name="Puršl František" userId="2d9cc4cd-da54-43dd-9e09-f57d243d731a" providerId="ADAL" clId="{7582E2DF-86B8-47A9-9176-252B0D135F6B}" dt="2025-09-08T10:29:13.243" v="6" actId="47"/>
        <pc:sldMkLst>
          <pc:docMk/>
          <pc:sldMk cId="152617429" sldId="437"/>
        </pc:sldMkLst>
      </pc:sldChg>
      <pc:sldChg chg="del">
        <pc:chgData name="Puršl František" userId="2d9cc4cd-da54-43dd-9e09-f57d243d731a" providerId="ADAL" clId="{7582E2DF-86B8-47A9-9176-252B0D135F6B}" dt="2025-09-09T17:27:20.257" v="492" actId="47"/>
        <pc:sldMkLst>
          <pc:docMk/>
          <pc:sldMk cId="3751705817" sldId="605"/>
        </pc:sldMkLst>
      </pc:sldChg>
      <pc:sldChg chg="del modNotes">
        <pc:chgData name="Puršl František" userId="2d9cc4cd-da54-43dd-9e09-f57d243d731a" providerId="ADAL" clId="{7582E2DF-86B8-47A9-9176-252B0D135F6B}" dt="2025-09-09T17:27:38.234" v="494"/>
        <pc:sldMkLst>
          <pc:docMk/>
          <pc:sldMk cId="3873504036" sldId="609"/>
        </pc:sldMkLst>
      </pc:sldChg>
      <pc:sldChg chg="del modNotes">
        <pc:chgData name="Puršl František" userId="2d9cc4cd-da54-43dd-9e09-f57d243d731a" providerId="ADAL" clId="{7582E2DF-86B8-47A9-9176-252B0D135F6B}" dt="2025-09-09T17:27:38.234" v="495"/>
        <pc:sldMkLst>
          <pc:docMk/>
          <pc:sldMk cId="0" sldId="1827"/>
        </pc:sldMkLst>
      </pc:sldChg>
      <pc:sldChg chg="del">
        <pc:chgData name="Puršl František" userId="2d9cc4cd-da54-43dd-9e09-f57d243d731a" providerId="ADAL" clId="{7582E2DF-86B8-47A9-9176-252B0D135F6B}" dt="2025-09-09T17:27:20.257" v="492" actId="47"/>
        <pc:sldMkLst>
          <pc:docMk/>
          <pc:sldMk cId="2726639249" sldId="1846"/>
        </pc:sldMkLst>
      </pc:sldChg>
      <pc:sldChg chg="del">
        <pc:chgData name="Puršl František" userId="2d9cc4cd-da54-43dd-9e09-f57d243d731a" providerId="ADAL" clId="{7582E2DF-86B8-47A9-9176-252B0D135F6B}" dt="2025-09-09T17:27:20.257" v="492" actId="47"/>
        <pc:sldMkLst>
          <pc:docMk/>
          <pc:sldMk cId="2753570022" sldId="1851"/>
        </pc:sldMkLst>
      </pc:sldChg>
      <pc:sldChg chg="del">
        <pc:chgData name="Puršl František" userId="2d9cc4cd-da54-43dd-9e09-f57d243d731a" providerId="ADAL" clId="{7582E2DF-86B8-47A9-9176-252B0D135F6B}" dt="2025-09-09T17:27:20.257" v="492" actId="47"/>
        <pc:sldMkLst>
          <pc:docMk/>
          <pc:sldMk cId="1254739400" sldId="1868"/>
        </pc:sldMkLst>
      </pc:sldChg>
      <pc:sldChg chg="del">
        <pc:chgData name="Puršl František" userId="2d9cc4cd-da54-43dd-9e09-f57d243d731a" providerId="ADAL" clId="{7582E2DF-86B8-47A9-9176-252B0D135F6B}" dt="2025-09-09T17:27:20.257" v="492" actId="47"/>
        <pc:sldMkLst>
          <pc:docMk/>
          <pc:sldMk cId="47615984" sldId="1869"/>
        </pc:sldMkLst>
      </pc:sldChg>
      <pc:sldChg chg="del">
        <pc:chgData name="Puršl František" userId="2d9cc4cd-da54-43dd-9e09-f57d243d731a" providerId="ADAL" clId="{7582E2DF-86B8-47A9-9176-252B0D135F6B}" dt="2025-09-09T17:27:20.257" v="492" actId="47"/>
        <pc:sldMkLst>
          <pc:docMk/>
          <pc:sldMk cId="0" sldId="1870"/>
        </pc:sldMkLst>
      </pc:sldChg>
      <pc:sldChg chg="del modNotes">
        <pc:chgData name="Puršl František" userId="2d9cc4cd-da54-43dd-9e09-f57d243d731a" providerId="ADAL" clId="{7582E2DF-86B8-47A9-9176-252B0D135F6B}" dt="2025-09-09T17:27:38.259" v="496"/>
        <pc:sldMkLst>
          <pc:docMk/>
          <pc:sldMk cId="2001943917" sldId="1875"/>
        </pc:sldMkLst>
      </pc:sldChg>
      <pc:sldChg chg="del modNotes">
        <pc:chgData name="Puršl František" userId="2d9cc4cd-da54-43dd-9e09-f57d243d731a" providerId="ADAL" clId="{7582E2DF-86B8-47A9-9176-252B0D135F6B}" dt="2025-09-09T17:27:38.300" v="497"/>
        <pc:sldMkLst>
          <pc:docMk/>
          <pc:sldMk cId="3425439173" sldId="1886"/>
        </pc:sldMkLst>
      </pc:sldChg>
      <pc:sldChg chg="del modNotes">
        <pc:chgData name="Puršl František" userId="2d9cc4cd-da54-43dd-9e09-f57d243d731a" providerId="ADAL" clId="{7582E2DF-86B8-47A9-9176-252B0D135F6B}" dt="2025-09-09T17:27:38.333" v="498"/>
        <pc:sldMkLst>
          <pc:docMk/>
          <pc:sldMk cId="29498602" sldId="1887"/>
        </pc:sldMkLst>
      </pc:sldChg>
      <pc:sldChg chg="del modNotes">
        <pc:chgData name="Puršl František" userId="2d9cc4cd-da54-43dd-9e09-f57d243d731a" providerId="ADAL" clId="{7582E2DF-86B8-47A9-9176-252B0D135F6B}" dt="2025-09-09T17:27:38.359" v="499"/>
        <pc:sldMkLst>
          <pc:docMk/>
          <pc:sldMk cId="2370148125" sldId="1888"/>
        </pc:sldMkLst>
      </pc:sldChg>
      <pc:sldChg chg="del modNotes">
        <pc:chgData name="Puršl František" userId="2d9cc4cd-da54-43dd-9e09-f57d243d731a" providerId="ADAL" clId="{7582E2DF-86B8-47A9-9176-252B0D135F6B}" dt="2025-09-09T17:27:38.384" v="500"/>
        <pc:sldMkLst>
          <pc:docMk/>
          <pc:sldMk cId="920829604" sldId="1889"/>
        </pc:sldMkLst>
      </pc:sldChg>
      <pc:sldChg chg="del modNotes">
        <pc:chgData name="Puršl František" userId="2d9cc4cd-da54-43dd-9e09-f57d243d731a" providerId="ADAL" clId="{7582E2DF-86B8-47A9-9176-252B0D135F6B}" dt="2025-09-09T17:27:38.411" v="501"/>
        <pc:sldMkLst>
          <pc:docMk/>
          <pc:sldMk cId="426846913" sldId="1890"/>
        </pc:sldMkLst>
      </pc:sldChg>
      <pc:sldChg chg="del modNotes">
        <pc:chgData name="Puršl František" userId="2d9cc4cd-da54-43dd-9e09-f57d243d731a" providerId="ADAL" clId="{7582E2DF-86B8-47A9-9176-252B0D135F6B}" dt="2025-09-09T17:27:38.436" v="502"/>
        <pc:sldMkLst>
          <pc:docMk/>
          <pc:sldMk cId="3806477668" sldId="1891"/>
        </pc:sldMkLst>
      </pc:sldChg>
      <pc:sldChg chg="del modNotes">
        <pc:chgData name="Puršl František" userId="2d9cc4cd-da54-43dd-9e09-f57d243d731a" providerId="ADAL" clId="{7582E2DF-86B8-47A9-9176-252B0D135F6B}" dt="2025-09-09T17:27:38.466" v="503"/>
        <pc:sldMkLst>
          <pc:docMk/>
          <pc:sldMk cId="2310827912" sldId="1892"/>
        </pc:sldMkLst>
      </pc:sldChg>
      <pc:sldChg chg="del">
        <pc:chgData name="Puršl František" userId="2d9cc4cd-da54-43dd-9e09-f57d243d731a" providerId="ADAL" clId="{7582E2DF-86B8-47A9-9176-252B0D135F6B}" dt="2025-09-09T17:27:20.257" v="492" actId="47"/>
        <pc:sldMkLst>
          <pc:docMk/>
          <pc:sldMk cId="552484237" sldId="1894"/>
        </pc:sldMkLst>
      </pc:sldChg>
      <pc:sldChg chg="del">
        <pc:chgData name="Puršl František" userId="2d9cc4cd-da54-43dd-9e09-f57d243d731a" providerId="ADAL" clId="{7582E2DF-86B8-47A9-9176-252B0D135F6B}" dt="2025-09-09T17:27:20.257" v="492" actId="47"/>
        <pc:sldMkLst>
          <pc:docMk/>
          <pc:sldMk cId="1959730543" sldId="1895"/>
        </pc:sldMkLst>
      </pc:sldChg>
      <pc:sldChg chg="del">
        <pc:chgData name="Puršl František" userId="2d9cc4cd-da54-43dd-9e09-f57d243d731a" providerId="ADAL" clId="{7582E2DF-86B8-47A9-9176-252B0D135F6B}" dt="2025-09-09T17:27:20.257" v="492" actId="47"/>
        <pc:sldMkLst>
          <pc:docMk/>
          <pc:sldMk cId="2345546770" sldId="1897"/>
        </pc:sldMkLst>
      </pc:sldChg>
      <pc:sldChg chg="del">
        <pc:chgData name="Puršl František" userId="2d9cc4cd-da54-43dd-9e09-f57d243d731a" providerId="ADAL" clId="{7582E2DF-86B8-47A9-9176-252B0D135F6B}" dt="2025-09-09T17:27:20.257" v="492" actId="47"/>
        <pc:sldMkLst>
          <pc:docMk/>
          <pc:sldMk cId="845493496" sldId="1898"/>
        </pc:sldMkLst>
      </pc:sldChg>
      <pc:sldChg chg="del">
        <pc:chgData name="Puršl František" userId="2d9cc4cd-da54-43dd-9e09-f57d243d731a" providerId="ADAL" clId="{7582E2DF-86B8-47A9-9176-252B0D135F6B}" dt="2025-09-09T17:27:20.257" v="492" actId="47"/>
        <pc:sldMkLst>
          <pc:docMk/>
          <pc:sldMk cId="2390971088" sldId="1899"/>
        </pc:sldMkLst>
      </pc:sldChg>
      <pc:sldChg chg="del modNotes">
        <pc:chgData name="Puršl František" userId="2d9cc4cd-da54-43dd-9e09-f57d243d731a" providerId="ADAL" clId="{7582E2DF-86B8-47A9-9176-252B0D135F6B}" dt="2025-09-09T17:27:38.484" v="504"/>
        <pc:sldMkLst>
          <pc:docMk/>
          <pc:sldMk cId="2893225743" sldId="1900"/>
        </pc:sldMkLst>
      </pc:sldChg>
      <pc:sldChg chg="modSp mod">
        <pc:chgData name="Puršl František" userId="2d9cc4cd-da54-43dd-9e09-f57d243d731a" providerId="ADAL" clId="{7582E2DF-86B8-47A9-9176-252B0D135F6B}" dt="2025-09-09T16:19:37.996" v="125" actId="1076"/>
        <pc:sldMkLst>
          <pc:docMk/>
          <pc:sldMk cId="2313129677" sldId="2145707231"/>
        </pc:sldMkLst>
      </pc:sldChg>
      <pc:sldChg chg="modSp mod">
        <pc:chgData name="Puršl František" userId="2d9cc4cd-da54-43dd-9e09-f57d243d731a" providerId="ADAL" clId="{7582E2DF-86B8-47A9-9176-252B0D135F6B}" dt="2025-09-09T16:20:36.467" v="140" actId="403"/>
        <pc:sldMkLst>
          <pc:docMk/>
          <pc:sldMk cId="3245583261" sldId="2145707326"/>
        </pc:sldMkLst>
      </pc:sldChg>
      <pc:sldChg chg="delSp modSp mod">
        <pc:chgData name="Puršl František" userId="2d9cc4cd-da54-43dd-9e09-f57d243d731a" providerId="ADAL" clId="{7582E2DF-86B8-47A9-9176-252B0D135F6B}" dt="2025-09-09T16:31:38.261" v="262" actId="478"/>
        <pc:sldMkLst>
          <pc:docMk/>
          <pc:sldMk cId="1706154766" sldId="2145707358"/>
        </pc:sldMkLst>
      </pc:sldChg>
      <pc:sldChg chg="modSp mod">
        <pc:chgData name="Puršl František" userId="2d9cc4cd-da54-43dd-9e09-f57d243d731a" providerId="ADAL" clId="{7582E2DF-86B8-47A9-9176-252B0D135F6B}" dt="2025-09-09T16:21:11.799" v="146" actId="403"/>
        <pc:sldMkLst>
          <pc:docMk/>
          <pc:sldMk cId="2432869218" sldId="2145707392"/>
        </pc:sldMkLst>
      </pc:sldChg>
      <pc:sldChg chg="modSp mod">
        <pc:chgData name="Puršl František" userId="2d9cc4cd-da54-43dd-9e09-f57d243d731a" providerId="ADAL" clId="{7582E2DF-86B8-47A9-9176-252B0D135F6B}" dt="2025-09-09T16:52:40.997" v="444" actId="1036"/>
        <pc:sldMkLst>
          <pc:docMk/>
          <pc:sldMk cId="4046492476" sldId="2145707397"/>
        </pc:sldMkLst>
        <pc:spChg chg="mod">
          <ac:chgData name="Puršl František" userId="2d9cc4cd-da54-43dd-9e09-f57d243d731a" providerId="ADAL" clId="{7582E2DF-86B8-47A9-9176-252B0D135F6B}" dt="2025-09-09T16:52:40.997" v="444" actId="1036"/>
          <ac:spMkLst>
            <pc:docMk/>
            <pc:sldMk cId="4046492476" sldId="2145707397"/>
            <ac:spMk id="2" creationId="{C0D43453-8F5C-8E22-99F9-C4FF2AFD4E38}"/>
          </ac:spMkLst>
        </pc:spChg>
        <pc:spChg chg="mod">
          <ac:chgData name="Puršl František" userId="2d9cc4cd-da54-43dd-9e09-f57d243d731a" providerId="ADAL" clId="{7582E2DF-86B8-47A9-9176-252B0D135F6B}" dt="2025-09-09T16:18:43.345" v="112" actId="14100"/>
          <ac:spMkLst>
            <pc:docMk/>
            <pc:sldMk cId="4046492476" sldId="2145707397"/>
            <ac:spMk id="3" creationId="{7EF5076D-EB83-5D26-55AB-614F087B268E}"/>
          </ac:spMkLst>
        </pc:spChg>
        <pc:spChg chg="mod">
          <ac:chgData name="Puršl František" userId="2d9cc4cd-da54-43dd-9e09-f57d243d731a" providerId="ADAL" clId="{7582E2DF-86B8-47A9-9176-252B0D135F6B}" dt="2025-09-09T16:18:39.811" v="111" actId="14100"/>
          <ac:spMkLst>
            <pc:docMk/>
            <pc:sldMk cId="4046492476" sldId="2145707397"/>
            <ac:spMk id="4" creationId="{43DAD56C-0A28-7DAA-38EB-876997B35BA2}"/>
          </ac:spMkLst>
        </pc:spChg>
      </pc:sldChg>
      <pc:sldChg chg="modSp mod">
        <pc:chgData name="Puršl František" userId="2d9cc4cd-da54-43dd-9e09-f57d243d731a" providerId="ADAL" clId="{7582E2DF-86B8-47A9-9176-252B0D135F6B}" dt="2025-09-09T16:28:59.827" v="226" actId="6549"/>
        <pc:sldMkLst>
          <pc:docMk/>
          <pc:sldMk cId="1225989194" sldId="2145707401"/>
        </pc:sldMkLst>
      </pc:sldChg>
      <pc:sldChg chg="modSp mod">
        <pc:chgData name="Puršl František" userId="2d9cc4cd-da54-43dd-9e09-f57d243d731a" providerId="ADAL" clId="{7582E2DF-86B8-47A9-9176-252B0D135F6B}" dt="2025-09-09T16:30:02.592" v="244" actId="404"/>
        <pc:sldMkLst>
          <pc:docMk/>
          <pc:sldMk cId="2852883058" sldId="2145707404"/>
        </pc:sldMkLst>
      </pc:sldChg>
      <pc:sldChg chg="modSp mod">
        <pc:chgData name="Puršl František" userId="2d9cc4cd-da54-43dd-9e09-f57d243d731a" providerId="ADAL" clId="{7582E2DF-86B8-47A9-9176-252B0D135F6B}" dt="2025-09-09T16:29:54.331" v="239" actId="403"/>
        <pc:sldMkLst>
          <pc:docMk/>
          <pc:sldMk cId="3870305492" sldId="2145707405"/>
        </pc:sldMkLst>
      </pc:sldChg>
      <pc:sldChg chg="modSp mod">
        <pc:chgData name="Puršl František" userId="2d9cc4cd-da54-43dd-9e09-f57d243d731a" providerId="ADAL" clId="{7582E2DF-86B8-47A9-9176-252B0D135F6B}" dt="2025-09-09T16:24:04.222" v="198" actId="120"/>
        <pc:sldMkLst>
          <pc:docMk/>
          <pc:sldMk cId="3007970856" sldId="2145707407"/>
        </pc:sldMkLst>
      </pc:sldChg>
      <pc:sldChg chg="modSp mod">
        <pc:chgData name="Puršl František" userId="2d9cc4cd-da54-43dd-9e09-f57d243d731a" providerId="ADAL" clId="{7582E2DF-86B8-47A9-9176-252B0D135F6B}" dt="2025-09-09T16:29:48.968" v="236" actId="404"/>
        <pc:sldMkLst>
          <pc:docMk/>
          <pc:sldMk cId="2786802000" sldId="2145707408"/>
        </pc:sldMkLst>
      </pc:sldChg>
      <pc:sldChg chg="modSp mod">
        <pc:chgData name="Puršl František" userId="2d9cc4cd-da54-43dd-9e09-f57d243d731a" providerId="ADAL" clId="{7582E2DF-86B8-47A9-9176-252B0D135F6B}" dt="2025-09-09T16:31:14.976" v="257" actId="14100"/>
        <pc:sldMkLst>
          <pc:docMk/>
          <pc:sldMk cId="3263213021" sldId="2145707412"/>
        </pc:sldMkLst>
      </pc:sldChg>
      <pc:sldChg chg="modSp mod">
        <pc:chgData name="Puršl František" userId="2d9cc4cd-da54-43dd-9e09-f57d243d731a" providerId="ADAL" clId="{7582E2DF-86B8-47A9-9176-252B0D135F6B}" dt="2025-09-09T16:53:32.588" v="465" actId="1036"/>
        <pc:sldMkLst>
          <pc:docMk/>
          <pc:sldMk cId="796137716" sldId="2145707415"/>
        </pc:sldMkLst>
      </pc:sldChg>
      <pc:sldChg chg="modSp mod">
        <pc:chgData name="Puršl František" userId="2d9cc4cd-da54-43dd-9e09-f57d243d731a" providerId="ADAL" clId="{7582E2DF-86B8-47A9-9176-252B0D135F6B}" dt="2025-09-09T16:34:14.751" v="289" actId="113"/>
        <pc:sldMkLst>
          <pc:docMk/>
          <pc:sldMk cId="453328397" sldId="2145707418"/>
        </pc:sldMkLst>
      </pc:sldChg>
      <pc:sldChg chg="modSp mod">
        <pc:chgData name="Puršl František" userId="2d9cc4cd-da54-43dd-9e09-f57d243d731a" providerId="ADAL" clId="{7582E2DF-86B8-47A9-9176-252B0D135F6B}" dt="2025-09-09T16:34:41.536" v="295" actId="1076"/>
        <pc:sldMkLst>
          <pc:docMk/>
          <pc:sldMk cId="2773494271" sldId="2145707419"/>
        </pc:sldMkLst>
      </pc:sldChg>
      <pc:sldChg chg="modSp mod">
        <pc:chgData name="Puršl František" userId="2d9cc4cd-da54-43dd-9e09-f57d243d731a" providerId="ADAL" clId="{7582E2DF-86B8-47A9-9176-252B0D135F6B}" dt="2025-09-09T16:35:07.619" v="303" actId="14100"/>
        <pc:sldMkLst>
          <pc:docMk/>
          <pc:sldMk cId="1163216872" sldId="2145707420"/>
        </pc:sldMkLst>
      </pc:sldChg>
      <pc:sldChg chg="modSp mod">
        <pc:chgData name="Puršl František" userId="2d9cc4cd-da54-43dd-9e09-f57d243d731a" providerId="ADAL" clId="{7582E2DF-86B8-47A9-9176-252B0D135F6B}" dt="2025-09-09T16:54:47.722" v="476" actId="403"/>
        <pc:sldMkLst>
          <pc:docMk/>
          <pc:sldMk cId="1995325976" sldId="2145707421"/>
        </pc:sldMkLst>
      </pc:sldChg>
      <pc:sldChg chg="modSp mod">
        <pc:chgData name="Puršl František" userId="2d9cc4cd-da54-43dd-9e09-f57d243d731a" providerId="ADAL" clId="{7582E2DF-86B8-47A9-9176-252B0D135F6B}" dt="2025-09-09T16:31:47.979" v="265" actId="113"/>
        <pc:sldMkLst>
          <pc:docMk/>
          <pc:sldMk cId="3731147642" sldId="2145707422"/>
        </pc:sldMkLst>
      </pc:sldChg>
      <pc:sldChg chg="modSp mod">
        <pc:chgData name="Puršl František" userId="2d9cc4cd-da54-43dd-9e09-f57d243d731a" providerId="ADAL" clId="{7582E2DF-86B8-47A9-9176-252B0D135F6B}" dt="2025-09-09T16:32:14.103" v="269" actId="403"/>
        <pc:sldMkLst>
          <pc:docMk/>
          <pc:sldMk cId="777394138" sldId="2145707423"/>
        </pc:sldMkLst>
      </pc:sldChg>
      <pc:sldChg chg="modSp mod">
        <pc:chgData name="Puršl František" userId="2d9cc4cd-da54-43dd-9e09-f57d243d731a" providerId="ADAL" clId="{7582E2DF-86B8-47A9-9176-252B0D135F6B}" dt="2025-09-10T06:34:23.174" v="510" actId="948"/>
        <pc:sldMkLst>
          <pc:docMk/>
          <pc:sldMk cId="2505326134" sldId="2145707424"/>
        </pc:sldMkLst>
        <pc:spChg chg="mod">
          <ac:chgData name="Puršl František" userId="2d9cc4cd-da54-43dd-9e09-f57d243d731a" providerId="ADAL" clId="{7582E2DF-86B8-47A9-9176-252B0D135F6B}" dt="2025-09-10T06:34:23.174" v="510" actId="948"/>
          <ac:spMkLst>
            <pc:docMk/>
            <pc:sldMk cId="2505326134" sldId="2145707424"/>
            <ac:spMk id="3" creationId="{AD7155A1-F628-5870-4C1C-4000C4F41744}"/>
          </ac:spMkLst>
        </pc:spChg>
      </pc:sldChg>
      <pc:sldChg chg="modSp mod">
        <pc:chgData name="Puršl František" userId="2d9cc4cd-da54-43dd-9e09-f57d243d731a" providerId="ADAL" clId="{7582E2DF-86B8-47A9-9176-252B0D135F6B}" dt="2025-09-09T16:54:26.094" v="474" actId="948"/>
        <pc:sldMkLst>
          <pc:docMk/>
          <pc:sldMk cId="2533733556" sldId="2145707425"/>
        </pc:sldMkLst>
      </pc:sldChg>
      <pc:sldChg chg="modSp mod">
        <pc:chgData name="Puršl František" userId="2d9cc4cd-da54-43dd-9e09-f57d243d731a" providerId="ADAL" clId="{7582E2DF-86B8-47A9-9176-252B0D135F6B}" dt="2025-09-09T16:55:02.409" v="478" actId="403"/>
        <pc:sldMkLst>
          <pc:docMk/>
          <pc:sldMk cId="1879668839" sldId="2145707427"/>
        </pc:sldMkLst>
      </pc:sldChg>
      <pc:sldChg chg="modSp mod">
        <pc:chgData name="Puršl František" userId="2d9cc4cd-da54-43dd-9e09-f57d243d731a" providerId="ADAL" clId="{7582E2DF-86B8-47A9-9176-252B0D135F6B}" dt="2025-09-09T16:35:51.494" v="316" actId="113"/>
        <pc:sldMkLst>
          <pc:docMk/>
          <pc:sldMk cId="4037307031" sldId="2145707428"/>
        </pc:sldMkLst>
        <pc:spChg chg="mod">
          <ac:chgData name="Puršl František" userId="2d9cc4cd-da54-43dd-9e09-f57d243d731a" providerId="ADAL" clId="{7582E2DF-86B8-47A9-9176-252B0D135F6B}" dt="2025-09-09T16:35:51.494" v="316" actId="113"/>
          <ac:spMkLst>
            <pc:docMk/>
            <pc:sldMk cId="4037307031" sldId="2145707428"/>
            <ac:spMk id="2" creationId="{6F5805B3-5B15-E864-D247-B4A49359902A}"/>
          </ac:spMkLst>
        </pc:spChg>
      </pc:sldChg>
      <pc:sldChg chg="modSp mod">
        <pc:chgData name="Puršl František" userId="2d9cc4cd-da54-43dd-9e09-f57d243d731a" providerId="ADAL" clId="{7582E2DF-86B8-47A9-9176-252B0D135F6B}" dt="2025-09-09T16:38:46.616" v="323" actId="403"/>
        <pc:sldMkLst>
          <pc:docMk/>
          <pc:sldMk cId="2185572" sldId="2145707429"/>
        </pc:sldMkLst>
        <pc:spChg chg="mod">
          <ac:chgData name="Puršl František" userId="2d9cc4cd-da54-43dd-9e09-f57d243d731a" providerId="ADAL" clId="{7582E2DF-86B8-47A9-9176-252B0D135F6B}" dt="2025-09-09T16:38:32.542" v="319" actId="27636"/>
          <ac:spMkLst>
            <pc:docMk/>
            <pc:sldMk cId="2185572" sldId="2145707429"/>
            <ac:spMk id="3" creationId="{60E5BA2B-230C-25A0-C4AF-BFF1C57C8893}"/>
          </ac:spMkLst>
        </pc:spChg>
        <pc:spChg chg="mod">
          <ac:chgData name="Puršl František" userId="2d9cc4cd-da54-43dd-9e09-f57d243d731a" providerId="ADAL" clId="{7582E2DF-86B8-47A9-9176-252B0D135F6B}" dt="2025-09-09T16:38:41.076" v="321" actId="1076"/>
          <ac:spMkLst>
            <pc:docMk/>
            <pc:sldMk cId="2185572" sldId="2145707429"/>
            <ac:spMk id="4" creationId="{2267AEAB-BF1D-4DD5-8D0A-2F1F3C663494}"/>
          </ac:spMkLst>
        </pc:spChg>
        <pc:spChg chg="mod">
          <ac:chgData name="Puršl František" userId="2d9cc4cd-da54-43dd-9e09-f57d243d731a" providerId="ADAL" clId="{7582E2DF-86B8-47A9-9176-252B0D135F6B}" dt="2025-09-09T16:38:46.616" v="323" actId="403"/>
          <ac:spMkLst>
            <pc:docMk/>
            <pc:sldMk cId="2185572" sldId="2145707429"/>
            <ac:spMk id="5" creationId="{B7492F2F-5590-A958-B45F-3F220954874F}"/>
          </ac:spMkLst>
        </pc:spChg>
      </pc:sldChg>
      <pc:sldChg chg="modSp mod">
        <pc:chgData name="Puršl František" userId="2d9cc4cd-da54-43dd-9e09-f57d243d731a" providerId="ADAL" clId="{7582E2DF-86B8-47A9-9176-252B0D135F6B}" dt="2025-09-09T16:39:15.449" v="329" actId="404"/>
        <pc:sldMkLst>
          <pc:docMk/>
          <pc:sldMk cId="3964681946" sldId="2145707430"/>
        </pc:sldMkLst>
      </pc:sldChg>
      <pc:sldChg chg="modSp mod">
        <pc:chgData name="Puršl František" userId="2d9cc4cd-da54-43dd-9e09-f57d243d731a" providerId="ADAL" clId="{7582E2DF-86B8-47A9-9176-252B0D135F6B}" dt="2025-09-09T16:40:14.728" v="342" actId="1076"/>
        <pc:sldMkLst>
          <pc:docMk/>
          <pc:sldMk cId="1120452062" sldId="2145707431"/>
        </pc:sldMkLst>
      </pc:sldChg>
      <pc:sldChg chg="modSp mod">
        <pc:chgData name="Puršl František" userId="2d9cc4cd-da54-43dd-9e09-f57d243d731a" providerId="ADAL" clId="{7582E2DF-86B8-47A9-9176-252B0D135F6B}" dt="2025-09-09T16:40:41.616" v="348" actId="403"/>
        <pc:sldMkLst>
          <pc:docMk/>
          <pc:sldMk cId="2760545540" sldId="2145707432"/>
        </pc:sldMkLst>
        <pc:spChg chg="mod">
          <ac:chgData name="Puršl František" userId="2d9cc4cd-da54-43dd-9e09-f57d243d731a" providerId="ADAL" clId="{7582E2DF-86B8-47A9-9176-252B0D135F6B}" dt="2025-09-09T16:40:41.616" v="348" actId="403"/>
          <ac:spMkLst>
            <pc:docMk/>
            <pc:sldMk cId="2760545540" sldId="2145707432"/>
            <ac:spMk id="2" creationId="{AA19F515-F0B0-7EB4-1125-4787FB1E2CAC}"/>
          </ac:spMkLst>
        </pc:spChg>
        <pc:spChg chg="mod">
          <ac:chgData name="Puršl František" userId="2d9cc4cd-da54-43dd-9e09-f57d243d731a" providerId="ADAL" clId="{7582E2DF-86B8-47A9-9176-252B0D135F6B}" dt="2025-09-09T16:40:25.760" v="344" actId="1076"/>
          <ac:spMkLst>
            <pc:docMk/>
            <pc:sldMk cId="2760545540" sldId="2145707432"/>
            <ac:spMk id="3" creationId="{236DD0DB-260C-189F-8B09-92C2282E5704}"/>
          </ac:spMkLst>
        </pc:spChg>
        <pc:graphicFrameChg chg="mod">
          <ac:chgData name="Puršl František" userId="2d9cc4cd-da54-43dd-9e09-f57d243d731a" providerId="ADAL" clId="{7582E2DF-86B8-47A9-9176-252B0D135F6B}" dt="2025-09-09T16:40:34.493" v="346" actId="1076"/>
          <ac:graphicFrameMkLst>
            <pc:docMk/>
            <pc:sldMk cId="2760545540" sldId="2145707432"/>
            <ac:graphicFrameMk id="4" creationId="{C3EDB479-D7FA-A066-6E7A-059F0AA59811}"/>
          </ac:graphicFrameMkLst>
        </pc:graphicFrameChg>
      </pc:sldChg>
      <pc:sldChg chg="modSp mod">
        <pc:chgData name="Puršl František" userId="2d9cc4cd-da54-43dd-9e09-f57d243d731a" providerId="ADAL" clId="{7582E2DF-86B8-47A9-9176-252B0D135F6B}" dt="2025-09-09T16:41:59.913" v="366" actId="1076"/>
        <pc:sldMkLst>
          <pc:docMk/>
          <pc:sldMk cId="3922368084" sldId="2145707433"/>
        </pc:sldMkLst>
      </pc:sldChg>
      <pc:sldChg chg="modSp mod">
        <pc:chgData name="Puršl František" userId="2d9cc4cd-da54-43dd-9e09-f57d243d731a" providerId="ADAL" clId="{7582E2DF-86B8-47A9-9176-252B0D135F6B}" dt="2025-09-09T16:19:15.938" v="122" actId="1076"/>
        <pc:sldMkLst>
          <pc:docMk/>
          <pc:sldMk cId="1970857533" sldId="2145707434"/>
        </pc:sldMkLst>
      </pc:sldChg>
      <pc:sldChg chg="modSp mod">
        <pc:chgData name="Puršl František" userId="2d9cc4cd-da54-43dd-9e09-f57d243d731a" providerId="ADAL" clId="{7582E2DF-86B8-47A9-9176-252B0D135F6B}" dt="2025-09-09T16:42:32.726" v="374" actId="1076"/>
        <pc:sldMkLst>
          <pc:docMk/>
          <pc:sldMk cId="1411330243" sldId="2145707435"/>
        </pc:sldMkLst>
      </pc:sldChg>
      <pc:sldChg chg="modSp mod">
        <pc:chgData name="Puršl František" userId="2d9cc4cd-da54-43dd-9e09-f57d243d731a" providerId="ADAL" clId="{7582E2DF-86B8-47A9-9176-252B0D135F6B}" dt="2025-09-09T16:20:26.071" v="136" actId="255"/>
        <pc:sldMkLst>
          <pc:docMk/>
          <pc:sldMk cId="4182196693" sldId="2145707439"/>
        </pc:sldMkLst>
      </pc:sldChg>
      <pc:sldChg chg="modSp mod">
        <pc:chgData name="Puršl František" userId="2d9cc4cd-da54-43dd-9e09-f57d243d731a" providerId="ADAL" clId="{7582E2DF-86B8-47A9-9176-252B0D135F6B}" dt="2025-09-09T16:21:37.332" v="152" actId="1076"/>
        <pc:sldMkLst>
          <pc:docMk/>
          <pc:sldMk cId="177774860" sldId="2145707440"/>
        </pc:sldMkLst>
      </pc:sldChg>
      <pc:sldChg chg="modSp mod">
        <pc:chgData name="Puršl František" userId="2d9cc4cd-da54-43dd-9e09-f57d243d731a" providerId="ADAL" clId="{7582E2DF-86B8-47A9-9176-252B0D135F6B}" dt="2025-09-10T06:33:57.783" v="509" actId="1036"/>
        <pc:sldMkLst>
          <pc:docMk/>
          <pc:sldMk cId="3910267132" sldId="2145707441"/>
        </pc:sldMkLst>
        <pc:spChg chg="mod">
          <ac:chgData name="Puršl František" userId="2d9cc4cd-da54-43dd-9e09-f57d243d731a" providerId="ADAL" clId="{7582E2DF-86B8-47A9-9176-252B0D135F6B}" dt="2025-09-10T06:33:57.783" v="509" actId="1036"/>
          <ac:spMkLst>
            <pc:docMk/>
            <pc:sldMk cId="3910267132" sldId="2145707441"/>
            <ac:spMk id="2" creationId="{FB29447D-7516-8FBB-9F80-18CA8156111B}"/>
          </ac:spMkLst>
        </pc:spChg>
      </pc:sldChg>
      <pc:sldChg chg="modSp mod">
        <pc:chgData name="Puršl František" userId="2d9cc4cd-da54-43dd-9e09-f57d243d731a" providerId="ADAL" clId="{7582E2DF-86B8-47A9-9176-252B0D135F6B}" dt="2025-09-09T16:53:08.298" v="451" actId="403"/>
        <pc:sldMkLst>
          <pc:docMk/>
          <pc:sldMk cId="1806666340" sldId="2145707442"/>
        </pc:sldMkLst>
      </pc:sldChg>
      <pc:sldChg chg="modSp mod">
        <pc:chgData name="Puršl František" userId="2d9cc4cd-da54-43dd-9e09-f57d243d731a" providerId="ADAL" clId="{7582E2DF-86B8-47A9-9176-252B0D135F6B}" dt="2025-09-09T16:23:00.645" v="177" actId="1076"/>
        <pc:sldMkLst>
          <pc:docMk/>
          <pc:sldMk cId="4225793887" sldId="2145707443"/>
        </pc:sldMkLst>
      </pc:sldChg>
      <pc:sldChg chg="modSp mod">
        <pc:chgData name="Puršl František" userId="2d9cc4cd-da54-43dd-9e09-f57d243d731a" providerId="ADAL" clId="{7582E2DF-86B8-47A9-9176-252B0D135F6B}" dt="2025-09-09T16:22:52.945" v="174" actId="403"/>
        <pc:sldMkLst>
          <pc:docMk/>
          <pc:sldMk cId="4093238162" sldId="2145707444"/>
        </pc:sldMkLst>
      </pc:sldChg>
      <pc:sldChg chg="modSp mod">
        <pc:chgData name="Puršl František" userId="2d9cc4cd-da54-43dd-9e09-f57d243d731a" providerId="ADAL" clId="{7582E2DF-86B8-47A9-9176-252B0D135F6B}" dt="2025-09-09T16:51:42.332" v="421" actId="1035"/>
        <pc:sldMkLst>
          <pc:docMk/>
          <pc:sldMk cId="2277844832" sldId="2145707445"/>
        </pc:sldMkLst>
        <pc:spChg chg="mod">
          <ac:chgData name="Puršl František" userId="2d9cc4cd-da54-43dd-9e09-f57d243d731a" providerId="ADAL" clId="{7582E2DF-86B8-47A9-9176-252B0D135F6B}" dt="2025-09-09T16:51:42.332" v="421" actId="1035"/>
          <ac:spMkLst>
            <pc:docMk/>
            <pc:sldMk cId="2277844832" sldId="2145707445"/>
            <ac:spMk id="3" creationId="{3D46920C-395D-03CE-07B9-EC73DD9B23B7}"/>
          </ac:spMkLst>
        </pc:spChg>
        <pc:spChg chg="mod">
          <ac:chgData name="Puršl František" userId="2d9cc4cd-da54-43dd-9e09-f57d243d731a" providerId="ADAL" clId="{7582E2DF-86B8-47A9-9176-252B0D135F6B}" dt="2025-09-09T16:51:32.357" v="413" actId="948"/>
          <ac:spMkLst>
            <pc:docMk/>
            <pc:sldMk cId="2277844832" sldId="2145707445"/>
            <ac:spMk id="4" creationId="{DBBA1076-6B4B-BE2E-2A7B-A623DC64BD54}"/>
          </ac:spMkLst>
        </pc:spChg>
      </pc:sldChg>
      <pc:sldChg chg="modSp mod">
        <pc:chgData name="Puršl František" userId="2d9cc4cd-da54-43dd-9e09-f57d243d731a" providerId="ADAL" clId="{7582E2DF-86B8-47A9-9176-252B0D135F6B}" dt="2025-09-09T16:52:19.154" v="437" actId="403"/>
        <pc:sldMkLst>
          <pc:docMk/>
          <pc:sldMk cId="851397258" sldId="2145707446"/>
        </pc:sldMkLst>
        <pc:spChg chg="mod">
          <ac:chgData name="Puršl František" userId="2d9cc4cd-da54-43dd-9e09-f57d243d731a" providerId="ADAL" clId="{7582E2DF-86B8-47A9-9176-252B0D135F6B}" dt="2025-09-09T16:52:19.154" v="437" actId="403"/>
          <ac:spMkLst>
            <pc:docMk/>
            <pc:sldMk cId="851397258" sldId="2145707446"/>
            <ac:spMk id="2" creationId="{AC2A6B27-746A-69A8-B01F-BE7BCC397274}"/>
          </ac:spMkLst>
        </pc:spChg>
        <pc:spChg chg="mod">
          <ac:chgData name="Puršl František" userId="2d9cc4cd-da54-43dd-9e09-f57d243d731a" providerId="ADAL" clId="{7582E2DF-86B8-47A9-9176-252B0D135F6B}" dt="2025-09-09T16:52:03.604" v="435" actId="20577"/>
          <ac:spMkLst>
            <pc:docMk/>
            <pc:sldMk cId="851397258" sldId="2145707446"/>
            <ac:spMk id="3" creationId="{7C2EC2BC-38D4-6BEA-03D7-45183B96280A}"/>
          </ac:spMkLst>
        </pc:spChg>
      </pc:sldChg>
      <pc:sldChg chg="modSp mod">
        <pc:chgData name="Puršl František" userId="2d9cc4cd-da54-43dd-9e09-f57d243d731a" providerId="ADAL" clId="{7582E2DF-86B8-47A9-9176-252B0D135F6B}" dt="2025-09-09T16:42:19.250" v="371" actId="1076"/>
        <pc:sldMkLst>
          <pc:docMk/>
          <pc:sldMk cId="2776861103" sldId="2145707447"/>
        </pc:sldMkLst>
        <pc:spChg chg="mod">
          <ac:chgData name="Puršl František" userId="2d9cc4cd-da54-43dd-9e09-f57d243d731a" providerId="ADAL" clId="{7582E2DF-86B8-47A9-9176-252B0D135F6B}" dt="2025-09-09T16:42:07.721" v="368" actId="403"/>
          <ac:spMkLst>
            <pc:docMk/>
            <pc:sldMk cId="2776861103" sldId="2145707447"/>
            <ac:spMk id="2" creationId="{8580CEB0-D713-BB4F-37FB-3EB28E90AC5F}"/>
          </ac:spMkLst>
        </pc:spChg>
        <pc:spChg chg="mod">
          <ac:chgData name="Puršl František" userId="2d9cc4cd-da54-43dd-9e09-f57d243d731a" providerId="ADAL" clId="{7582E2DF-86B8-47A9-9176-252B0D135F6B}" dt="2025-09-09T16:42:19.250" v="371" actId="1076"/>
          <ac:spMkLst>
            <pc:docMk/>
            <pc:sldMk cId="2776861103" sldId="2145707447"/>
            <ac:spMk id="3" creationId="{8D37384D-9BCA-1C54-A3C3-081E02A7CAC0}"/>
          </ac:spMkLst>
        </pc:spChg>
      </pc:sldChg>
      <pc:sldChg chg="modSp mod">
        <pc:chgData name="Puršl František" userId="2d9cc4cd-da54-43dd-9e09-f57d243d731a" providerId="ADAL" clId="{7582E2DF-86B8-47A9-9176-252B0D135F6B}" dt="2025-09-09T16:55:52.795" v="480" actId="207"/>
        <pc:sldMkLst>
          <pc:docMk/>
          <pc:sldMk cId="4244934613" sldId="2147375924"/>
        </pc:sldMkLst>
        <pc:spChg chg="mod">
          <ac:chgData name="Puršl František" userId="2d9cc4cd-da54-43dd-9e09-f57d243d731a" providerId="ADAL" clId="{7582E2DF-86B8-47A9-9176-252B0D135F6B}" dt="2025-09-09T16:55:52.795" v="480" actId="207"/>
          <ac:spMkLst>
            <pc:docMk/>
            <pc:sldMk cId="4244934613" sldId="2147375924"/>
            <ac:spMk id="2" creationId="{0C3FA854-E4D7-004A-4A73-B8ECEF3F033E}"/>
          </ac:spMkLst>
        </pc:spChg>
      </pc:sldChg>
      <pc:sldChg chg="modSp mod">
        <pc:chgData name="Puršl František" userId="2d9cc4cd-da54-43dd-9e09-f57d243d731a" providerId="ADAL" clId="{7582E2DF-86B8-47A9-9176-252B0D135F6B}" dt="2025-09-09T16:55:59.217" v="481" actId="207"/>
        <pc:sldMkLst>
          <pc:docMk/>
          <pc:sldMk cId="2900972615" sldId="2147375950"/>
        </pc:sldMkLst>
        <pc:spChg chg="mod">
          <ac:chgData name="Puršl František" userId="2d9cc4cd-da54-43dd-9e09-f57d243d731a" providerId="ADAL" clId="{7582E2DF-86B8-47A9-9176-252B0D135F6B}" dt="2025-09-09T16:55:59.217" v="481" actId="207"/>
          <ac:spMkLst>
            <pc:docMk/>
            <pc:sldMk cId="2900972615" sldId="2147375950"/>
            <ac:spMk id="2" creationId="{542C36A5-134B-38E8-0D9D-F74EDB594AB2}"/>
          </ac:spMkLst>
        </pc:spChg>
      </pc:sldChg>
      <pc:sldChg chg="modSp mod">
        <pc:chgData name="Puršl František" userId="2d9cc4cd-da54-43dd-9e09-f57d243d731a" providerId="ADAL" clId="{7582E2DF-86B8-47A9-9176-252B0D135F6B}" dt="2025-09-09T16:55:41.329" v="479" actId="207"/>
        <pc:sldMkLst>
          <pc:docMk/>
          <pc:sldMk cId="3888782459" sldId="2147375951"/>
        </pc:sldMkLst>
        <pc:spChg chg="mod">
          <ac:chgData name="Puršl František" userId="2d9cc4cd-da54-43dd-9e09-f57d243d731a" providerId="ADAL" clId="{7582E2DF-86B8-47A9-9176-252B0D135F6B}" dt="2025-09-09T16:55:41.329" v="479" actId="207"/>
          <ac:spMkLst>
            <pc:docMk/>
            <pc:sldMk cId="3888782459" sldId="2147375951"/>
            <ac:spMk id="2" creationId="{45EE1B5E-BDD1-62D9-A671-B7B723641D12}"/>
          </ac:spMkLst>
        </pc:spChg>
      </pc:sldChg>
      <pc:sldChg chg="modSp mod">
        <pc:chgData name="Puršl František" userId="2d9cc4cd-da54-43dd-9e09-f57d243d731a" providerId="ADAL" clId="{7582E2DF-86B8-47A9-9176-252B0D135F6B}" dt="2025-09-09T16:56:11.254" v="482" actId="207"/>
        <pc:sldMkLst>
          <pc:docMk/>
          <pc:sldMk cId="300959258" sldId="2147375952"/>
        </pc:sldMkLst>
        <pc:spChg chg="mod">
          <ac:chgData name="Puršl František" userId="2d9cc4cd-da54-43dd-9e09-f57d243d731a" providerId="ADAL" clId="{7582E2DF-86B8-47A9-9176-252B0D135F6B}" dt="2025-09-09T16:56:11.254" v="482" actId="207"/>
          <ac:spMkLst>
            <pc:docMk/>
            <pc:sldMk cId="300959258" sldId="2147375952"/>
            <ac:spMk id="2" creationId="{1FD00D7C-8D8C-A2AD-CBB6-421E8E3777D9}"/>
          </ac:spMkLst>
        </pc:spChg>
      </pc:sldChg>
      <pc:sldChg chg="addSp delSp modSp mod modClrScheme chgLayout">
        <pc:chgData name="Puršl František" userId="2d9cc4cd-da54-43dd-9e09-f57d243d731a" providerId="ADAL" clId="{7582E2DF-86B8-47A9-9176-252B0D135F6B}" dt="2025-09-09T16:43:11.041" v="391" actId="1076"/>
        <pc:sldMkLst>
          <pc:docMk/>
          <pc:sldMk cId="2532388755" sldId="2147375953"/>
        </pc:sldMkLst>
        <pc:spChg chg="mod ord">
          <ac:chgData name="Puršl František" userId="2d9cc4cd-da54-43dd-9e09-f57d243d731a" providerId="ADAL" clId="{7582E2DF-86B8-47A9-9176-252B0D135F6B}" dt="2025-09-09T16:43:11.041" v="391" actId="1076"/>
          <ac:spMkLst>
            <pc:docMk/>
            <pc:sldMk cId="2532388755" sldId="2147375953"/>
            <ac:spMk id="2" creationId="{989DAB11-7F1A-7D53-458B-B5E6F0389B8E}"/>
          </ac:spMkLst>
        </pc:spChg>
      </pc:sldChg>
      <pc:sldChg chg="modSp mod">
        <pc:chgData name="Puršl František" userId="2d9cc4cd-da54-43dd-9e09-f57d243d731a" providerId="ADAL" clId="{7582E2DF-86B8-47A9-9176-252B0D135F6B}" dt="2025-09-09T16:56:16.610" v="483" actId="207"/>
        <pc:sldMkLst>
          <pc:docMk/>
          <pc:sldMk cId="2654612758" sldId="2147375954"/>
        </pc:sldMkLst>
        <pc:spChg chg="mod">
          <ac:chgData name="Puršl František" userId="2d9cc4cd-da54-43dd-9e09-f57d243d731a" providerId="ADAL" clId="{7582E2DF-86B8-47A9-9176-252B0D135F6B}" dt="2025-09-09T16:56:16.610" v="483" actId="207"/>
          <ac:spMkLst>
            <pc:docMk/>
            <pc:sldMk cId="2654612758" sldId="2147375954"/>
            <ac:spMk id="2" creationId="{7C515DA7-B234-7A0D-048F-2F7BE6D8DEAF}"/>
          </ac:spMkLst>
        </pc:spChg>
      </pc:sldChg>
      <pc:sldChg chg="modSp mod">
        <pc:chgData name="Puršl František" userId="2d9cc4cd-da54-43dd-9e09-f57d243d731a" providerId="ADAL" clId="{7582E2DF-86B8-47A9-9176-252B0D135F6B}" dt="2025-09-09T16:56:29.416" v="486" actId="1036"/>
        <pc:sldMkLst>
          <pc:docMk/>
          <pc:sldMk cId="491166048" sldId="2147375955"/>
        </pc:sldMkLst>
        <pc:spChg chg="mod">
          <ac:chgData name="Puršl František" userId="2d9cc4cd-da54-43dd-9e09-f57d243d731a" providerId="ADAL" clId="{7582E2DF-86B8-47A9-9176-252B0D135F6B}" dt="2025-09-09T16:56:29.416" v="486" actId="1036"/>
          <ac:spMkLst>
            <pc:docMk/>
            <pc:sldMk cId="491166048" sldId="2147375955"/>
            <ac:spMk id="2" creationId="{EC445D5C-12EE-E0D9-D998-5E460FDAB963}"/>
          </ac:spMkLst>
        </pc:spChg>
      </pc:sldChg>
      <pc:sldChg chg="modSp mod">
        <pc:chgData name="Puršl František" userId="2d9cc4cd-da54-43dd-9e09-f57d243d731a" providerId="ADAL" clId="{7582E2DF-86B8-47A9-9176-252B0D135F6B}" dt="2025-09-09T16:56:34.569" v="487" actId="207"/>
        <pc:sldMkLst>
          <pc:docMk/>
          <pc:sldMk cId="1286022810" sldId="2147375956"/>
        </pc:sldMkLst>
        <pc:spChg chg="mod">
          <ac:chgData name="Puršl František" userId="2d9cc4cd-da54-43dd-9e09-f57d243d731a" providerId="ADAL" clId="{7582E2DF-86B8-47A9-9176-252B0D135F6B}" dt="2025-09-09T16:56:34.569" v="487" actId="207"/>
          <ac:spMkLst>
            <pc:docMk/>
            <pc:sldMk cId="1286022810" sldId="2147375956"/>
            <ac:spMk id="2" creationId="{79E09A67-595B-88FE-656F-4D15681B56D2}"/>
          </ac:spMkLst>
        </pc:spChg>
      </pc:sldChg>
      <pc:sldChg chg="modSp mod">
        <pc:chgData name="Puršl František" userId="2d9cc4cd-da54-43dd-9e09-f57d243d731a" providerId="ADAL" clId="{7582E2DF-86B8-47A9-9176-252B0D135F6B}" dt="2025-09-09T16:56:42.925" v="490" actId="1036"/>
        <pc:sldMkLst>
          <pc:docMk/>
          <pc:sldMk cId="898716340" sldId="2147375957"/>
        </pc:sldMkLst>
        <pc:spChg chg="mod">
          <ac:chgData name="Puršl František" userId="2d9cc4cd-da54-43dd-9e09-f57d243d731a" providerId="ADAL" clId="{7582E2DF-86B8-47A9-9176-252B0D135F6B}" dt="2025-09-09T16:56:42.925" v="490" actId="1036"/>
          <ac:spMkLst>
            <pc:docMk/>
            <pc:sldMk cId="898716340" sldId="2147375957"/>
            <ac:spMk id="2" creationId="{87F662ED-2547-A083-BB73-4039C1F2059E}"/>
          </ac:spMkLst>
        </pc:spChg>
      </pc:sldChg>
      <pc:sldChg chg="modSp mod">
        <pc:chgData name="Puršl František" userId="2d9cc4cd-da54-43dd-9e09-f57d243d731a" providerId="ADAL" clId="{7582E2DF-86B8-47A9-9176-252B0D135F6B}" dt="2025-09-09T16:10:16.947" v="40" actId="14100"/>
        <pc:sldMkLst>
          <pc:docMk/>
          <pc:sldMk cId="882091293" sldId="2147375959"/>
        </pc:sldMkLst>
        <pc:picChg chg="mod">
          <ac:chgData name="Puršl František" userId="2d9cc4cd-da54-43dd-9e09-f57d243d731a" providerId="ADAL" clId="{7582E2DF-86B8-47A9-9176-252B0D135F6B}" dt="2025-09-09T16:10:16.947" v="40" actId="14100"/>
          <ac:picMkLst>
            <pc:docMk/>
            <pc:sldMk cId="882091293" sldId="2147375959"/>
            <ac:picMk id="7" creationId="{22796A9D-B3E5-631B-356D-6AB7518A97BF}"/>
          </ac:picMkLst>
        </pc:picChg>
      </pc:sldChg>
      <pc:sldChg chg="modSp mod">
        <pc:chgData name="Puršl František" userId="2d9cc4cd-da54-43dd-9e09-f57d243d731a" providerId="ADAL" clId="{7582E2DF-86B8-47A9-9176-252B0D135F6B}" dt="2025-09-09T16:10:55.360" v="47" actId="1076"/>
        <pc:sldMkLst>
          <pc:docMk/>
          <pc:sldMk cId="2786527554" sldId="2147375960"/>
        </pc:sldMkLst>
        <pc:spChg chg="mod">
          <ac:chgData name="Puršl František" userId="2d9cc4cd-da54-43dd-9e09-f57d243d731a" providerId="ADAL" clId="{7582E2DF-86B8-47A9-9176-252B0D135F6B}" dt="2025-09-09T16:10:46.265" v="45" actId="1076"/>
          <ac:spMkLst>
            <pc:docMk/>
            <pc:sldMk cId="2786527554" sldId="2147375960"/>
            <ac:spMk id="2" creationId="{7F8122D1-6CB8-214A-B842-D4DC0DF3AD99}"/>
          </ac:spMkLst>
        </pc:spChg>
        <pc:picChg chg="mod">
          <ac:chgData name="Puršl František" userId="2d9cc4cd-da54-43dd-9e09-f57d243d731a" providerId="ADAL" clId="{7582E2DF-86B8-47A9-9176-252B0D135F6B}" dt="2025-09-09T16:10:55.360" v="47" actId="1076"/>
          <ac:picMkLst>
            <pc:docMk/>
            <pc:sldMk cId="2786527554" sldId="2147375960"/>
            <ac:picMk id="2052" creationId="{0F80E805-E83D-8FDA-B88B-DD89E550D3F6}"/>
          </ac:picMkLst>
        </pc:picChg>
      </pc:sldChg>
      <pc:sldChg chg="modSp mod">
        <pc:chgData name="Puršl František" userId="2d9cc4cd-da54-43dd-9e09-f57d243d731a" providerId="ADAL" clId="{7582E2DF-86B8-47A9-9176-252B0D135F6B}" dt="2025-09-15T06:30:20.489" v="511" actId="14100"/>
        <pc:sldMkLst>
          <pc:docMk/>
          <pc:sldMk cId="2607901129" sldId="2147375961"/>
        </pc:sldMkLst>
        <pc:spChg chg="mod">
          <ac:chgData name="Puršl František" userId="2d9cc4cd-da54-43dd-9e09-f57d243d731a" providerId="ADAL" clId="{7582E2DF-86B8-47A9-9176-252B0D135F6B}" dt="2025-09-15T06:30:20.489" v="511" actId="14100"/>
          <ac:spMkLst>
            <pc:docMk/>
            <pc:sldMk cId="2607901129" sldId="2147375961"/>
            <ac:spMk id="2" creationId="{7F8122D1-6CB8-214A-B842-D4DC0DF3AD99}"/>
          </ac:spMkLst>
        </pc:spChg>
        <pc:spChg chg="mod">
          <ac:chgData name="Puršl František" userId="2d9cc4cd-da54-43dd-9e09-f57d243d731a" providerId="ADAL" clId="{7582E2DF-86B8-47A9-9176-252B0D135F6B}" dt="2025-09-09T16:11:12.266" v="50" actId="1076"/>
          <ac:spMkLst>
            <pc:docMk/>
            <pc:sldMk cId="2607901129" sldId="2147375961"/>
            <ac:spMk id="6" creationId="{2962026E-A51D-45A7-B4B1-24ABAE703E3F}"/>
          </ac:spMkLst>
        </pc:spChg>
      </pc:sldChg>
      <pc:sldChg chg="modSp mod">
        <pc:chgData name="Puršl František" userId="2d9cc4cd-da54-43dd-9e09-f57d243d731a" providerId="ADAL" clId="{7582E2DF-86B8-47A9-9176-252B0D135F6B}" dt="2025-09-09T16:11:50.798" v="60" actId="403"/>
        <pc:sldMkLst>
          <pc:docMk/>
          <pc:sldMk cId="1841840715" sldId="2147375962"/>
        </pc:sldMkLst>
        <pc:spChg chg="mod">
          <ac:chgData name="Puršl František" userId="2d9cc4cd-da54-43dd-9e09-f57d243d731a" providerId="ADAL" clId="{7582E2DF-86B8-47A9-9176-252B0D135F6B}" dt="2025-09-09T16:11:24.522" v="51" actId="1076"/>
          <ac:spMkLst>
            <pc:docMk/>
            <pc:sldMk cId="1841840715" sldId="2147375962"/>
            <ac:spMk id="2" creationId="{7F8122D1-6CB8-214A-B842-D4DC0DF3AD99}"/>
          </ac:spMkLst>
        </pc:spChg>
        <pc:spChg chg="mod">
          <ac:chgData name="Puršl František" userId="2d9cc4cd-da54-43dd-9e09-f57d243d731a" providerId="ADAL" clId="{7582E2DF-86B8-47A9-9176-252B0D135F6B}" dt="2025-09-09T16:11:50.798" v="60" actId="403"/>
          <ac:spMkLst>
            <pc:docMk/>
            <pc:sldMk cId="1841840715" sldId="2147375962"/>
            <ac:spMk id="3" creationId="{9B638AC5-A4E4-5341-8E12-C244565085E1}"/>
          </ac:spMkLst>
        </pc:spChg>
        <pc:picChg chg="mod">
          <ac:chgData name="Puršl František" userId="2d9cc4cd-da54-43dd-9e09-f57d243d731a" providerId="ADAL" clId="{7582E2DF-86B8-47A9-9176-252B0D135F6B}" dt="2025-09-09T16:11:36.563" v="53" actId="14100"/>
          <ac:picMkLst>
            <pc:docMk/>
            <pc:sldMk cId="1841840715" sldId="2147375962"/>
            <ac:picMk id="4" creationId="{D0A60169-141E-D04E-B738-5BCDC34C30AD}"/>
          </ac:picMkLst>
        </pc:picChg>
      </pc:sldChg>
      <pc:sldChg chg="modSp mod">
        <pc:chgData name="Puršl František" userId="2d9cc4cd-da54-43dd-9e09-f57d243d731a" providerId="ADAL" clId="{7582E2DF-86B8-47A9-9176-252B0D135F6B}" dt="2025-09-09T16:12:51.450" v="73" actId="14100"/>
        <pc:sldMkLst>
          <pc:docMk/>
          <pc:sldMk cId="228024001" sldId="2147375963"/>
        </pc:sldMkLst>
        <pc:spChg chg="mod ord">
          <ac:chgData name="Puršl František" userId="2d9cc4cd-da54-43dd-9e09-f57d243d731a" providerId="ADAL" clId="{7582E2DF-86B8-47A9-9176-252B0D135F6B}" dt="2025-09-09T16:12:33.058" v="65" actId="166"/>
          <ac:spMkLst>
            <pc:docMk/>
            <pc:sldMk cId="228024001" sldId="2147375963"/>
            <ac:spMk id="11" creationId="{B922781F-0DE3-49B1-A897-1EDD0C054D31}"/>
          </ac:spMkLst>
        </pc:spChg>
        <pc:spChg chg="mod">
          <ac:chgData name="Puršl František" userId="2d9cc4cd-da54-43dd-9e09-f57d243d731a" providerId="ADAL" clId="{7582E2DF-86B8-47A9-9176-252B0D135F6B}" dt="2025-09-09T16:12:51.450" v="73" actId="14100"/>
          <ac:spMkLst>
            <pc:docMk/>
            <pc:sldMk cId="228024001" sldId="2147375963"/>
            <ac:spMk id="13" creationId="{D0BF20ED-234D-461C-BC4A-297D1910996B}"/>
          </ac:spMkLst>
        </pc:spChg>
      </pc:sldChg>
      <pc:sldChg chg="modSp mod">
        <pc:chgData name="Puršl František" userId="2d9cc4cd-da54-43dd-9e09-f57d243d731a" providerId="ADAL" clId="{7582E2DF-86B8-47A9-9176-252B0D135F6B}" dt="2025-09-09T16:13:05.936" v="77" actId="403"/>
        <pc:sldMkLst>
          <pc:docMk/>
          <pc:sldMk cId="3705121955" sldId="2147375964"/>
        </pc:sldMkLst>
        <pc:graphicFrameChg chg="mod modGraphic">
          <ac:chgData name="Puršl František" userId="2d9cc4cd-da54-43dd-9e09-f57d243d731a" providerId="ADAL" clId="{7582E2DF-86B8-47A9-9176-252B0D135F6B}" dt="2025-09-09T16:13:05.936" v="77" actId="403"/>
          <ac:graphicFrameMkLst>
            <pc:docMk/>
            <pc:sldMk cId="3705121955" sldId="2147375964"/>
            <ac:graphicFrameMk id="4" creationId="{2E0F99C7-2EF5-FD36-1B2A-D9C10E9B148F}"/>
          </ac:graphicFrameMkLst>
        </pc:graphicFrameChg>
      </pc:sldChg>
      <pc:sldChg chg="modSp mod">
        <pc:chgData name="Puršl František" userId="2d9cc4cd-da54-43dd-9e09-f57d243d731a" providerId="ADAL" clId="{7582E2DF-86B8-47A9-9176-252B0D135F6B}" dt="2025-09-15T08:03:40.714" v="514" actId="166"/>
        <pc:sldMkLst>
          <pc:docMk/>
          <pc:sldMk cId="4121146058" sldId="2147375965"/>
        </pc:sldMkLst>
        <pc:spChg chg="mod ord">
          <ac:chgData name="Puršl František" userId="2d9cc4cd-da54-43dd-9e09-f57d243d731a" providerId="ADAL" clId="{7582E2DF-86B8-47A9-9176-252B0D135F6B}" dt="2025-09-15T08:03:22.510" v="512" actId="1076"/>
          <ac:spMkLst>
            <pc:docMk/>
            <pc:sldMk cId="4121146058" sldId="2147375965"/>
            <ac:spMk id="2" creationId="{7F8122D1-6CB8-214A-B842-D4DC0DF3AD99}"/>
          </ac:spMkLst>
        </pc:spChg>
        <pc:spChg chg="mod ord">
          <ac:chgData name="Puršl František" userId="2d9cc4cd-da54-43dd-9e09-f57d243d731a" providerId="ADAL" clId="{7582E2DF-86B8-47A9-9176-252B0D135F6B}" dt="2025-09-15T08:03:40.714" v="514" actId="166"/>
          <ac:spMkLst>
            <pc:docMk/>
            <pc:sldMk cId="4121146058" sldId="2147375965"/>
            <ac:spMk id="3" creationId="{9B638AC5-A4E4-5341-8E12-C244565085E1}"/>
          </ac:spMkLst>
        </pc:spChg>
        <pc:picChg chg="mod">
          <ac:chgData name="Puršl František" userId="2d9cc4cd-da54-43dd-9e09-f57d243d731a" providerId="ADAL" clId="{7582E2DF-86B8-47A9-9176-252B0D135F6B}" dt="2025-09-09T16:13:19.454" v="79" actId="14100"/>
          <ac:picMkLst>
            <pc:docMk/>
            <pc:sldMk cId="4121146058" sldId="2147375965"/>
            <ac:picMk id="6" creationId="{36D1128F-34D9-15A0-3046-CEB966450EAF}"/>
          </ac:picMkLst>
        </pc:picChg>
      </pc:sldChg>
      <pc:sldChg chg="modSp mod">
        <pc:chgData name="Puršl František" userId="2d9cc4cd-da54-43dd-9e09-f57d243d731a" providerId="ADAL" clId="{7582E2DF-86B8-47A9-9176-252B0D135F6B}" dt="2025-09-10T06:32:01.764" v="505" actId="207"/>
        <pc:sldMkLst>
          <pc:docMk/>
          <pc:sldMk cId="2294658225" sldId="2147375966"/>
        </pc:sldMkLst>
        <pc:spChg chg="mod">
          <ac:chgData name="Puršl František" userId="2d9cc4cd-da54-43dd-9e09-f57d243d731a" providerId="ADAL" clId="{7582E2DF-86B8-47A9-9176-252B0D135F6B}" dt="2025-09-10T06:32:01.764" v="505" actId="207"/>
          <ac:spMkLst>
            <pc:docMk/>
            <pc:sldMk cId="2294658225" sldId="2147375966"/>
            <ac:spMk id="2" creationId="{5CB0B8C0-DAB1-B1C3-9F81-6F85965B1DF7}"/>
          </ac:spMkLst>
        </pc:spChg>
        <pc:spChg chg="mod">
          <ac:chgData name="Puršl František" userId="2d9cc4cd-da54-43dd-9e09-f57d243d731a" providerId="ADAL" clId="{7582E2DF-86B8-47A9-9176-252B0D135F6B}" dt="2025-09-09T16:01:14.964" v="22" actId="1035"/>
          <ac:spMkLst>
            <pc:docMk/>
            <pc:sldMk cId="2294658225" sldId="2147375966"/>
            <ac:spMk id="3" creationId="{5D207E7E-34AC-FD76-D5A1-0D87BC028434}"/>
          </ac:spMkLst>
        </pc:spChg>
      </pc:sldChg>
      <pc:sldChg chg="modSp mod">
        <pc:chgData name="Puršl František" userId="2d9cc4cd-da54-43dd-9e09-f57d243d731a" providerId="ADAL" clId="{7582E2DF-86B8-47A9-9176-252B0D135F6B}" dt="2025-09-09T16:50:45.841" v="402" actId="207"/>
        <pc:sldMkLst>
          <pc:docMk/>
          <pc:sldMk cId="3194915111" sldId="2147375967"/>
        </pc:sldMkLst>
        <pc:spChg chg="mod">
          <ac:chgData name="Puršl František" userId="2d9cc4cd-da54-43dd-9e09-f57d243d731a" providerId="ADAL" clId="{7582E2DF-86B8-47A9-9176-252B0D135F6B}" dt="2025-09-09T16:50:45.841" v="402" actId="207"/>
          <ac:spMkLst>
            <pc:docMk/>
            <pc:sldMk cId="3194915111" sldId="2147375967"/>
            <ac:spMk id="2" creationId="{BC909E77-0145-F3CA-8CCB-C954F0768670}"/>
          </ac:spMkLst>
        </pc:spChg>
      </pc:sldChg>
      <pc:sldChg chg="modSp mod">
        <pc:chgData name="Puršl František" userId="2d9cc4cd-da54-43dd-9e09-f57d243d731a" providerId="ADAL" clId="{7582E2DF-86B8-47A9-9176-252B0D135F6B}" dt="2025-09-09T16:51:00.577" v="405" actId="403"/>
        <pc:sldMkLst>
          <pc:docMk/>
          <pc:sldMk cId="2132234729" sldId="2147375969"/>
        </pc:sldMkLst>
        <pc:spChg chg="mod">
          <ac:chgData name="Puršl František" userId="2d9cc4cd-da54-43dd-9e09-f57d243d731a" providerId="ADAL" clId="{7582E2DF-86B8-47A9-9176-252B0D135F6B}" dt="2025-09-09T16:51:00.577" v="405" actId="403"/>
          <ac:spMkLst>
            <pc:docMk/>
            <pc:sldMk cId="2132234729" sldId="2147375969"/>
            <ac:spMk id="2" creationId="{8A65D8DC-938F-92CB-8C08-99BF80411051}"/>
          </ac:spMkLst>
        </pc:spChg>
      </pc:sldChg>
      <pc:sldChg chg="modSp mod">
        <pc:chgData name="Puršl František" userId="2d9cc4cd-da54-43dd-9e09-f57d243d731a" providerId="ADAL" clId="{7582E2DF-86B8-47A9-9176-252B0D135F6B}" dt="2025-09-09T16:50:52.442" v="403" actId="403"/>
        <pc:sldMkLst>
          <pc:docMk/>
          <pc:sldMk cId="784599496" sldId="2147375970"/>
        </pc:sldMkLst>
        <pc:spChg chg="mod">
          <ac:chgData name="Puršl František" userId="2d9cc4cd-da54-43dd-9e09-f57d243d731a" providerId="ADAL" clId="{7582E2DF-86B8-47A9-9176-252B0D135F6B}" dt="2025-09-09T16:50:52.442" v="403" actId="403"/>
          <ac:spMkLst>
            <pc:docMk/>
            <pc:sldMk cId="784599496" sldId="2147375970"/>
            <ac:spMk id="2" creationId="{071BF468-E2A7-F929-CE05-19A752A360DB}"/>
          </ac:spMkLst>
        </pc:spChg>
        <pc:spChg chg="mod">
          <ac:chgData name="Puršl František" userId="2d9cc4cd-da54-43dd-9e09-f57d243d731a" providerId="ADAL" clId="{7582E2DF-86B8-47A9-9176-252B0D135F6B}" dt="2025-09-09T16:02:03.759" v="26" actId="948"/>
          <ac:spMkLst>
            <pc:docMk/>
            <pc:sldMk cId="784599496" sldId="2147375970"/>
            <ac:spMk id="3" creationId="{1BEF9562-428C-2C0B-09DD-5D8EF5B4B2BA}"/>
          </ac:spMkLst>
        </pc:spChg>
      </pc:sldChg>
      <pc:sldChg chg="modSp mod">
        <pc:chgData name="Puršl František" userId="2d9cc4cd-da54-43dd-9e09-f57d243d731a" providerId="ADAL" clId="{7582E2DF-86B8-47A9-9176-252B0D135F6B}" dt="2025-09-10T06:32:08.089" v="506" actId="207"/>
        <pc:sldMkLst>
          <pc:docMk/>
          <pc:sldMk cId="3739954223" sldId="2147375971"/>
        </pc:sldMkLst>
        <pc:spChg chg="mod">
          <ac:chgData name="Puršl František" userId="2d9cc4cd-da54-43dd-9e09-f57d243d731a" providerId="ADAL" clId="{7582E2DF-86B8-47A9-9176-252B0D135F6B}" dt="2025-09-10T06:32:08.089" v="506" actId="207"/>
          <ac:spMkLst>
            <pc:docMk/>
            <pc:sldMk cId="3739954223" sldId="2147375971"/>
            <ac:spMk id="2" creationId="{5664689B-04AA-5993-03A9-377B0C1D7162}"/>
          </ac:spMkLst>
        </pc:spChg>
        <pc:spChg chg="mod">
          <ac:chgData name="Puršl František" userId="2d9cc4cd-da54-43dd-9e09-f57d243d731a" providerId="ADAL" clId="{7582E2DF-86B8-47A9-9176-252B0D135F6B}" dt="2025-09-09T16:01:25.426" v="24" actId="403"/>
          <ac:spMkLst>
            <pc:docMk/>
            <pc:sldMk cId="3739954223" sldId="2147375971"/>
            <ac:spMk id="3" creationId="{D5B43491-A542-64E2-AFE4-79209A718412}"/>
          </ac:spMkLst>
        </pc:spChg>
      </pc:sldChg>
      <pc:sldChg chg="delSp modSp mod modClrScheme chgLayout">
        <pc:chgData name="Puršl František" userId="2d9cc4cd-da54-43dd-9e09-f57d243d731a" providerId="ADAL" clId="{7582E2DF-86B8-47A9-9176-252B0D135F6B}" dt="2025-09-09T16:49:46.499" v="398" actId="207"/>
        <pc:sldMkLst>
          <pc:docMk/>
          <pc:sldMk cId="4063146641" sldId="2147375972"/>
        </pc:sldMkLst>
        <pc:spChg chg="mod ord">
          <ac:chgData name="Puršl František" userId="2d9cc4cd-da54-43dd-9e09-f57d243d731a" providerId="ADAL" clId="{7582E2DF-86B8-47A9-9176-252B0D135F6B}" dt="2025-09-09T16:49:46.499" v="398" actId="207"/>
          <ac:spMkLst>
            <pc:docMk/>
            <pc:sldMk cId="4063146641" sldId="2147375972"/>
            <ac:spMk id="2" creationId="{DA8A4A4F-A31E-BFBD-777E-D51D0AA0D52E}"/>
          </ac:spMkLst>
        </pc:spChg>
      </pc:sldChg>
      <pc:sldChg chg="del">
        <pc:chgData name="Puršl František" userId="2d9cc4cd-da54-43dd-9e09-f57d243d731a" providerId="ADAL" clId="{7582E2DF-86B8-47A9-9176-252B0D135F6B}" dt="2025-09-09T17:27:20.257" v="492" actId="47"/>
        <pc:sldMkLst>
          <pc:docMk/>
          <pc:sldMk cId="1037331669" sldId="2147375974"/>
        </pc:sldMkLst>
      </pc:sldChg>
      <pc:sldChg chg="delSp modSp mod modClrScheme chgLayout">
        <pc:chgData name="Puršl František" userId="2d9cc4cd-da54-43dd-9e09-f57d243d731a" providerId="ADAL" clId="{7582E2DF-86B8-47A9-9176-252B0D135F6B}" dt="2025-09-09T16:15:50.191" v="109" actId="207"/>
        <pc:sldMkLst>
          <pc:docMk/>
          <pc:sldMk cId="2159330621" sldId="2147375975"/>
        </pc:sldMkLst>
        <pc:spChg chg="mod ord">
          <ac:chgData name="Puršl František" userId="2d9cc4cd-da54-43dd-9e09-f57d243d731a" providerId="ADAL" clId="{7582E2DF-86B8-47A9-9176-252B0D135F6B}" dt="2025-09-09T16:15:50.191" v="109" actId="207"/>
          <ac:spMkLst>
            <pc:docMk/>
            <pc:sldMk cId="2159330621" sldId="2147375975"/>
            <ac:spMk id="2" creationId="{206C55F8-DB3C-05C3-12A9-9E4F7C127941}"/>
          </ac:spMkLst>
        </pc:spChg>
      </pc:sldChg>
      <pc:sldChg chg="addSp delSp modSp mod">
        <pc:chgData name="Puršl František" userId="2d9cc4cd-da54-43dd-9e09-f57d243d731a" providerId="ADAL" clId="{7582E2DF-86B8-47A9-9176-252B0D135F6B}" dt="2025-09-09T16:56:49.401" v="491" actId="207"/>
        <pc:sldMkLst>
          <pc:docMk/>
          <pc:sldMk cId="2727891347" sldId="2147375976"/>
        </pc:sldMkLst>
        <pc:spChg chg="mod">
          <ac:chgData name="Puršl František" userId="2d9cc4cd-da54-43dd-9e09-f57d243d731a" providerId="ADAL" clId="{7582E2DF-86B8-47A9-9176-252B0D135F6B}" dt="2025-09-09T16:56:49.401" v="491" actId="207"/>
          <ac:spMkLst>
            <pc:docMk/>
            <pc:sldMk cId="2727891347" sldId="2147375976"/>
            <ac:spMk id="3" creationId="{00000000-0000-0000-0000-000000000000}"/>
          </ac:spMkLst>
        </pc:spChg>
        <pc:picChg chg="add mod">
          <ac:chgData name="Puršl František" userId="2d9cc4cd-da54-43dd-9e09-f57d243d731a" providerId="ADAL" clId="{7582E2DF-86B8-47A9-9176-252B0D135F6B}" dt="2025-09-09T16:50:19.537" v="400"/>
          <ac:picMkLst>
            <pc:docMk/>
            <pc:sldMk cId="2727891347" sldId="2147375976"/>
            <ac:picMk id="5" creationId="{430BC470-7660-561B-B600-F8E17834C0A9}"/>
          </ac:picMkLst>
        </pc:picChg>
      </pc:sldChg>
      <pc:sldChg chg="modNotes">
        <pc:chgData name="Puršl František" userId="2d9cc4cd-da54-43dd-9e09-f57d243d731a" providerId="ADAL" clId="{7582E2DF-86B8-47A9-9176-252B0D135F6B}" dt="2025-09-09T17:27:38.234" v="493"/>
        <pc:sldMkLst>
          <pc:docMk/>
          <pc:sldMk cId="0" sldId="2147375977"/>
        </pc:sldMkLst>
      </pc:sldChg>
      <pc:sldMasterChg chg="del delSldLayout">
        <pc:chgData name="Puršl František" userId="2d9cc4cd-da54-43dd-9e09-f57d243d731a" providerId="ADAL" clId="{7582E2DF-86B8-47A9-9176-252B0D135F6B}" dt="2025-09-09T17:27:20.257" v="492" actId="47"/>
        <pc:sldMasterMkLst>
          <pc:docMk/>
          <pc:sldMasterMk cId="0" sldId="2147483676"/>
        </pc:sldMasterMkLst>
        <pc:sldLayoutChg chg="del">
          <pc:chgData name="Puršl František" userId="2d9cc4cd-da54-43dd-9e09-f57d243d731a" providerId="ADAL" clId="{7582E2DF-86B8-47A9-9176-252B0D135F6B}" dt="2025-09-09T17:27:20.257" v="492" actId="47"/>
          <pc:sldLayoutMkLst>
            <pc:docMk/>
            <pc:sldMasterMk cId="0" sldId="2147483676"/>
            <pc:sldLayoutMk cId="0" sldId="2147483652"/>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0" sldId="2147483654"/>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0" sldId="2147483656"/>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0" sldId="2147483657"/>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0" sldId="2147483672"/>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0" sldId="2147483673"/>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2311700077" sldId="2147483679"/>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979332838" sldId="2147483680"/>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464087315" sldId="2147483681"/>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4033953350" sldId="2147483690"/>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679953370" sldId="2147483691"/>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2268078674" sldId="2147483692"/>
          </pc:sldLayoutMkLst>
        </pc:sldLayoutChg>
        <pc:sldLayoutChg chg="del">
          <pc:chgData name="Puršl František" userId="2d9cc4cd-da54-43dd-9e09-f57d243d731a" providerId="ADAL" clId="{7582E2DF-86B8-47A9-9176-252B0D135F6B}" dt="2025-09-09T17:27:20.257" v="492" actId="47"/>
          <pc:sldLayoutMkLst>
            <pc:docMk/>
            <pc:sldMasterMk cId="0" sldId="2147483676"/>
            <pc:sldLayoutMk cId="1099597297" sldId="2147483695"/>
          </pc:sldLayoutMkLst>
        </pc:sldLayoutChg>
      </pc:sldMasterChg>
      <pc:sldMasterChg chg="del delSldLayout">
        <pc:chgData name="Puršl František" userId="2d9cc4cd-da54-43dd-9e09-f57d243d731a" providerId="ADAL" clId="{7582E2DF-86B8-47A9-9176-252B0D135F6B}" dt="2025-09-09T17:27:20.257" v="492" actId="47"/>
        <pc:sldMasterMkLst>
          <pc:docMk/>
          <pc:sldMasterMk cId="1011517631" sldId="2147483696"/>
        </pc:sldMasterMkLst>
        <pc:sldLayoutChg chg="del">
          <pc:chgData name="Puršl František" userId="2d9cc4cd-da54-43dd-9e09-f57d243d731a" providerId="ADAL" clId="{7582E2DF-86B8-47A9-9176-252B0D135F6B}" dt="2025-09-09T17:27:20.257" v="492" actId="47"/>
          <pc:sldLayoutMkLst>
            <pc:docMk/>
            <pc:sldMasterMk cId="1011517631" sldId="2147483696"/>
            <pc:sldLayoutMk cId="378037238" sldId="2147483697"/>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1215562702" sldId="2147483698"/>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3760493440" sldId="2147483700"/>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2218723595" sldId="2147483701"/>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303717843" sldId="2147483702"/>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3963936709" sldId="2147483703"/>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2703151592" sldId="2147483704"/>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2580126133" sldId="2147483705"/>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679719317" sldId="2147483706"/>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1126557976" sldId="2147483707"/>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2700601820" sldId="2147483708"/>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2559100061" sldId="2147483709"/>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710388074" sldId="2147483710"/>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2829533913" sldId="2147483711"/>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3882581400" sldId="2147483712"/>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1168318817" sldId="2147483713"/>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2155028894" sldId="2147483714"/>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1536328791" sldId="2147483715"/>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375827071" sldId="2147483716"/>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3940925264" sldId="2147483717"/>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3296011405" sldId="2147483718"/>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1534656398" sldId="2147483719"/>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595499934" sldId="2147483720"/>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976028871" sldId="2147483721"/>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601674768" sldId="2147483722"/>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1245173698" sldId="2147483723"/>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4053291772" sldId="2147483724"/>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1267127571" sldId="2147483725"/>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2052541304" sldId="2147483726"/>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2872997502" sldId="2147483727"/>
          </pc:sldLayoutMkLst>
        </pc:sldLayoutChg>
        <pc:sldLayoutChg chg="del">
          <pc:chgData name="Puršl František" userId="2d9cc4cd-da54-43dd-9e09-f57d243d731a" providerId="ADAL" clId="{7582E2DF-86B8-47A9-9176-252B0D135F6B}" dt="2025-09-09T17:27:20.257" v="492" actId="47"/>
          <pc:sldLayoutMkLst>
            <pc:docMk/>
            <pc:sldMasterMk cId="1011517631" sldId="2147483696"/>
            <pc:sldLayoutMk cId="1164407579" sldId="2147483728"/>
          </pc:sldLayoutMkLst>
        </pc:sldLayoutChg>
      </pc:sldMasterChg>
      <pc:sldMasterChg chg="modSldLayout">
        <pc:chgData name="Puršl František" userId="2d9cc4cd-da54-43dd-9e09-f57d243d731a" providerId="ADAL" clId="{7582E2DF-86B8-47A9-9176-252B0D135F6B}" dt="2025-09-09T16:10:01.793" v="39" actId="14100"/>
        <pc:sldMasterMkLst>
          <pc:docMk/>
          <pc:sldMasterMk cId="1955811976" sldId="2147484756"/>
        </pc:sldMasterMkLst>
        <pc:sldLayoutChg chg="addSp modSp mod">
          <pc:chgData name="Puršl František" userId="2d9cc4cd-da54-43dd-9e09-f57d243d731a" providerId="ADAL" clId="{7582E2DF-86B8-47A9-9176-252B0D135F6B}" dt="2025-09-09T16:09:14.451" v="36" actId="1076"/>
          <pc:sldLayoutMkLst>
            <pc:docMk/>
            <pc:sldMasterMk cId="1955811976" sldId="2147484756"/>
            <pc:sldLayoutMk cId="1856334510" sldId="2147484757"/>
          </pc:sldLayoutMkLst>
          <pc:picChg chg="add mod">
            <ac:chgData name="Puršl František" userId="2d9cc4cd-da54-43dd-9e09-f57d243d731a" providerId="ADAL" clId="{7582E2DF-86B8-47A9-9176-252B0D135F6B}" dt="2025-09-09T16:09:14.451" v="36" actId="1076"/>
            <ac:picMkLst>
              <pc:docMk/>
              <pc:sldMasterMk cId="1955811976" sldId="2147484756"/>
              <pc:sldLayoutMk cId="1856334510" sldId="2147484757"/>
              <ac:picMk id="4" creationId="{56B6BF92-C6DD-C0F8-3FF1-C7C9EED7B400}"/>
            </ac:picMkLst>
          </pc:picChg>
          <pc:picChg chg="add mod">
            <ac:chgData name="Puršl František" userId="2d9cc4cd-da54-43dd-9e09-f57d243d731a" providerId="ADAL" clId="{7582E2DF-86B8-47A9-9176-252B0D135F6B}" dt="2025-09-09T16:08:16.305" v="34" actId="1076"/>
            <ac:picMkLst>
              <pc:docMk/>
              <pc:sldMasterMk cId="1955811976" sldId="2147484756"/>
              <pc:sldLayoutMk cId="1856334510" sldId="2147484757"/>
              <ac:picMk id="1026" creationId="{35B152C4-1498-2AE2-6774-A46E8E30D10E}"/>
            </ac:picMkLst>
          </pc:picChg>
        </pc:sldLayoutChg>
        <pc:sldLayoutChg chg="modSp mod">
          <pc:chgData name="Puršl František" userId="2d9cc4cd-da54-43dd-9e09-f57d243d731a" providerId="ADAL" clId="{7582E2DF-86B8-47A9-9176-252B0D135F6B}" dt="2025-09-09T16:10:01.793" v="39" actId="14100"/>
          <pc:sldLayoutMkLst>
            <pc:docMk/>
            <pc:sldMasterMk cId="1955811976" sldId="2147484756"/>
            <pc:sldLayoutMk cId="3112064356" sldId="2147484758"/>
          </pc:sldLayoutMkLst>
          <pc:picChg chg="mod">
            <ac:chgData name="Puršl František" userId="2d9cc4cd-da54-43dd-9e09-f57d243d731a" providerId="ADAL" clId="{7582E2DF-86B8-47A9-9176-252B0D135F6B}" dt="2025-09-09T16:10:01.793" v="39" actId="14100"/>
            <ac:picMkLst>
              <pc:docMk/>
              <pc:sldMasterMk cId="1955811976" sldId="2147484756"/>
              <pc:sldLayoutMk cId="3112064356" sldId="2147484758"/>
              <ac:picMk id="10" creationId="{A78F95B8-082F-354F-8BEF-F80FE8064A8D}"/>
            </ac:picMkLst>
          </pc:picChg>
        </pc:sldLayoutChg>
      </pc:sldMasterChg>
    </pc:docChg>
  </pc:docChgLst>
  <pc:docChgLst>
    <pc:chgData name="Papež Kamil" userId="S::kamil.papez@mmr.cz::aa27ec93-dc52-4f03-a33b-07fe73c35624" providerId="AD" clId="Web-{29344B4F-BA22-A406-707F-3442CBAB5827}"/>
    <pc:docChg chg="modSld">
      <pc:chgData name="Papež Kamil" userId="S::kamil.papez@mmr.cz::aa27ec93-dc52-4f03-a33b-07fe73c35624" providerId="AD" clId="Web-{29344B4F-BA22-A406-707F-3442CBAB5827}" dt="2025-09-09T13:48:53.080" v="20" actId="20577"/>
      <pc:docMkLst>
        <pc:docMk/>
      </pc:docMkLst>
      <pc:sldChg chg="modSp">
        <pc:chgData name="Papež Kamil" userId="S::kamil.papez@mmr.cz::aa27ec93-dc52-4f03-a33b-07fe73c35624" providerId="AD" clId="Web-{29344B4F-BA22-A406-707F-3442CBAB5827}" dt="2025-09-09T13:48:53.080" v="20" actId="20577"/>
        <pc:sldMkLst>
          <pc:docMk/>
          <pc:sldMk cId="3194915111" sldId="2147375967"/>
        </pc:sldMkLst>
        <pc:spChg chg="mod">
          <ac:chgData name="Papež Kamil" userId="S::kamil.papez@mmr.cz::aa27ec93-dc52-4f03-a33b-07fe73c35624" providerId="AD" clId="Web-{29344B4F-BA22-A406-707F-3442CBAB5827}" dt="2025-09-09T13:48:53.080" v="20" actId="20577"/>
          <ac:spMkLst>
            <pc:docMk/>
            <pc:sldMk cId="3194915111" sldId="2147375967"/>
            <ac:spMk id="3" creationId="{79BFD934-D538-FCBE-611B-DE1951495F98}"/>
          </ac:spMkLst>
        </pc:spChg>
      </pc:sldChg>
    </pc:docChg>
  </pc:docChgLst>
  <pc:docChgLst>
    <pc:chgData name="Papež Kamil" userId="S::kamil.papez@mmr.cz::aa27ec93-dc52-4f03-a33b-07fe73c35624" providerId="AD" clId="Web-{78CD1857-EABA-B1B7-9B90-1114AF16F05B}"/>
    <pc:docChg chg="modSld">
      <pc:chgData name="Papež Kamil" userId="S::kamil.papez@mmr.cz::aa27ec93-dc52-4f03-a33b-07fe73c35624" providerId="AD" clId="Web-{78CD1857-EABA-B1B7-9B90-1114AF16F05B}" dt="2025-09-11T07:30:45.467" v="0"/>
      <pc:docMkLst>
        <pc:docMk/>
      </pc:docMkLst>
      <pc:sldChg chg="delSp">
        <pc:chgData name="Papež Kamil" userId="S::kamil.papez@mmr.cz::aa27ec93-dc52-4f03-a33b-07fe73c35624" providerId="AD" clId="Web-{78CD1857-EABA-B1B7-9B90-1114AF16F05B}" dt="2025-09-11T07:30:45.467" v="0"/>
        <pc:sldMkLst>
          <pc:docMk/>
          <pc:sldMk cId="1293841127" sldId="260"/>
        </pc:sldMkLst>
        <pc:picChg chg="del">
          <ac:chgData name="Papež Kamil" userId="S::kamil.papez@mmr.cz::aa27ec93-dc52-4f03-a33b-07fe73c35624" providerId="AD" clId="Web-{78CD1857-EABA-B1B7-9B90-1114AF16F05B}" dt="2025-09-11T07:30:45.467" v="0"/>
          <ac:picMkLst>
            <pc:docMk/>
            <pc:sldMk cId="1293841127" sldId="260"/>
            <ac:picMk id="4" creationId="{F4E7C08F-BA80-BC8C-B563-001DACCFE5E1}"/>
          </ac:picMkLst>
        </pc:picChg>
      </pc:sldChg>
    </pc:docChg>
  </pc:docChgLst>
  <pc:docChgLst>
    <pc:chgData name="Košťálová Pavla" userId="S::pavla.kostalova@mmr.cz::fb3655b9-53e7-4957-986b-4909406ee6c7" providerId="AD" clId="Web-{52B2E941-251F-7097-493C-BA9D1EF75A6C}"/>
    <pc:docChg chg="modSld">
      <pc:chgData name="Košťálová Pavla" userId="S::pavla.kostalova@mmr.cz::fb3655b9-53e7-4957-986b-4909406ee6c7" providerId="AD" clId="Web-{52B2E941-251F-7097-493C-BA9D1EF75A6C}" dt="2025-09-08T10:28:10.505" v="3"/>
      <pc:docMkLst>
        <pc:docMk/>
      </pc:docMkLst>
      <pc:sldChg chg="addSp delSp modSp">
        <pc:chgData name="Košťálová Pavla" userId="S::pavla.kostalova@mmr.cz::fb3655b9-53e7-4957-986b-4909406ee6c7" providerId="AD" clId="Web-{52B2E941-251F-7097-493C-BA9D1EF75A6C}" dt="2025-09-08T10:28:10.505" v="3"/>
        <pc:sldMkLst>
          <pc:docMk/>
          <pc:sldMk cId="3460063137" sldId="436"/>
        </pc:sldMkLst>
      </pc:sldChg>
    </pc:docChg>
  </pc:docChgLst>
  <pc:docChgLst>
    <pc:chgData name="Košťálová Pavla" userId="S::pavla.kostalova@mmr.cz::fb3655b9-53e7-4957-986b-4909406ee6c7" providerId="AD" clId="Web-{8397F368-5135-3EAB-2A82-D1FDBB22141F}"/>
    <pc:docChg chg="addSld delSld modSld">
      <pc:chgData name="Košťálová Pavla" userId="S::pavla.kostalova@mmr.cz::fb3655b9-53e7-4957-986b-4909406ee6c7" providerId="AD" clId="Web-{8397F368-5135-3EAB-2A82-D1FDBB22141F}" dt="2025-09-08T09:55:56.174" v="9"/>
      <pc:docMkLst>
        <pc:docMk/>
      </pc:docMkLst>
      <pc:sldChg chg="add">
        <pc:chgData name="Košťálová Pavla" userId="S::pavla.kostalova@mmr.cz::fb3655b9-53e7-4957-986b-4909406ee6c7" providerId="AD" clId="Web-{8397F368-5135-3EAB-2A82-D1FDBB22141F}" dt="2025-09-08T09:55:44.876" v="1"/>
        <pc:sldMkLst>
          <pc:docMk/>
          <pc:sldMk cId="329049294" sldId="256"/>
        </pc:sldMkLst>
      </pc:sldChg>
      <pc:sldChg chg="add">
        <pc:chgData name="Košťálová Pavla" userId="S::pavla.kostalova@mmr.cz::fb3655b9-53e7-4957-986b-4909406ee6c7" providerId="AD" clId="Web-{8397F368-5135-3EAB-2A82-D1FDBB22141F}" dt="2025-09-08T09:55:47.549" v="6"/>
        <pc:sldMkLst>
          <pc:docMk/>
          <pc:sldMk cId="1337361045" sldId="411"/>
        </pc:sldMkLst>
      </pc:sldChg>
      <pc:sldChg chg="add">
        <pc:chgData name="Košťálová Pavla" userId="S::pavla.kostalova@mmr.cz::fb3655b9-53e7-4957-986b-4909406ee6c7" providerId="AD" clId="Web-{8397F368-5135-3EAB-2A82-D1FDBB22141F}" dt="2025-09-08T09:55:48.142" v="8"/>
        <pc:sldMkLst>
          <pc:docMk/>
          <pc:sldMk cId="2135211233" sldId="418"/>
        </pc:sldMkLst>
      </pc:sldChg>
      <pc:sldChg chg="add">
        <pc:chgData name="Košťálová Pavla" userId="S::pavla.kostalova@mmr.cz::fb3655b9-53e7-4957-986b-4909406ee6c7" providerId="AD" clId="Web-{8397F368-5135-3EAB-2A82-D1FDBB22141F}" dt="2025-09-08T09:55:45.689" v="2"/>
        <pc:sldMkLst>
          <pc:docMk/>
          <pc:sldMk cId="2758758110" sldId="419"/>
        </pc:sldMkLst>
      </pc:sldChg>
      <pc:sldChg chg="add">
        <pc:chgData name="Košťálová Pavla" userId="S::pavla.kostalova@mmr.cz::fb3655b9-53e7-4957-986b-4909406ee6c7" providerId="AD" clId="Web-{8397F368-5135-3EAB-2A82-D1FDBB22141F}" dt="2025-09-08T09:55:46.970" v="3"/>
        <pc:sldMkLst>
          <pc:docMk/>
          <pc:sldMk cId="2760448442" sldId="420"/>
        </pc:sldMkLst>
      </pc:sldChg>
      <pc:sldChg chg="add">
        <pc:chgData name="Košťálová Pavla" userId="S::pavla.kostalova@mmr.cz::fb3655b9-53e7-4957-986b-4909406ee6c7" providerId="AD" clId="Web-{8397F368-5135-3EAB-2A82-D1FDBB22141F}" dt="2025-09-08T09:55:47.111" v="4"/>
        <pc:sldMkLst>
          <pc:docMk/>
          <pc:sldMk cId="189448450" sldId="435"/>
        </pc:sldMkLst>
      </pc:sldChg>
      <pc:sldChg chg="add">
        <pc:chgData name="Košťálová Pavla" userId="S::pavla.kostalova@mmr.cz::fb3655b9-53e7-4957-986b-4909406ee6c7" providerId="AD" clId="Web-{8397F368-5135-3EAB-2A82-D1FDBB22141F}" dt="2025-09-08T09:55:47.674" v="7"/>
        <pc:sldMkLst>
          <pc:docMk/>
          <pc:sldMk cId="3460063137" sldId="436"/>
        </pc:sldMkLst>
      </pc:sldChg>
      <pc:sldChg chg="add">
        <pc:chgData name="Košťálová Pavla" userId="S::pavla.kostalova@mmr.cz::fb3655b9-53e7-4957-986b-4909406ee6c7" providerId="AD" clId="Web-{8397F368-5135-3EAB-2A82-D1FDBB22141F}" dt="2025-09-08T09:55:47.345" v="5"/>
        <pc:sldMkLst>
          <pc:docMk/>
          <pc:sldMk cId="152617429" sldId="437"/>
        </pc:sldMkLst>
      </pc:sldChg>
      <pc:sldChg chg="addSp modSp del mod modClrScheme chgLayout">
        <pc:chgData name="Košťálová Pavla" userId="S::pavla.kostalova@mmr.cz::fb3655b9-53e7-4957-986b-4909406ee6c7" providerId="AD" clId="Web-{8397F368-5135-3EAB-2A82-D1FDBB22141F}" dt="2025-09-08T09:55:56.174" v="9"/>
        <pc:sldMkLst>
          <pc:docMk/>
          <pc:sldMk cId="1916997411" sldId="2147375917"/>
        </pc:sldMkLst>
      </pc:sldChg>
      <pc:sldMasterChg chg="addSldLayout">
        <pc:chgData name="Košťálová Pavla" userId="S::pavla.kostalova@mmr.cz::fb3655b9-53e7-4957-986b-4909406ee6c7" providerId="AD" clId="Web-{8397F368-5135-3EAB-2A82-D1FDBB22141F}" dt="2025-09-08T09:55:44.876" v="1"/>
        <pc:sldMasterMkLst>
          <pc:docMk/>
          <pc:sldMasterMk cId="0" sldId="2147484470"/>
        </pc:sldMasterMkLst>
        <pc:sldLayoutChg chg="add">
          <pc:chgData name="Košťálová Pavla" userId="S::pavla.kostalova@mmr.cz::fb3655b9-53e7-4957-986b-4909406ee6c7" providerId="AD" clId="Web-{8397F368-5135-3EAB-2A82-D1FDBB22141F}" dt="2025-09-08T09:55:44.876" v="1"/>
          <pc:sldLayoutMkLst>
            <pc:docMk/>
            <pc:sldMasterMk cId="0" sldId="2147484470"/>
            <pc:sldLayoutMk cId="1191612132" sldId="2147484755"/>
          </pc:sldLayoutMkLst>
        </pc:sldLayoutChg>
      </pc:sldMasterChg>
    </pc:docChg>
  </pc:docChgLst>
  <pc:docChgLst>
    <pc:chgData name="Balatka Miroslav" userId="S::miroslav.balatka@mmr.cz::eea70a59-7f6e-44f9-ac44-471d32b65f47" providerId="AD" clId="Web-{981017A8-8868-5918-A25E-C2B1293C4738}"/>
    <pc:docChg chg="modSld">
      <pc:chgData name="Balatka Miroslav" userId="S::miroslav.balatka@mmr.cz::eea70a59-7f6e-44f9-ac44-471d32b65f47" providerId="AD" clId="Web-{981017A8-8868-5918-A25E-C2B1293C4738}" dt="2025-09-09T08:19:43.138" v="0" actId="1076"/>
      <pc:docMkLst>
        <pc:docMk/>
      </pc:docMkLst>
      <pc:sldChg chg="modSp">
        <pc:chgData name="Balatka Miroslav" userId="S::miroslav.balatka@mmr.cz::eea70a59-7f6e-44f9-ac44-471d32b65f47" providerId="AD" clId="Web-{981017A8-8868-5918-A25E-C2B1293C4738}" dt="2025-09-09T08:19:43.138" v="0" actId="1076"/>
        <pc:sldMkLst>
          <pc:docMk/>
          <pc:sldMk cId="2532388755" sldId="2147375953"/>
        </pc:sldMkLst>
        <pc:spChg chg="mod">
          <ac:chgData name="Balatka Miroslav" userId="S::miroslav.balatka@mmr.cz::eea70a59-7f6e-44f9-ac44-471d32b65f47" providerId="AD" clId="Web-{981017A8-8868-5918-A25E-C2B1293C4738}" dt="2025-09-09T08:19:43.138" v="0" actId="1076"/>
          <ac:spMkLst>
            <pc:docMk/>
            <pc:sldMk cId="2532388755" sldId="2147375953"/>
            <ac:spMk id="2" creationId="{989DAB11-7F1A-7D53-458B-B5E6F0389B8E}"/>
          </ac:spMkLst>
        </pc:spChg>
      </pc:sldChg>
    </pc:docChg>
  </pc:docChgLst>
  <pc:docChgLst>
    <pc:chgData name="Papež Kamil" userId="S::kamil.papez@mmr.cz::aa27ec93-dc52-4f03-a33b-07fe73c35624" providerId="AD" clId="Web-{D781822D-31CE-BB64-EB68-67F70E667EB3}"/>
    <pc:docChg chg="modSld">
      <pc:chgData name="Papež Kamil" userId="S::kamil.papez@mmr.cz::aa27ec93-dc52-4f03-a33b-07fe73c35624" providerId="AD" clId="Web-{D781822D-31CE-BB64-EB68-67F70E667EB3}" dt="2025-09-10T11:28:29.299" v="19" actId="20577"/>
      <pc:docMkLst>
        <pc:docMk/>
      </pc:docMkLst>
      <pc:sldChg chg="modSp">
        <pc:chgData name="Papež Kamil" userId="S::kamil.papez@mmr.cz::aa27ec93-dc52-4f03-a33b-07fe73c35624" providerId="AD" clId="Web-{D781822D-31CE-BB64-EB68-67F70E667EB3}" dt="2025-09-10T11:28:29.299" v="19" actId="20577"/>
        <pc:sldMkLst>
          <pc:docMk/>
          <pc:sldMk cId="893611663" sldId="2145707414"/>
        </pc:sldMkLst>
        <pc:spChg chg="mod">
          <ac:chgData name="Papež Kamil" userId="S::kamil.papez@mmr.cz::aa27ec93-dc52-4f03-a33b-07fe73c35624" providerId="AD" clId="Web-{D781822D-31CE-BB64-EB68-67F70E667EB3}" dt="2025-09-10T11:28:29.299" v="19" actId="20577"/>
          <ac:spMkLst>
            <pc:docMk/>
            <pc:sldMk cId="893611663" sldId="2145707414"/>
            <ac:spMk id="15" creationId="{E624213B-DCBE-E825-B74C-987F89F5CED0}"/>
          </ac:spMkLst>
        </pc:spChg>
        <pc:spChg chg="mod">
          <ac:chgData name="Papež Kamil" userId="S::kamil.papez@mmr.cz::aa27ec93-dc52-4f03-a33b-07fe73c35624" providerId="AD" clId="Web-{D781822D-31CE-BB64-EB68-67F70E667EB3}" dt="2025-09-10T10:25:35.384" v="9"/>
          <ac:spMkLst>
            <pc:docMk/>
            <pc:sldMk cId="893611663" sldId="2145707414"/>
            <ac:spMk id="16" creationId="{D51968A5-BD8A-DEE7-9CCD-8CB07CDD51DA}"/>
          </ac:spMkLst>
        </pc:spChg>
        <pc:spChg chg="mod">
          <ac:chgData name="Papež Kamil" userId="S::kamil.papez@mmr.cz::aa27ec93-dc52-4f03-a33b-07fe73c35624" providerId="AD" clId="Web-{D781822D-31CE-BB64-EB68-67F70E667EB3}" dt="2025-09-10T10:25:37.822" v="10"/>
          <ac:spMkLst>
            <pc:docMk/>
            <pc:sldMk cId="893611663" sldId="2145707414"/>
            <ac:spMk id="17" creationId="{A8CADAA0-2E54-091D-5F33-6D4A6ED341CF}"/>
          </ac:spMkLst>
        </pc:spChg>
        <pc:spChg chg="mod">
          <ac:chgData name="Papež Kamil" userId="S::kamil.papez@mmr.cz::aa27ec93-dc52-4f03-a33b-07fe73c35624" providerId="AD" clId="Web-{D781822D-31CE-BB64-EB68-67F70E667EB3}" dt="2025-09-10T10:25:41.385" v="11"/>
          <ac:spMkLst>
            <pc:docMk/>
            <pc:sldMk cId="893611663" sldId="2145707414"/>
            <ac:spMk id="18" creationId="{EE0A24FC-28D0-2268-E47F-68459A8DE457}"/>
          </ac:spMkLst>
        </pc:spChg>
      </pc:sldChg>
      <pc:sldChg chg="modSp">
        <pc:chgData name="Papež Kamil" userId="S::kamil.papez@mmr.cz::aa27ec93-dc52-4f03-a33b-07fe73c35624" providerId="AD" clId="Web-{D781822D-31CE-BB64-EB68-67F70E667EB3}" dt="2025-09-10T10:26:02.323" v="12"/>
        <pc:sldMkLst>
          <pc:docMk/>
          <pc:sldMk cId="2860795123" sldId="2147375983"/>
        </pc:sldMkLst>
        <pc:spChg chg="mod">
          <ac:chgData name="Papež Kamil" userId="S::kamil.papez@mmr.cz::aa27ec93-dc52-4f03-a33b-07fe73c35624" providerId="AD" clId="Web-{D781822D-31CE-BB64-EB68-67F70E667EB3}" dt="2025-09-10T10:26:02.323" v="12"/>
          <ac:spMkLst>
            <pc:docMk/>
            <pc:sldMk cId="2860795123" sldId="2147375983"/>
            <ac:spMk id="16" creationId="{D51968A5-BD8A-DEE7-9CCD-8CB07CDD51DA}"/>
          </ac:spMkLst>
        </pc:spChg>
      </pc:sldChg>
      <pc:sldChg chg="modNotes">
        <pc:chgData name="Papež Kamil" userId="S::kamil.papez@mmr.cz::aa27ec93-dc52-4f03-a33b-07fe73c35624" providerId="AD" clId="Web-{D781822D-31CE-BB64-EB68-67F70E667EB3}" dt="2025-09-10T10:24:32.538" v="8"/>
        <pc:sldMkLst>
          <pc:docMk/>
          <pc:sldMk cId="2905473827" sldId="2147375991"/>
        </pc:sldMkLst>
      </pc:sldChg>
    </pc:docChg>
  </pc:docChgLst>
  <pc:docChgLst>
    <pc:chgData name="Košťálová Pavla" userId="S::pavla.kostalova@mmr.cz::fb3655b9-53e7-4957-986b-4909406ee6c7" providerId="AD" clId="Web-{FF0062CE-1974-CEE5-AA44-DE15A8A8E039}"/>
    <pc:docChg chg="modSld">
      <pc:chgData name="Košťálová Pavla" userId="S::pavla.kostalova@mmr.cz::fb3655b9-53e7-4957-986b-4909406ee6c7" providerId="AD" clId="Web-{FF0062CE-1974-CEE5-AA44-DE15A8A8E039}" dt="2025-09-08T09:54:36.504" v="3"/>
      <pc:docMkLst>
        <pc:docMk/>
      </pc:docMkLst>
      <pc:sldChg chg="addSp delSp modSp">
        <pc:chgData name="Košťálová Pavla" userId="S::pavla.kostalova@mmr.cz::fb3655b9-53e7-4957-986b-4909406ee6c7" providerId="AD" clId="Web-{FF0062CE-1974-CEE5-AA44-DE15A8A8E039}" dt="2025-09-08T09:54:36.504" v="3"/>
        <pc:sldMkLst>
          <pc:docMk/>
          <pc:sldMk cId="1916997411" sldId="2147375917"/>
        </pc:sldMkLst>
      </pc:sldChg>
    </pc:docChg>
  </pc:docChgLst>
  <pc:docChgLst>
    <pc:chgData name="Papež Kamil" userId="S::kamil.papez@mmr.cz::aa27ec93-dc52-4f03-a33b-07fe73c35624" providerId="AD" clId="Web-{E3AD8569-79BD-24AA-4FB3-EA9B10AFEA0D}"/>
    <pc:docChg chg="addSld delSld modSld sldOrd">
      <pc:chgData name="Papež Kamil" userId="S::kamil.papez@mmr.cz::aa27ec93-dc52-4f03-a33b-07fe73c35624" providerId="AD" clId="Web-{E3AD8569-79BD-24AA-4FB3-EA9B10AFEA0D}" dt="2025-09-10T09:56:01.531" v="162"/>
      <pc:docMkLst>
        <pc:docMk/>
      </pc:docMkLst>
      <pc:sldChg chg="add del">
        <pc:chgData name="Papež Kamil" userId="S::kamil.papez@mmr.cz::aa27ec93-dc52-4f03-a33b-07fe73c35624" providerId="AD" clId="Web-{E3AD8569-79BD-24AA-4FB3-EA9B10AFEA0D}" dt="2025-09-10T09:11:58.068" v="78"/>
        <pc:sldMkLst>
          <pc:docMk/>
          <pc:sldMk cId="1418626092" sldId="261"/>
        </pc:sldMkLst>
      </pc:sldChg>
      <pc:sldChg chg="addSp delSp modSp add del">
        <pc:chgData name="Papež Kamil" userId="S::kamil.papez@mmr.cz::aa27ec93-dc52-4f03-a33b-07fe73c35624" providerId="AD" clId="Web-{E3AD8569-79BD-24AA-4FB3-EA9B10AFEA0D}" dt="2025-09-10T09:31:55.825" v="97"/>
        <pc:sldMkLst>
          <pc:docMk/>
          <pc:sldMk cId="0" sldId="2145706921"/>
        </pc:sldMkLst>
        <pc:spChg chg="del">
          <ac:chgData name="Papež Kamil" userId="S::kamil.papez@mmr.cz::aa27ec93-dc52-4f03-a33b-07fe73c35624" providerId="AD" clId="Web-{E3AD8569-79BD-24AA-4FB3-EA9B10AFEA0D}" dt="2025-09-10T08:44:18.820" v="14"/>
          <ac:spMkLst>
            <pc:docMk/>
            <pc:sldMk cId="0" sldId="2145706921"/>
            <ac:spMk id="4" creationId="{00000000-0000-0000-0000-000000000000}"/>
          </ac:spMkLst>
        </pc:spChg>
        <pc:spChg chg="add mod">
          <ac:chgData name="Papež Kamil" userId="S::kamil.papez@mmr.cz::aa27ec93-dc52-4f03-a33b-07fe73c35624" providerId="AD" clId="Web-{E3AD8569-79BD-24AA-4FB3-EA9B10AFEA0D}" dt="2025-09-10T08:44:18.820" v="14"/>
          <ac:spMkLst>
            <pc:docMk/>
            <pc:sldMk cId="0" sldId="2145706921"/>
            <ac:spMk id="7" creationId="{46BE09B0-BAA6-B0E7-6020-1CF7AB4A6369}"/>
          </ac:spMkLst>
        </pc:spChg>
      </pc:sldChg>
      <pc:sldChg chg="modSp add">
        <pc:chgData name="Papež Kamil" userId="S::kamil.papez@mmr.cz::aa27ec93-dc52-4f03-a33b-07fe73c35624" providerId="AD" clId="Web-{E3AD8569-79BD-24AA-4FB3-EA9B10AFEA0D}" dt="2025-09-10T09:13:03.758" v="79" actId="1076"/>
        <pc:sldMkLst>
          <pc:docMk/>
          <pc:sldMk cId="1198961556" sldId="2145707222"/>
        </pc:sldMkLst>
        <pc:spChg chg="mod">
          <ac:chgData name="Papež Kamil" userId="S::kamil.papez@mmr.cz::aa27ec93-dc52-4f03-a33b-07fe73c35624" providerId="AD" clId="Web-{E3AD8569-79BD-24AA-4FB3-EA9B10AFEA0D}" dt="2025-09-10T09:13:03.758" v="79" actId="1076"/>
          <ac:spMkLst>
            <pc:docMk/>
            <pc:sldMk cId="1198961556" sldId="2145707222"/>
            <ac:spMk id="2" creationId="{90744F45-0553-428D-0DC8-C3846EE4C9B0}"/>
          </ac:spMkLst>
        </pc:spChg>
      </pc:sldChg>
      <pc:sldChg chg="del">
        <pc:chgData name="Papež Kamil" userId="S::kamil.papez@mmr.cz::aa27ec93-dc52-4f03-a33b-07fe73c35624" providerId="AD" clId="Web-{E3AD8569-79BD-24AA-4FB3-EA9B10AFEA0D}" dt="2025-09-10T09:13:36.978" v="82"/>
        <pc:sldMkLst>
          <pc:docMk/>
          <pc:sldMk cId="2313129677" sldId="2145707231"/>
        </pc:sldMkLst>
      </pc:sldChg>
      <pc:sldChg chg="del">
        <pc:chgData name="Papež Kamil" userId="S::kamil.papez@mmr.cz::aa27ec93-dc52-4f03-a33b-07fe73c35624" providerId="AD" clId="Web-{E3AD8569-79BD-24AA-4FB3-EA9B10AFEA0D}" dt="2025-09-10T09:05:07.502" v="43"/>
        <pc:sldMkLst>
          <pc:docMk/>
          <pc:sldMk cId="3245583261" sldId="2145707326"/>
        </pc:sldMkLst>
      </pc:sldChg>
      <pc:sldChg chg="del">
        <pc:chgData name="Papež Kamil" userId="S::kamil.papez@mmr.cz::aa27ec93-dc52-4f03-a33b-07fe73c35624" providerId="AD" clId="Web-{E3AD8569-79BD-24AA-4FB3-EA9B10AFEA0D}" dt="2025-09-10T09:09:34.311" v="66"/>
        <pc:sldMkLst>
          <pc:docMk/>
          <pc:sldMk cId="1706154766" sldId="2145707358"/>
        </pc:sldMkLst>
      </pc:sldChg>
      <pc:sldChg chg="del">
        <pc:chgData name="Papež Kamil" userId="S::kamil.papez@mmr.cz::aa27ec93-dc52-4f03-a33b-07fe73c35624" providerId="AD" clId="Web-{E3AD8569-79BD-24AA-4FB3-EA9B10AFEA0D}" dt="2025-09-10T09:05:31.144" v="45"/>
        <pc:sldMkLst>
          <pc:docMk/>
          <pc:sldMk cId="1259391422" sldId="2145707371"/>
        </pc:sldMkLst>
      </pc:sldChg>
      <pc:sldChg chg="del">
        <pc:chgData name="Papež Kamil" userId="S::kamil.papez@mmr.cz::aa27ec93-dc52-4f03-a33b-07fe73c35624" providerId="AD" clId="Web-{E3AD8569-79BD-24AA-4FB3-EA9B10AFEA0D}" dt="2025-09-10T09:08:31.465" v="50"/>
        <pc:sldMkLst>
          <pc:docMk/>
          <pc:sldMk cId="2432869218" sldId="2145707392"/>
        </pc:sldMkLst>
      </pc:sldChg>
      <pc:sldChg chg="del">
        <pc:chgData name="Papež Kamil" userId="S::kamil.papez@mmr.cz::aa27ec93-dc52-4f03-a33b-07fe73c35624" providerId="AD" clId="Web-{E3AD8569-79BD-24AA-4FB3-EA9B10AFEA0D}" dt="2025-09-10T09:05:09.455" v="44"/>
        <pc:sldMkLst>
          <pc:docMk/>
          <pc:sldMk cId="2209763462" sldId="2145707393"/>
        </pc:sldMkLst>
      </pc:sldChg>
      <pc:sldChg chg="ord">
        <pc:chgData name="Papež Kamil" userId="S::kamil.papez@mmr.cz::aa27ec93-dc52-4f03-a33b-07fe73c35624" providerId="AD" clId="Web-{E3AD8569-79BD-24AA-4FB3-EA9B10AFEA0D}" dt="2025-09-10T08:48:57.005" v="40"/>
        <pc:sldMkLst>
          <pc:docMk/>
          <pc:sldMk cId="4046492476" sldId="2145707397"/>
        </pc:sldMkLst>
      </pc:sldChg>
      <pc:sldChg chg="del">
        <pc:chgData name="Papež Kamil" userId="S::kamil.papez@mmr.cz::aa27ec93-dc52-4f03-a33b-07fe73c35624" providerId="AD" clId="Web-{E3AD8569-79BD-24AA-4FB3-EA9B10AFEA0D}" dt="2025-09-10T09:09:19.061" v="59"/>
        <pc:sldMkLst>
          <pc:docMk/>
          <pc:sldMk cId="1225989194" sldId="2145707401"/>
        </pc:sldMkLst>
      </pc:sldChg>
      <pc:sldChg chg="del">
        <pc:chgData name="Papež Kamil" userId="S::kamil.papez@mmr.cz::aa27ec93-dc52-4f03-a33b-07fe73c35624" providerId="AD" clId="Web-{E3AD8569-79BD-24AA-4FB3-EA9B10AFEA0D}" dt="2025-09-10T09:09:22.264" v="61"/>
        <pc:sldMkLst>
          <pc:docMk/>
          <pc:sldMk cId="2852883058" sldId="2145707404"/>
        </pc:sldMkLst>
      </pc:sldChg>
      <pc:sldChg chg="del">
        <pc:chgData name="Papež Kamil" userId="S::kamil.papez@mmr.cz::aa27ec93-dc52-4f03-a33b-07fe73c35624" providerId="AD" clId="Web-{E3AD8569-79BD-24AA-4FB3-EA9B10AFEA0D}" dt="2025-09-10T09:09:25.998" v="62"/>
        <pc:sldMkLst>
          <pc:docMk/>
          <pc:sldMk cId="3870305492" sldId="2145707405"/>
        </pc:sldMkLst>
      </pc:sldChg>
      <pc:sldChg chg="del">
        <pc:chgData name="Papež Kamil" userId="S::kamil.papez@mmr.cz::aa27ec93-dc52-4f03-a33b-07fe73c35624" providerId="AD" clId="Web-{E3AD8569-79BD-24AA-4FB3-EA9B10AFEA0D}" dt="2025-09-10T09:09:19.248" v="60"/>
        <pc:sldMkLst>
          <pc:docMk/>
          <pc:sldMk cId="3007970856" sldId="2145707407"/>
        </pc:sldMkLst>
      </pc:sldChg>
      <pc:sldChg chg="del">
        <pc:chgData name="Papež Kamil" userId="S::kamil.papez@mmr.cz::aa27ec93-dc52-4f03-a33b-07fe73c35624" providerId="AD" clId="Web-{E3AD8569-79BD-24AA-4FB3-EA9B10AFEA0D}" dt="2025-09-10T09:09:26.623" v="63"/>
        <pc:sldMkLst>
          <pc:docMk/>
          <pc:sldMk cId="2786802000" sldId="2145707408"/>
        </pc:sldMkLst>
      </pc:sldChg>
      <pc:sldChg chg="del">
        <pc:chgData name="Papež Kamil" userId="S::kamil.papez@mmr.cz::aa27ec93-dc52-4f03-a33b-07fe73c35624" providerId="AD" clId="Web-{E3AD8569-79BD-24AA-4FB3-EA9B10AFEA0D}" dt="2025-09-10T09:09:29.561" v="64"/>
        <pc:sldMkLst>
          <pc:docMk/>
          <pc:sldMk cId="3263213021" sldId="2145707412"/>
        </pc:sldMkLst>
      </pc:sldChg>
      <pc:sldChg chg="modSp add">
        <pc:chgData name="Papež Kamil" userId="S::kamil.papez@mmr.cz::aa27ec93-dc52-4f03-a33b-07fe73c35624" providerId="AD" clId="Web-{E3AD8569-79BD-24AA-4FB3-EA9B10AFEA0D}" dt="2025-09-10T09:13:10.149" v="80" actId="1076"/>
        <pc:sldMkLst>
          <pc:docMk/>
          <pc:sldMk cId="893611663" sldId="2145707414"/>
        </pc:sldMkLst>
        <pc:spChg chg="mod">
          <ac:chgData name="Papež Kamil" userId="S::kamil.papez@mmr.cz::aa27ec93-dc52-4f03-a33b-07fe73c35624" providerId="AD" clId="Web-{E3AD8569-79BD-24AA-4FB3-EA9B10AFEA0D}" dt="2025-09-10T09:13:10.149" v="80" actId="1076"/>
          <ac:spMkLst>
            <pc:docMk/>
            <pc:sldMk cId="893611663" sldId="2145707414"/>
            <ac:spMk id="2" creationId="{79E97C43-E7A3-B0D6-62DA-FB6200618D98}"/>
          </ac:spMkLst>
        </pc:spChg>
        <pc:spChg chg="mod">
          <ac:chgData name="Papež Kamil" userId="S::kamil.papez@mmr.cz::aa27ec93-dc52-4f03-a33b-07fe73c35624" providerId="AD" clId="Web-{E3AD8569-79BD-24AA-4FB3-EA9B10AFEA0D}" dt="2025-09-10T08:47:06.046" v="29" actId="20577"/>
          <ac:spMkLst>
            <pc:docMk/>
            <pc:sldMk cId="893611663" sldId="2145707414"/>
            <ac:spMk id="17" creationId="{A8CADAA0-2E54-091D-5F33-6D4A6ED341CF}"/>
          </ac:spMkLst>
        </pc:spChg>
        <pc:spChg chg="mod">
          <ac:chgData name="Papež Kamil" userId="S::kamil.papez@mmr.cz::aa27ec93-dc52-4f03-a33b-07fe73c35624" providerId="AD" clId="Web-{E3AD8569-79BD-24AA-4FB3-EA9B10AFEA0D}" dt="2025-09-10T08:45:56.012" v="17" actId="20577"/>
          <ac:spMkLst>
            <pc:docMk/>
            <pc:sldMk cId="893611663" sldId="2145707414"/>
            <ac:spMk id="18" creationId="{EE0A24FC-28D0-2268-E47F-68459A8DE457}"/>
          </ac:spMkLst>
        </pc:spChg>
      </pc:sldChg>
      <pc:sldChg chg="del">
        <pc:chgData name="Papež Kamil" userId="S::kamil.papez@mmr.cz::aa27ec93-dc52-4f03-a33b-07fe73c35624" providerId="AD" clId="Web-{E3AD8569-79BD-24AA-4FB3-EA9B10AFEA0D}" dt="2025-09-10T09:09:32.780" v="65"/>
        <pc:sldMkLst>
          <pc:docMk/>
          <pc:sldMk cId="796137716" sldId="2145707415"/>
        </pc:sldMkLst>
      </pc:sldChg>
      <pc:sldChg chg="add">
        <pc:chgData name="Papež Kamil" userId="S::kamil.papez@mmr.cz::aa27ec93-dc52-4f03-a33b-07fe73c35624" providerId="AD" clId="Web-{E3AD8569-79BD-24AA-4FB3-EA9B10AFEA0D}" dt="2025-09-10T08:16:22.838" v="3"/>
        <pc:sldMkLst>
          <pc:docMk/>
          <pc:sldMk cId="1773580056" sldId="2145707417"/>
        </pc:sldMkLst>
      </pc:sldChg>
      <pc:sldChg chg="del">
        <pc:chgData name="Papež Kamil" userId="S::kamil.papez@mmr.cz::aa27ec93-dc52-4f03-a33b-07fe73c35624" providerId="AD" clId="Web-{E3AD8569-79BD-24AA-4FB3-EA9B10AFEA0D}" dt="2025-09-10T09:09:57.234" v="71"/>
        <pc:sldMkLst>
          <pc:docMk/>
          <pc:sldMk cId="453328397" sldId="2145707418"/>
        </pc:sldMkLst>
      </pc:sldChg>
      <pc:sldChg chg="del">
        <pc:chgData name="Papež Kamil" userId="S::kamil.papez@mmr.cz::aa27ec93-dc52-4f03-a33b-07fe73c35624" providerId="AD" clId="Web-{E3AD8569-79BD-24AA-4FB3-EA9B10AFEA0D}" dt="2025-09-10T09:09:57.469" v="72"/>
        <pc:sldMkLst>
          <pc:docMk/>
          <pc:sldMk cId="2773494271" sldId="2145707419"/>
        </pc:sldMkLst>
      </pc:sldChg>
      <pc:sldChg chg="del">
        <pc:chgData name="Papež Kamil" userId="S::kamil.papez@mmr.cz::aa27ec93-dc52-4f03-a33b-07fe73c35624" providerId="AD" clId="Web-{E3AD8569-79BD-24AA-4FB3-EA9B10AFEA0D}" dt="2025-09-10T09:09:59.078" v="73"/>
        <pc:sldMkLst>
          <pc:docMk/>
          <pc:sldMk cId="1163216872" sldId="2145707420"/>
        </pc:sldMkLst>
      </pc:sldChg>
      <pc:sldChg chg="del">
        <pc:chgData name="Papež Kamil" userId="S::kamil.papez@mmr.cz::aa27ec93-dc52-4f03-a33b-07fe73c35624" providerId="AD" clId="Web-{E3AD8569-79BD-24AA-4FB3-EA9B10AFEA0D}" dt="2025-09-10T09:10:01.766" v="74"/>
        <pc:sldMkLst>
          <pc:docMk/>
          <pc:sldMk cId="1995325976" sldId="2145707421"/>
        </pc:sldMkLst>
      </pc:sldChg>
      <pc:sldChg chg="del">
        <pc:chgData name="Papež Kamil" userId="S::kamil.papez@mmr.cz::aa27ec93-dc52-4f03-a33b-07fe73c35624" providerId="AD" clId="Web-{E3AD8569-79BD-24AA-4FB3-EA9B10AFEA0D}" dt="2025-09-10T09:09:42.562" v="67"/>
        <pc:sldMkLst>
          <pc:docMk/>
          <pc:sldMk cId="3731147642" sldId="2145707422"/>
        </pc:sldMkLst>
      </pc:sldChg>
      <pc:sldChg chg="del">
        <pc:chgData name="Papež Kamil" userId="S::kamil.papez@mmr.cz::aa27ec93-dc52-4f03-a33b-07fe73c35624" providerId="AD" clId="Web-{E3AD8569-79BD-24AA-4FB3-EA9B10AFEA0D}" dt="2025-09-10T09:09:46.515" v="68"/>
        <pc:sldMkLst>
          <pc:docMk/>
          <pc:sldMk cId="777394138" sldId="2145707423"/>
        </pc:sldMkLst>
      </pc:sldChg>
      <pc:sldChg chg="del">
        <pc:chgData name="Papež Kamil" userId="S::kamil.papez@mmr.cz::aa27ec93-dc52-4f03-a33b-07fe73c35624" providerId="AD" clId="Web-{E3AD8569-79BD-24AA-4FB3-EA9B10AFEA0D}" dt="2025-09-10T09:09:50.593" v="69"/>
        <pc:sldMkLst>
          <pc:docMk/>
          <pc:sldMk cId="2505326134" sldId="2145707424"/>
        </pc:sldMkLst>
      </pc:sldChg>
      <pc:sldChg chg="del">
        <pc:chgData name="Papež Kamil" userId="S::kamil.papez@mmr.cz::aa27ec93-dc52-4f03-a33b-07fe73c35624" providerId="AD" clId="Web-{E3AD8569-79BD-24AA-4FB3-EA9B10AFEA0D}" dt="2025-09-10T09:09:55.953" v="70"/>
        <pc:sldMkLst>
          <pc:docMk/>
          <pc:sldMk cId="2533733556" sldId="2145707425"/>
        </pc:sldMkLst>
      </pc:sldChg>
      <pc:sldChg chg="del">
        <pc:chgData name="Papež Kamil" userId="S::kamil.papez@mmr.cz::aa27ec93-dc52-4f03-a33b-07fe73c35624" providerId="AD" clId="Web-{E3AD8569-79BD-24AA-4FB3-EA9B10AFEA0D}" dt="2025-09-10T09:10:02.250" v="75"/>
        <pc:sldMkLst>
          <pc:docMk/>
          <pc:sldMk cId="1879668839" sldId="2145707427"/>
        </pc:sldMkLst>
      </pc:sldChg>
      <pc:sldChg chg="del">
        <pc:chgData name="Papež Kamil" userId="S::kamil.papez@mmr.cz::aa27ec93-dc52-4f03-a33b-07fe73c35624" providerId="AD" clId="Web-{E3AD8569-79BD-24AA-4FB3-EA9B10AFEA0D}" dt="2025-09-10T09:53:29.305" v="141"/>
        <pc:sldMkLst>
          <pc:docMk/>
          <pc:sldMk cId="3964681946" sldId="2145707430"/>
        </pc:sldMkLst>
      </pc:sldChg>
      <pc:sldChg chg="del">
        <pc:chgData name="Papež Kamil" userId="S::kamil.papez@mmr.cz::aa27ec93-dc52-4f03-a33b-07fe73c35624" providerId="AD" clId="Web-{E3AD8569-79BD-24AA-4FB3-EA9B10AFEA0D}" dt="2025-09-10T09:53:01.804" v="139"/>
        <pc:sldMkLst>
          <pc:docMk/>
          <pc:sldMk cId="1120452062" sldId="2145707431"/>
        </pc:sldMkLst>
      </pc:sldChg>
      <pc:sldChg chg="del">
        <pc:chgData name="Papež Kamil" userId="S::kamil.papez@mmr.cz::aa27ec93-dc52-4f03-a33b-07fe73c35624" providerId="AD" clId="Web-{E3AD8569-79BD-24AA-4FB3-EA9B10AFEA0D}" dt="2025-09-10T09:53:11.961" v="140"/>
        <pc:sldMkLst>
          <pc:docMk/>
          <pc:sldMk cId="3922368084" sldId="2145707433"/>
        </pc:sldMkLst>
      </pc:sldChg>
      <pc:sldChg chg="del">
        <pc:chgData name="Papež Kamil" userId="S::kamil.papez@mmr.cz::aa27ec93-dc52-4f03-a33b-07fe73c35624" providerId="AD" clId="Web-{E3AD8569-79BD-24AA-4FB3-EA9B10AFEA0D}" dt="2025-09-10T09:13:33.009" v="81"/>
        <pc:sldMkLst>
          <pc:docMk/>
          <pc:sldMk cId="1970857533" sldId="2145707434"/>
        </pc:sldMkLst>
      </pc:sldChg>
      <pc:sldChg chg="del">
        <pc:chgData name="Papež Kamil" userId="S::kamil.papez@mmr.cz::aa27ec93-dc52-4f03-a33b-07fe73c35624" providerId="AD" clId="Web-{E3AD8569-79BD-24AA-4FB3-EA9B10AFEA0D}" dt="2025-09-10T09:53:43.181" v="142"/>
        <pc:sldMkLst>
          <pc:docMk/>
          <pc:sldMk cId="1411330243" sldId="2145707435"/>
        </pc:sldMkLst>
      </pc:sldChg>
      <pc:sldChg chg="del">
        <pc:chgData name="Papež Kamil" userId="S::kamil.papez@mmr.cz::aa27ec93-dc52-4f03-a33b-07fe73c35624" providerId="AD" clId="Web-{E3AD8569-79BD-24AA-4FB3-EA9B10AFEA0D}" dt="2025-09-10T09:09:09.951" v="54"/>
        <pc:sldMkLst>
          <pc:docMk/>
          <pc:sldMk cId="4182196693" sldId="2145707439"/>
        </pc:sldMkLst>
      </pc:sldChg>
      <pc:sldChg chg="del">
        <pc:chgData name="Papež Kamil" userId="S::kamil.papez@mmr.cz::aa27ec93-dc52-4f03-a33b-07fe73c35624" providerId="AD" clId="Web-{E3AD8569-79BD-24AA-4FB3-EA9B10AFEA0D}" dt="2025-09-10T09:08:35.012" v="51"/>
        <pc:sldMkLst>
          <pc:docMk/>
          <pc:sldMk cId="177774860" sldId="2145707440"/>
        </pc:sldMkLst>
      </pc:sldChg>
      <pc:sldChg chg="del">
        <pc:chgData name="Papež Kamil" userId="S::kamil.papez@mmr.cz::aa27ec93-dc52-4f03-a33b-07fe73c35624" providerId="AD" clId="Web-{E3AD8569-79BD-24AA-4FB3-EA9B10AFEA0D}" dt="2025-09-10T09:09:10.529" v="55"/>
        <pc:sldMkLst>
          <pc:docMk/>
          <pc:sldMk cId="3910267132" sldId="2145707441"/>
        </pc:sldMkLst>
      </pc:sldChg>
      <pc:sldChg chg="del">
        <pc:chgData name="Papež Kamil" userId="S::kamil.papez@mmr.cz::aa27ec93-dc52-4f03-a33b-07fe73c35624" providerId="AD" clId="Web-{E3AD8569-79BD-24AA-4FB3-EA9B10AFEA0D}" dt="2025-09-10T09:09:13.420" v="56"/>
        <pc:sldMkLst>
          <pc:docMk/>
          <pc:sldMk cId="1806666340" sldId="2145707442"/>
        </pc:sldMkLst>
      </pc:sldChg>
      <pc:sldChg chg="del">
        <pc:chgData name="Papež Kamil" userId="S::kamil.papez@mmr.cz::aa27ec93-dc52-4f03-a33b-07fe73c35624" providerId="AD" clId="Web-{E3AD8569-79BD-24AA-4FB3-EA9B10AFEA0D}" dt="2025-09-10T09:09:17.436" v="57"/>
        <pc:sldMkLst>
          <pc:docMk/>
          <pc:sldMk cId="4225793887" sldId="2145707443"/>
        </pc:sldMkLst>
      </pc:sldChg>
      <pc:sldChg chg="del">
        <pc:chgData name="Papež Kamil" userId="S::kamil.papez@mmr.cz::aa27ec93-dc52-4f03-a33b-07fe73c35624" providerId="AD" clId="Web-{E3AD8569-79BD-24AA-4FB3-EA9B10AFEA0D}" dt="2025-09-10T09:09:18.764" v="58"/>
        <pc:sldMkLst>
          <pc:docMk/>
          <pc:sldMk cId="4093238162" sldId="2145707444"/>
        </pc:sldMkLst>
      </pc:sldChg>
      <pc:sldChg chg="del">
        <pc:chgData name="Papež Kamil" userId="S::kamil.papez@mmr.cz::aa27ec93-dc52-4f03-a33b-07fe73c35624" providerId="AD" clId="Web-{E3AD8569-79BD-24AA-4FB3-EA9B10AFEA0D}" dt="2025-09-10T08:44:11.976" v="13"/>
        <pc:sldMkLst>
          <pc:docMk/>
          <pc:sldMk cId="2893635525" sldId="2147375978"/>
        </pc:sldMkLst>
      </pc:sldChg>
      <pc:sldChg chg="new del">
        <pc:chgData name="Papež Kamil" userId="S::kamil.papez@mmr.cz::aa27ec93-dc52-4f03-a33b-07fe73c35624" providerId="AD" clId="Web-{E3AD8569-79BD-24AA-4FB3-EA9B10AFEA0D}" dt="2025-09-10T09:04:07.905" v="42"/>
        <pc:sldMkLst>
          <pc:docMk/>
          <pc:sldMk cId="2048596941" sldId="2147375981"/>
        </pc:sldMkLst>
      </pc:sldChg>
      <pc:sldChg chg="modSp add modNotes">
        <pc:chgData name="Papež Kamil" userId="S::kamil.papez@mmr.cz::aa27ec93-dc52-4f03-a33b-07fe73c35624" providerId="AD" clId="Web-{E3AD8569-79BD-24AA-4FB3-EA9B10AFEA0D}" dt="2025-09-10T09:52:01.317" v="128"/>
        <pc:sldMkLst>
          <pc:docMk/>
          <pc:sldMk cId="3842275172" sldId="2147375982"/>
        </pc:sldMkLst>
        <pc:spChg chg="mod">
          <ac:chgData name="Papež Kamil" userId="S::kamil.papez@mmr.cz::aa27ec93-dc52-4f03-a33b-07fe73c35624" providerId="AD" clId="Web-{E3AD8569-79BD-24AA-4FB3-EA9B10AFEA0D}" dt="2025-09-10T09:31:26.699" v="95" actId="1076"/>
          <ac:spMkLst>
            <pc:docMk/>
            <pc:sldMk cId="3842275172" sldId="2147375982"/>
            <ac:spMk id="2" creationId="{A7CF0C14-51F0-EFC5-E74F-E382DFD86783}"/>
          </ac:spMkLst>
        </pc:spChg>
      </pc:sldChg>
      <pc:sldChg chg="modSp add">
        <pc:chgData name="Papež Kamil" userId="S::kamil.papez@mmr.cz::aa27ec93-dc52-4f03-a33b-07fe73c35624" providerId="AD" clId="Web-{E3AD8569-79BD-24AA-4FB3-EA9B10AFEA0D}" dt="2025-09-10T09:31:13.917" v="94" actId="1076"/>
        <pc:sldMkLst>
          <pc:docMk/>
          <pc:sldMk cId="2860795123" sldId="2147375983"/>
        </pc:sldMkLst>
        <pc:spChg chg="mod">
          <ac:chgData name="Papež Kamil" userId="S::kamil.papez@mmr.cz::aa27ec93-dc52-4f03-a33b-07fe73c35624" providerId="AD" clId="Web-{E3AD8569-79BD-24AA-4FB3-EA9B10AFEA0D}" dt="2025-09-10T09:31:13.917" v="94" actId="1076"/>
          <ac:spMkLst>
            <pc:docMk/>
            <pc:sldMk cId="2860795123" sldId="2147375983"/>
            <ac:spMk id="2" creationId="{79E97C43-E7A3-B0D6-62DA-FB6200618D98}"/>
          </ac:spMkLst>
        </pc:spChg>
        <pc:spChg chg="mod">
          <ac:chgData name="Papež Kamil" userId="S::kamil.papez@mmr.cz::aa27ec93-dc52-4f03-a33b-07fe73c35624" providerId="AD" clId="Web-{E3AD8569-79BD-24AA-4FB3-EA9B10AFEA0D}" dt="2025-09-10T08:47:32.376" v="32" actId="20577"/>
          <ac:spMkLst>
            <pc:docMk/>
            <pc:sldMk cId="2860795123" sldId="2147375983"/>
            <ac:spMk id="16" creationId="{D51968A5-BD8A-DEE7-9CCD-8CB07CDD51DA}"/>
          </ac:spMkLst>
        </pc:spChg>
      </pc:sldChg>
      <pc:sldChg chg="add del">
        <pc:chgData name="Papež Kamil" userId="S::kamil.papez@mmr.cz::aa27ec93-dc52-4f03-a33b-07fe73c35624" providerId="AD" clId="Web-{E3AD8569-79BD-24AA-4FB3-EA9B10AFEA0D}" dt="2025-09-10T08:47:44.751" v="33"/>
        <pc:sldMkLst>
          <pc:docMk/>
          <pc:sldMk cId="2804852784" sldId="2147375984"/>
        </pc:sldMkLst>
      </pc:sldChg>
      <pc:sldChg chg="add del">
        <pc:chgData name="Papež Kamil" userId="S::kamil.papez@mmr.cz::aa27ec93-dc52-4f03-a33b-07fe73c35624" providerId="AD" clId="Web-{E3AD8569-79BD-24AA-4FB3-EA9B10AFEA0D}" dt="2025-09-10T08:47:48.705" v="34"/>
        <pc:sldMkLst>
          <pc:docMk/>
          <pc:sldMk cId="1692652709" sldId="2147375985"/>
        </pc:sldMkLst>
      </pc:sldChg>
      <pc:sldChg chg="modSp add del">
        <pc:chgData name="Papež Kamil" userId="S::kamil.papez@mmr.cz::aa27ec93-dc52-4f03-a33b-07fe73c35624" providerId="AD" clId="Web-{E3AD8569-79BD-24AA-4FB3-EA9B10AFEA0D}" dt="2025-09-10T09:04:02.030" v="41"/>
        <pc:sldMkLst>
          <pc:docMk/>
          <pc:sldMk cId="4233943180" sldId="2147375986"/>
        </pc:sldMkLst>
        <pc:spChg chg="mod">
          <ac:chgData name="Papež Kamil" userId="S::kamil.papez@mmr.cz::aa27ec93-dc52-4f03-a33b-07fe73c35624" providerId="AD" clId="Web-{E3AD8569-79BD-24AA-4FB3-EA9B10AFEA0D}" dt="2025-09-10T08:47:59.221" v="35" actId="1076"/>
          <ac:spMkLst>
            <pc:docMk/>
            <pc:sldMk cId="4233943180" sldId="2147375986"/>
            <ac:spMk id="2" creationId="{8BD26C47-3642-E260-16B7-C71D93CA3A30}"/>
          </ac:spMkLst>
        </pc:spChg>
      </pc:sldChg>
      <pc:sldChg chg="modSp add del">
        <pc:chgData name="Papež Kamil" userId="S::kamil.papez@mmr.cz::aa27ec93-dc52-4f03-a33b-07fe73c35624" providerId="AD" clId="Web-{E3AD8569-79BD-24AA-4FB3-EA9B10AFEA0D}" dt="2025-09-10T09:26:05.669" v="92"/>
        <pc:sldMkLst>
          <pc:docMk/>
          <pc:sldMk cId="1005045670" sldId="2147375987"/>
        </pc:sldMkLst>
        <pc:spChg chg="mod">
          <ac:chgData name="Papež Kamil" userId="S::kamil.papez@mmr.cz::aa27ec93-dc52-4f03-a33b-07fe73c35624" providerId="AD" clId="Web-{E3AD8569-79BD-24AA-4FB3-EA9B10AFEA0D}" dt="2025-09-10T08:48:06.049" v="36" actId="1076"/>
          <ac:spMkLst>
            <pc:docMk/>
            <pc:sldMk cId="1005045670" sldId="2147375987"/>
            <ac:spMk id="2" creationId="{27B44C17-F032-3520-DBFE-C4CD9A7E9B7A}"/>
          </ac:spMkLst>
        </pc:spChg>
      </pc:sldChg>
      <pc:sldChg chg="add">
        <pc:chgData name="Papež Kamil" userId="S::kamil.papez@mmr.cz::aa27ec93-dc52-4f03-a33b-07fe73c35624" providerId="AD" clId="Web-{E3AD8569-79BD-24AA-4FB3-EA9B10AFEA0D}" dt="2025-09-10T08:16:24.885" v="12"/>
        <pc:sldMkLst>
          <pc:docMk/>
          <pc:sldMk cId="1037386557" sldId="2147375988"/>
        </pc:sldMkLst>
      </pc:sldChg>
      <pc:sldChg chg="add replId">
        <pc:chgData name="Papež Kamil" userId="S::kamil.papez@mmr.cz::aa27ec93-dc52-4f03-a33b-07fe73c35624" providerId="AD" clId="Web-{E3AD8569-79BD-24AA-4FB3-EA9B10AFEA0D}" dt="2025-09-10T09:05:52.973" v="46"/>
        <pc:sldMkLst>
          <pc:docMk/>
          <pc:sldMk cId="2481836335" sldId="2147375989"/>
        </pc:sldMkLst>
      </pc:sldChg>
      <pc:sldChg chg="add del replId">
        <pc:chgData name="Papež Kamil" userId="S::kamil.papez@mmr.cz::aa27ec93-dc52-4f03-a33b-07fe73c35624" providerId="AD" clId="Web-{E3AD8569-79BD-24AA-4FB3-EA9B10AFEA0D}" dt="2025-09-10T09:22:59.488" v="90"/>
        <pc:sldMkLst>
          <pc:docMk/>
          <pc:sldMk cId="2607449940" sldId="2147375990"/>
        </pc:sldMkLst>
      </pc:sldChg>
      <pc:sldChg chg="modSp add replId modNotes">
        <pc:chgData name="Papež Kamil" userId="S::kamil.papez@mmr.cz::aa27ec93-dc52-4f03-a33b-07fe73c35624" providerId="AD" clId="Web-{E3AD8569-79BD-24AA-4FB3-EA9B10AFEA0D}" dt="2025-09-10T09:22:57.910" v="89"/>
        <pc:sldMkLst>
          <pc:docMk/>
          <pc:sldMk cId="2905473827" sldId="2147375991"/>
        </pc:sldMkLst>
        <pc:spChg chg="mod">
          <ac:chgData name="Papež Kamil" userId="S::kamil.papez@mmr.cz::aa27ec93-dc52-4f03-a33b-07fe73c35624" providerId="AD" clId="Web-{E3AD8569-79BD-24AA-4FB3-EA9B10AFEA0D}" dt="2025-09-10T09:11:49.380" v="77" actId="1076"/>
          <ac:spMkLst>
            <pc:docMk/>
            <pc:sldMk cId="2905473827" sldId="2147375991"/>
            <ac:spMk id="2" creationId="{A066C8FA-BA30-B845-9466-84BDD411DBF6}"/>
          </ac:spMkLst>
        </pc:spChg>
      </pc:sldChg>
      <pc:sldChg chg="modSp add replId">
        <pc:chgData name="Papež Kamil" userId="S::kamil.papez@mmr.cz::aa27ec93-dc52-4f03-a33b-07fe73c35624" providerId="AD" clId="Web-{E3AD8569-79BD-24AA-4FB3-EA9B10AFEA0D}" dt="2025-09-10T09:52:41.100" v="138" actId="20577"/>
        <pc:sldMkLst>
          <pc:docMk/>
          <pc:sldMk cId="3489710637" sldId="2147375992"/>
        </pc:sldMkLst>
        <pc:spChg chg="mod">
          <ac:chgData name="Papež Kamil" userId="S::kamil.papez@mmr.cz::aa27ec93-dc52-4f03-a33b-07fe73c35624" providerId="AD" clId="Web-{E3AD8569-79BD-24AA-4FB3-EA9B10AFEA0D}" dt="2025-09-10T09:52:41.100" v="138" actId="20577"/>
          <ac:spMkLst>
            <pc:docMk/>
            <pc:sldMk cId="3489710637" sldId="2147375992"/>
            <ac:spMk id="2" creationId="{E1EBD9E5-E06E-D49E-3DDF-4D8BAABDD716}"/>
          </ac:spMkLst>
        </pc:spChg>
      </pc:sldChg>
      <pc:sldChg chg="add replId">
        <pc:chgData name="Papež Kamil" userId="S::kamil.papez@mmr.cz::aa27ec93-dc52-4f03-a33b-07fe73c35624" providerId="AD" clId="Web-{E3AD8569-79BD-24AA-4FB3-EA9B10AFEA0D}" dt="2025-09-10T09:08:50.372" v="52"/>
        <pc:sldMkLst>
          <pc:docMk/>
          <pc:sldMk cId="2602683621" sldId="2147375993"/>
        </pc:sldMkLst>
      </pc:sldChg>
      <pc:sldChg chg="add replId">
        <pc:chgData name="Papež Kamil" userId="S::kamil.papez@mmr.cz::aa27ec93-dc52-4f03-a33b-07fe73c35624" providerId="AD" clId="Web-{E3AD8569-79BD-24AA-4FB3-EA9B10AFEA0D}" dt="2025-09-10T09:08:50.419" v="53"/>
        <pc:sldMkLst>
          <pc:docMk/>
          <pc:sldMk cId="3660389665" sldId="2147375994"/>
        </pc:sldMkLst>
      </pc:sldChg>
      <pc:sldChg chg="add del replId">
        <pc:chgData name="Papež Kamil" userId="S::kamil.papez@mmr.cz::aa27ec93-dc52-4f03-a33b-07fe73c35624" providerId="AD" clId="Web-{E3AD8569-79BD-24AA-4FB3-EA9B10AFEA0D}" dt="2025-09-10T09:56:01.531" v="162"/>
        <pc:sldMkLst>
          <pc:docMk/>
          <pc:sldMk cId="2958881643" sldId="2147375995"/>
        </pc:sldMkLst>
      </pc:sldChg>
      <pc:sldChg chg="modSp add replId">
        <pc:chgData name="Papež Kamil" userId="S::kamil.papez@mmr.cz::aa27ec93-dc52-4f03-a33b-07fe73c35624" providerId="AD" clId="Web-{E3AD8569-79BD-24AA-4FB3-EA9B10AFEA0D}" dt="2025-09-10T09:54:11.323" v="159" actId="20577"/>
        <pc:sldMkLst>
          <pc:docMk/>
          <pc:sldMk cId="1170133789" sldId="2147375996"/>
        </pc:sldMkLst>
        <pc:spChg chg="mod">
          <ac:chgData name="Papež Kamil" userId="S::kamil.papez@mmr.cz::aa27ec93-dc52-4f03-a33b-07fe73c35624" providerId="AD" clId="Web-{E3AD8569-79BD-24AA-4FB3-EA9B10AFEA0D}" dt="2025-09-10T09:54:11.323" v="159" actId="20577"/>
          <ac:spMkLst>
            <pc:docMk/>
            <pc:sldMk cId="1170133789" sldId="2147375996"/>
            <ac:spMk id="2" creationId="{3AB6729E-DBCF-D03C-D12E-E903DFC6F5DD}"/>
          </ac:spMkLst>
        </pc:spChg>
      </pc:sldChg>
    </pc:docChg>
  </pc:docChgLst>
  <pc:docChgLst>
    <pc:chgData name="Weissová Kristýna" userId="S::kristyna.weissova@mmr.cz::40116847-0f29-4efe-a1b8-88bf96a075bd" providerId="AD" clId="Web-{F8C22D65-730B-488E-F2DF-B33C99F32433}"/>
    <pc:docChg chg="addSld modSld">
      <pc:chgData name="Weissová Kristýna" userId="S::kristyna.weissova@mmr.cz::40116847-0f29-4efe-a1b8-88bf96a075bd" providerId="AD" clId="Web-{F8C22D65-730B-488E-F2DF-B33C99F32433}" dt="2025-09-09T07:21:02.946" v="1093" actId="20577"/>
      <pc:docMkLst>
        <pc:docMk/>
      </pc:docMkLst>
      <pc:sldChg chg="modSp">
        <pc:chgData name="Weissová Kristýna" userId="S::kristyna.weissova@mmr.cz::40116847-0f29-4efe-a1b8-88bf96a075bd" providerId="AD" clId="Web-{F8C22D65-730B-488E-F2DF-B33C99F32433}" dt="2025-09-09T06:01:42.514" v="1077" actId="20577"/>
        <pc:sldMkLst>
          <pc:docMk/>
          <pc:sldMk cId="2294658225" sldId="2147375966"/>
        </pc:sldMkLst>
        <pc:spChg chg="mod">
          <ac:chgData name="Weissová Kristýna" userId="S::kristyna.weissova@mmr.cz::40116847-0f29-4efe-a1b8-88bf96a075bd" providerId="AD" clId="Web-{F8C22D65-730B-488E-F2DF-B33C99F32433}" dt="2025-09-09T05:59:20.729" v="1038" actId="20577"/>
          <ac:spMkLst>
            <pc:docMk/>
            <pc:sldMk cId="2294658225" sldId="2147375966"/>
            <ac:spMk id="2" creationId="{5CB0B8C0-DAB1-B1C3-9F81-6F85965B1DF7}"/>
          </ac:spMkLst>
        </pc:spChg>
        <pc:spChg chg="mod">
          <ac:chgData name="Weissová Kristýna" userId="S::kristyna.weissova@mmr.cz::40116847-0f29-4efe-a1b8-88bf96a075bd" providerId="AD" clId="Web-{F8C22D65-730B-488E-F2DF-B33C99F32433}" dt="2025-09-09T06:01:42.514" v="1077" actId="20577"/>
          <ac:spMkLst>
            <pc:docMk/>
            <pc:sldMk cId="2294658225" sldId="2147375966"/>
            <ac:spMk id="3" creationId="{5D207E7E-34AC-FD76-D5A1-0D87BC028434}"/>
          </ac:spMkLst>
        </pc:spChg>
      </pc:sldChg>
      <pc:sldChg chg="addSp delSp modSp">
        <pc:chgData name="Weissová Kristýna" userId="S::kristyna.weissova@mmr.cz::40116847-0f29-4efe-a1b8-88bf96a075bd" providerId="AD" clId="Web-{F8C22D65-730B-488E-F2DF-B33C99F32433}" dt="2025-09-09T07:21:02.946" v="1093" actId="20577"/>
        <pc:sldMkLst>
          <pc:docMk/>
          <pc:sldMk cId="3194915111" sldId="2147375967"/>
        </pc:sldMkLst>
        <pc:spChg chg="mod">
          <ac:chgData name="Weissová Kristýna" userId="S::kristyna.weissova@mmr.cz::40116847-0f29-4efe-a1b8-88bf96a075bd" providerId="AD" clId="Web-{F8C22D65-730B-488E-F2DF-B33C99F32433}" dt="2025-09-08T18:51:21.766" v="175" actId="20577"/>
          <ac:spMkLst>
            <pc:docMk/>
            <pc:sldMk cId="3194915111" sldId="2147375967"/>
            <ac:spMk id="2" creationId="{BC909E77-0145-F3CA-8CCB-C954F0768670}"/>
          </ac:spMkLst>
        </pc:spChg>
        <pc:spChg chg="mod">
          <ac:chgData name="Weissová Kristýna" userId="S::kristyna.weissova@mmr.cz::40116847-0f29-4efe-a1b8-88bf96a075bd" providerId="AD" clId="Web-{F8C22D65-730B-488E-F2DF-B33C99F32433}" dt="2025-09-09T07:21:02.946" v="1093" actId="20577"/>
          <ac:spMkLst>
            <pc:docMk/>
            <pc:sldMk cId="3194915111" sldId="2147375967"/>
            <ac:spMk id="3" creationId="{79BFD934-D538-FCBE-611B-DE1951495F98}"/>
          </ac:spMkLst>
        </pc:spChg>
        <pc:picChg chg="add mod modCrop">
          <ac:chgData name="Weissová Kristýna" userId="S::kristyna.weissova@mmr.cz::40116847-0f29-4efe-a1b8-88bf96a075bd" providerId="AD" clId="Web-{F8C22D65-730B-488E-F2DF-B33C99F32433}" dt="2025-09-08T19:06:50.166" v="755" actId="1076"/>
          <ac:picMkLst>
            <pc:docMk/>
            <pc:sldMk cId="3194915111" sldId="2147375967"/>
            <ac:picMk id="5" creationId="{B352147F-EB88-0948-43CC-99D947E300CA}"/>
          </ac:picMkLst>
        </pc:picChg>
      </pc:sldChg>
      <pc:sldChg chg="modSp add replId">
        <pc:chgData name="Weissová Kristýna" userId="S::kristyna.weissova@mmr.cz::40116847-0f29-4efe-a1b8-88bf96a075bd" providerId="AD" clId="Web-{F8C22D65-730B-488E-F2DF-B33C99F32433}" dt="2025-09-09T06:15:07.105" v="1080" actId="20577"/>
        <pc:sldMkLst>
          <pc:docMk/>
          <pc:sldMk cId="1918482965" sldId="2147375968"/>
        </pc:sldMkLst>
      </pc:sldChg>
      <pc:sldChg chg="addSp delSp modSp add replId">
        <pc:chgData name="Weissová Kristýna" userId="S::kristyna.weissova@mmr.cz::40116847-0f29-4efe-a1b8-88bf96a075bd" providerId="AD" clId="Web-{F8C22D65-730B-488E-F2DF-B33C99F32433}" dt="2025-09-08T19:06:54.509" v="756" actId="1076"/>
        <pc:sldMkLst>
          <pc:docMk/>
          <pc:sldMk cId="2132234729" sldId="2147375969"/>
        </pc:sldMkLst>
        <pc:spChg chg="mod">
          <ac:chgData name="Weissová Kristýna" userId="S::kristyna.weissova@mmr.cz::40116847-0f29-4efe-a1b8-88bf96a075bd" providerId="AD" clId="Web-{F8C22D65-730B-488E-F2DF-B33C99F32433}" dt="2025-09-08T19:06:22.916" v="750"/>
          <ac:spMkLst>
            <pc:docMk/>
            <pc:sldMk cId="2132234729" sldId="2147375969"/>
            <ac:spMk id="2" creationId="{8A65D8DC-938F-92CB-8C08-99BF80411051}"/>
          </ac:spMkLst>
        </pc:spChg>
        <pc:spChg chg="mod">
          <ac:chgData name="Weissová Kristýna" userId="S::kristyna.weissova@mmr.cz::40116847-0f29-4efe-a1b8-88bf96a075bd" providerId="AD" clId="Web-{F8C22D65-730B-488E-F2DF-B33C99F32433}" dt="2025-09-08T19:06:22.916" v="750"/>
          <ac:spMkLst>
            <pc:docMk/>
            <pc:sldMk cId="2132234729" sldId="2147375969"/>
            <ac:spMk id="3" creationId="{073F6400-691F-2012-4698-F90B4204948A}"/>
          </ac:spMkLst>
        </pc:spChg>
        <pc:picChg chg="add mod modCrop">
          <ac:chgData name="Weissová Kristýna" userId="S::kristyna.weissova@mmr.cz::40116847-0f29-4efe-a1b8-88bf96a075bd" providerId="AD" clId="Web-{F8C22D65-730B-488E-F2DF-B33C99F32433}" dt="2025-09-08T19:06:54.509" v="756" actId="1076"/>
          <ac:picMkLst>
            <pc:docMk/>
            <pc:sldMk cId="2132234729" sldId="2147375969"/>
            <ac:picMk id="7" creationId="{8443CF82-B6F2-C7CF-5CDD-D112B7446081}"/>
          </ac:picMkLst>
        </pc:picChg>
      </pc:sldChg>
      <pc:sldChg chg="add replId">
        <pc:chgData name="Weissová Kristýna" userId="S::kristyna.weissova@mmr.cz::40116847-0f29-4efe-a1b8-88bf96a075bd" providerId="AD" clId="Web-{F8C22D65-730B-488E-F2DF-B33C99F32433}" dt="2025-09-09T05:36:57.118" v="760"/>
        <pc:sldMkLst>
          <pc:docMk/>
          <pc:sldMk cId="784599496" sldId="2147375970"/>
        </pc:sldMkLst>
      </pc:sldChg>
      <pc:sldChg chg="add replId">
        <pc:chgData name="Weissová Kristýna" userId="S::kristyna.weissova@mmr.cz::40116847-0f29-4efe-a1b8-88bf96a075bd" providerId="AD" clId="Web-{F8C22D65-730B-488E-F2DF-B33C99F32433}" dt="2025-09-09T05:59:14.620" v="1022"/>
        <pc:sldMkLst>
          <pc:docMk/>
          <pc:sldMk cId="3739954223" sldId="2147375971"/>
        </pc:sldMkLst>
      </pc:sldChg>
    </pc:docChg>
  </pc:docChgLst>
  <pc:docChgLst>
    <pc:chgData name="Košťálová Pavla" userId="S::pavla.kostalova@mmr.cz::fb3655b9-53e7-4957-986b-4909406ee6c7" providerId="AD" clId="Web-{B4F86559-44C9-CE16-F83E-0E0411654C56}"/>
    <pc:docChg chg="addSld modSld sldOrd">
      <pc:chgData name="Košťálová Pavla" userId="S::pavla.kostalova@mmr.cz::fb3655b9-53e7-4957-986b-4909406ee6c7" providerId="AD" clId="Web-{B4F86559-44C9-CE16-F83E-0E0411654C56}" dt="2025-09-09T19:09:58.923" v="51"/>
      <pc:docMkLst>
        <pc:docMk/>
      </pc:docMkLst>
      <pc:sldChg chg="modSp ord">
        <pc:chgData name="Košťálová Pavla" userId="S::pavla.kostalova@mmr.cz::fb3655b9-53e7-4957-986b-4909406ee6c7" providerId="AD" clId="Web-{B4F86559-44C9-CE16-F83E-0E0411654C56}" dt="2025-09-09T19:03:01.752" v="31" actId="20577"/>
        <pc:sldMkLst>
          <pc:docMk/>
          <pc:sldMk cId="2159330621" sldId="2147375975"/>
        </pc:sldMkLst>
        <pc:spChg chg="mod">
          <ac:chgData name="Košťálová Pavla" userId="S::pavla.kostalova@mmr.cz::fb3655b9-53e7-4957-986b-4909406ee6c7" providerId="AD" clId="Web-{B4F86559-44C9-CE16-F83E-0E0411654C56}" dt="2025-09-09T19:03:01.752" v="31" actId="20577"/>
          <ac:spMkLst>
            <pc:docMk/>
            <pc:sldMk cId="2159330621" sldId="2147375975"/>
            <ac:spMk id="2" creationId="{206C55F8-DB3C-05C3-12A9-9E4F7C127941}"/>
          </ac:spMkLst>
        </pc:spChg>
      </pc:sldChg>
      <pc:sldChg chg="add replId">
        <pc:chgData name="Košťálová Pavla" userId="S::pavla.kostalova@mmr.cz::fb3655b9-53e7-4957-986b-4909406ee6c7" providerId="AD" clId="Web-{B4F86559-44C9-CE16-F83E-0E0411654C56}" dt="2025-09-09T19:02:25.703" v="0"/>
        <pc:sldMkLst>
          <pc:docMk/>
          <pc:sldMk cId="2893635525" sldId="2147375978"/>
        </pc:sldMkLst>
      </pc:sldChg>
      <pc:sldChg chg="modSp add ord replId">
        <pc:chgData name="Košťálová Pavla" userId="S::pavla.kostalova@mmr.cz::fb3655b9-53e7-4957-986b-4909406ee6c7" providerId="AD" clId="Web-{B4F86559-44C9-CE16-F83E-0E0411654C56}" dt="2025-09-09T19:04:43.318" v="50" actId="20577"/>
        <pc:sldMkLst>
          <pc:docMk/>
          <pc:sldMk cId="1090902723" sldId="2147375979"/>
        </pc:sldMkLst>
        <pc:spChg chg="mod">
          <ac:chgData name="Košťálová Pavla" userId="S::pavla.kostalova@mmr.cz::fb3655b9-53e7-4957-986b-4909406ee6c7" providerId="AD" clId="Web-{B4F86559-44C9-CE16-F83E-0E0411654C56}" dt="2025-09-09T19:04:43.318" v="50" actId="20577"/>
          <ac:spMkLst>
            <pc:docMk/>
            <pc:sldMk cId="1090902723" sldId="2147375979"/>
            <ac:spMk id="2" creationId="{659E8CC1-16F5-38FA-BA14-D1728C6CEE01}"/>
          </ac:spMkLst>
        </pc:spChg>
      </pc:sldChg>
      <pc:sldChg chg="add replId">
        <pc:chgData name="Košťálová Pavla" userId="S::pavla.kostalova@mmr.cz::fb3655b9-53e7-4957-986b-4909406ee6c7" providerId="AD" clId="Web-{B4F86559-44C9-CE16-F83E-0E0411654C56}" dt="2025-09-09T19:09:58.923" v="51"/>
        <pc:sldMkLst>
          <pc:docMk/>
          <pc:sldMk cId="4191080503" sldId="2147375980"/>
        </pc:sldMkLst>
      </pc:sldChg>
    </pc:docChg>
  </pc:docChgLst>
  <pc:docChgLst>
    <pc:chgData name="Košťálová Pavla" userId="S::pavla.kostalova@mmr.cz::fb3655b9-53e7-4957-986b-4909406ee6c7" providerId="AD" clId="Web-{A2C79CF7-9B1D-CD5D-CC44-CEC1216B6AAA}"/>
    <pc:docChg chg="addSld delSld modSld sldOrd addMainMaster">
      <pc:chgData name="Košťálová Pavla" userId="S::pavla.kostalova@mmr.cz::fb3655b9-53e7-4957-986b-4909406ee6c7" providerId="AD" clId="Web-{A2C79CF7-9B1D-CD5D-CC44-CEC1216B6AAA}" dt="2025-09-09T14:28:55.127" v="49"/>
      <pc:docMkLst>
        <pc:docMk/>
      </pc:docMkLst>
      <pc:sldChg chg="add">
        <pc:chgData name="Košťálová Pavla" userId="S::pavla.kostalova@mmr.cz::fb3655b9-53e7-4957-986b-4909406ee6c7" providerId="AD" clId="Web-{A2C79CF7-9B1D-CD5D-CC44-CEC1216B6AAA}" dt="2025-09-09T14:27:13.421" v="29"/>
        <pc:sldMkLst>
          <pc:docMk/>
          <pc:sldMk cId="967778488" sldId="272"/>
        </pc:sldMkLst>
      </pc:sldChg>
      <pc:sldChg chg="add">
        <pc:chgData name="Košťálová Pavla" userId="S::pavla.kostalova@mmr.cz::fb3655b9-53e7-4957-986b-4909406ee6c7" providerId="AD" clId="Web-{A2C79CF7-9B1D-CD5D-CC44-CEC1216B6AAA}" dt="2025-09-09T14:27:12.843" v="27"/>
        <pc:sldMkLst>
          <pc:docMk/>
          <pc:sldMk cId="3751705817" sldId="605"/>
        </pc:sldMkLst>
      </pc:sldChg>
      <pc:sldChg chg="add">
        <pc:chgData name="Košťálová Pavla" userId="S::pavla.kostalova@mmr.cz::fb3655b9-53e7-4957-986b-4909406ee6c7" providerId="AD" clId="Web-{A2C79CF7-9B1D-CD5D-CC44-CEC1216B6AAA}" dt="2025-09-09T14:27:11.921" v="20"/>
        <pc:sldMkLst>
          <pc:docMk/>
          <pc:sldMk cId="3873504036" sldId="609"/>
        </pc:sldMkLst>
      </pc:sldChg>
      <pc:sldChg chg="add">
        <pc:chgData name="Košťálová Pavla" userId="S::pavla.kostalova@mmr.cz::fb3655b9-53e7-4957-986b-4909406ee6c7" providerId="AD" clId="Web-{A2C79CF7-9B1D-CD5D-CC44-CEC1216B6AAA}" dt="2025-09-09T14:27:12.718" v="26"/>
        <pc:sldMkLst>
          <pc:docMk/>
          <pc:sldMk cId="0" sldId="1827"/>
        </pc:sldMkLst>
      </pc:sldChg>
      <pc:sldChg chg="add">
        <pc:chgData name="Košťálová Pavla" userId="S::pavla.kostalova@mmr.cz::fb3655b9-53e7-4957-986b-4909406ee6c7" providerId="AD" clId="Web-{A2C79CF7-9B1D-CD5D-CC44-CEC1216B6AAA}" dt="2025-09-09T14:27:12.608" v="25"/>
        <pc:sldMkLst>
          <pc:docMk/>
          <pc:sldMk cId="2726639249" sldId="1846"/>
        </pc:sldMkLst>
      </pc:sldChg>
      <pc:sldChg chg="add">
        <pc:chgData name="Košťálová Pavla" userId="S::pavla.kostalova@mmr.cz::fb3655b9-53e7-4957-986b-4909406ee6c7" providerId="AD" clId="Web-{A2C79CF7-9B1D-CD5D-CC44-CEC1216B6AAA}" dt="2025-09-09T14:27:12.265" v="24"/>
        <pc:sldMkLst>
          <pc:docMk/>
          <pc:sldMk cId="2753570022" sldId="1851"/>
        </pc:sldMkLst>
      </pc:sldChg>
      <pc:sldChg chg="add">
        <pc:chgData name="Košťálová Pavla" userId="S::pavla.kostalova@mmr.cz::fb3655b9-53e7-4957-986b-4909406ee6c7" providerId="AD" clId="Web-{A2C79CF7-9B1D-CD5D-CC44-CEC1216B6AAA}" dt="2025-09-09T14:27:12.983" v="28"/>
        <pc:sldMkLst>
          <pc:docMk/>
          <pc:sldMk cId="1254739400" sldId="1868"/>
        </pc:sldMkLst>
      </pc:sldChg>
      <pc:sldChg chg="add">
        <pc:chgData name="Košťálová Pavla" userId="S::pavla.kostalova@mmr.cz::fb3655b9-53e7-4957-986b-4909406ee6c7" providerId="AD" clId="Web-{A2C79CF7-9B1D-CD5D-CC44-CEC1216B6AAA}" dt="2025-09-09T14:27:13.530" v="30"/>
        <pc:sldMkLst>
          <pc:docMk/>
          <pc:sldMk cId="47615984" sldId="1869"/>
        </pc:sldMkLst>
      </pc:sldChg>
      <pc:sldChg chg="add">
        <pc:chgData name="Košťálová Pavla" userId="S::pavla.kostalova@mmr.cz::fb3655b9-53e7-4957-986b-4909406ee6c7" providerId="AD" clId="Web-{A2C79CF7-9B1D-CD5D-CC44-CEC1216B6AAA}" dt="2025-09-09T14:27:11.405" v="18"/>
        <pc:sldMkLst>
          <pc:docMk/>
          <pc:sldMk cId="0" sldId="1870"/>
        </pc:sldMkLst>
      </pc:sldChg>
      <pc:sldChg chg="add">
        <pc:chgData name="Košťálová Pavla" userId="S::pavla.kostalova@mmr.cz::fb3655b9-53e7-4957-986b-4909406ee6c7" providerId="AD" clId="Web-{A2C79CF7-9B1D-CD5D-CC44-CEC1216B6AAA}" dt="2025-09-09T14:27:12.093" v="22"/>
        <pc:sldMkLst>
          <pc:docMk/>
          <pc:sldMk cId="2001943917" sldId="1875"/>
        </pc:sldMkLst>
      </pc:sldChg>
      <pc:sldChg chg="add">
        <pc:chgData name="Košťálová Pavla" userId="S::pavla.kostalova@mmr.cz::fb3655b9-53e7-4957-986b-4909406ee6c7" providerId="AD" clId="Web-{A2C79CF7-9B1D-CD5D-CC44-CEC1216B6AAA}" dt="2025-09-09T14:27:12.218" v="23"/>
        <pc:sldMkLst>
          <pc:docMk/>
          <pc:sldMk cId="3425439173" sldId="1886"/>
        </pc:sldMkLst>
      </pc:sldChg>
      <pc:sldChg chg="add">
        <pc:chgData name="Košťálová Pavla" userId="S::pavla.kostalova@mmr.cz::fb3655b9-53e7-4957-986b-4909406ee6c7" providerId="AD" clId="Web-{A2C79CF7-9B1D-CD5D-CC44-CEC1216B6AAA}" dt="2025-09-09T14:27:13.655" v="31"/>
        <pc:sldMkLst>
          <pc:docMk/>
          <pc:sldMk cId="29498602" sldId="1887"/>
        </pc:sldMkLst>
      </pc:sldChg>
      <pc:sldChg chg="add">
        <pc:chgData name="Košťálová Pavla" userId="S::pavla.kostalova@mmr.cz::fb3655b9-53e7-4957-986b-4909406ee6c7" providerId="AD" clId="Web-{A2C79CF7-9B1D-CD5D-CC44-CEC1216B6AAA}" dt="2025-09-09T14:27:14.343" v="33"/>
        <pc:sldMkLst>
          <pc:docMk/>
          <pc:sldMk cId="2370148125" sldId="1888"/>
        </pc:sldMkLst>
      </pc:sldChg>
      <pc:sldChg chg="add">
        <pc:chgData name="Košťálová Pavla" userId="S::pavla.kostalova@mmr.cz::fb3655b9-53e7-4957-986b-4909406ee6c7" providerId="AD" clId="Web-{A2C79CF7-9B1D-CD5D-CC44-CEC1216B6AAA}" dt="2025-09-09T14:27:14.499" v="34"/>
        <pc:sldMkLst>
          <pc:docMk/>
          <pc:sldMk cId="920829604" sldId="1889"/>
        </pc:sldMkLst>
      </pc:sldChg>
      <pc:sldChg chg="add">
        <pc:chgData name="Košťálová Pavla" userId="S::pavla.kostalova@mmr.cz::fb3655b9-53e7-4957-986b-4909406ee6c7" providerId="AD" clId="Web-{A2C79CF7-9B1D-CD5D-CC44-CEC1216B6AAA}" dt="2025-09-09T14:27:14.765" v="36"/>
        <pc:sldMkLst>
          <pc:docMk/>
          <pc:sldMk cId="426846913" sldId="1890"/>
        </pc:sldMkLst>
      </pc:sldChg>
      <pc:sldChg chg="add">
        <pc:chgData name="Košťálová Pavla" userId="S::pavla.kostalova@mmr.cz::fb3655b9-53e7-4957-986b-4909406ee6c7" providerId="AD" clId="Web-{A2C79CF7-9B1D-CD5D-CC44-CEC1216B6AAA}" dt="2025-09-09T14:27:15.062" v="38"/>
        <pc:sldMkLst>
          <pc:docMk/>
          <pc:sldMk cId="3806477668" sldId="1891"/>
        </pc:sldMkLst>
      </pc:sldChg>
      <pc:sldChg chg="add">
        <pc:chgData name="Košťálová Pavla" userId="S::pavla.kostalova@mmr.cz::fb3655b9-53e7-4957-986b-4909406ee6c7" providerId="AD" clId="Web-{A2C79CF7-9B1D-CD5D-CC44-CEC1216B6AAA}" dt="2025-09-09T14:27:15.343" v="40"/>
        <pc:sldMkLst>
          <pc:docMk/>
          <pc:sldMk cId="2310827912" sldId="1892"/>
        </pc:sldMkLst>
      </pc:sldChg>
      <pc:sldChg chg="add">
        <pc:chgData name="Košťálová Pavla" userId="S::pavla.kostalova@mmr.cz::fb3655b9-53e7-4957-986b-4909406ee6c7" providerId="AD" clId="Web-{A2C79CF7-9B1D-CD5D-CC44-CEC1216B6AAA}" dt="2025-09-09T14:27:15.202" v="39"/>
        <pc:sldMkLst>
          <pc:docMk/>
          <pc:sldMk cId="552484237" sldId="1894"/>
        </pc:sldMkLst>
      </pc:sldChg>
      <pc:sldChg chg="add">
        <pc:chgData name="Košťálová Pavla" userId="S::pavla.kostalova@mmr.cz::fb3655b9-53e7-4957-986b-4909406ee6c7" providerId="AD" clId="Web-{A2C79CF7-9B1D-CD5D-CC44-CEC1216B6AAA}" dt="2025-09-09T14:27:14.624" v="35"/>
        <pc:sldMkLst>
          <pc:docMk/>
          <pc:sldMk cId="1959730543" sldId="1895"/>
        </pc:sldMkLst>
      </pc:sldChg>
      <pc:sldChg chg="add">
        <pc:chgData name="Košťálová Pavla" userId="S::pavla.kostalova@mmr.cz::fb3655b9-53e7-4957-986b-4909406ee6c7" providerId="AD" clId="Web-{A2C79CF7-9B1D-CD5D-CC44-CEC1216B6AAA}" dt="2025-09-09T14:27:14.937" v="37"/>
        <pc:sldMkLst>
          <pc:docMk/>
          <pc:sldMk cId="2345546770" sldId="1897"/>
        </pc:sldMkLst>
      </pc:sldChg>
      <pc:sldChg chg="add">
        <pc:chgData name="Košťálová Pavla" userId="S::pavla.kostalova@mmr.cz::fb3655b9-53e7-4957-986b-4909406ee6c7" providerId="AD" clId="Web-{A2C79CF7-9B1D-CD5D-CC44-CEC1216B6AAA}" dt="2025-09-09T14:27:14.202" v="32"/>
        <pc:sldMkLst>
          <pc:docMk/>
          <pc:sldMk cId="845493496" sldId="1898"/>
        </pc:sldMkLst>
      </pc:sldChg>
      <pc:sldChg chg="add">
        <pc:chgData name="Košťálová Pavla" userId="S::pavla.kostalova@mmr.cz::fb3655b9-53e7-4957-986b-4909406ee6c7" providerId="AD" clId="Web-{A2C79CF7-9B1D-CD5D-CC44-CEC1216B6AAA}" dt="2025-09-09T14:27:11.968" v="21"/>
        <pc:sldMkLst>
          <pc:docMk/>
          <pc:sldMk cId="2390971088" sldId="1899"/>
        </pc:sldMkLst>
      </pc:sldChg>
      <pc:sldChg chg="add">
        <pc:chgData name="Košťálová Pavla" userId="S::pavla.kostalova@mmr.cz::fb3655b9-53e7-4957-986b-4909406ee6c7" providerId="AD" clId="Web-{A2C79CF7-9B1D-CD5D-CC44-CEC1216B6AAA}" dt="2025-09-09T14:27:15.452" v="41"/>
        <pc:sldMkLst>
          <pc:docMk/>
          <pc:sldMk cId="2893225743" sldId="1900"/>
        </pc:sldMkLst>
      </pc:sldChg>
      <pc:sldChg chg="modSp add">
        <pc:chgData name="Košťálová Pavla" userId="S::pavla.kostalova@mmr.cz::fb3655b9-53e7-4957-986b-4909406ee6c7" providerId="AD" clId="Web-{A2C79CF7-9B1D-CD5D-CC44-CEC1216B6AAA}" dt="2025-09-09T14:19:38.847" v="12" actId="20577"/>
        <pc:sldMkLst>
          <pc:docMk/>
          <pc:sldMk cId="2277844832" sldId="2145707445"/>
        </pc:sldMkLst>
        <pc:spChg chg="mod">
          <ac:chgData name="Košťálová Pavla" userId="S::pavla.kostalova@mmr.cz::fb3655b9-53e7-4957-986b-4909406ee6c7" providerId="AD" clId="Web-{A2C79CF7-9B1D-CD5D-CC44-CEC1216B6AAA}" dt="2025-09-09T14:19:25.097" v="7" actId="20577"/>
          <ac:spMkLst>
            <pc:docMk/>
            <pc:sldMk cId="2277844832" sldId="2145707445"/>
            <ac:spMk id="3" creationId="{3D46920C-395D-03CE-07B9-EC73DD9B23B7}"/>
          </ac:spMkLst>
        </pc:spChg>
        <pc:spChg chg="mod">
          <ac:chgData name="Košťálová Pavla" userId="S::pavla.kostalova@mmr.cz::fb3655b9-53e7-4957-986b-4909406ee6c7" providerId="AD" clId="Web-{A2C79CF7-9B1D-CD5D-CC44-CEC1216B6AAA}" dt="2025-09-09T14:19:38.847" v="12" actId="20577"/>
          <ac:spMkLst>
            <pc:docMk/>
            <pc:sldMk cId="2277844832" sldId="2145707445"/>
            <ac:spMk id="4" creationId="{DBBA1076-6B4B-BE2E-2A7B-A623DC64BD54}"/>
          </ac:spMkLst>
        </pc:spChg>
      </pc:sldChg>
      <pc:sldChg chg="add">
        <pc:chgData name="Košťálová Pavla" userId="S::pavla.kostalova@mmr.cz::fb3655b9-53e7-4957-986b-4909406ee6c7" providerId="AD" clId="Web-{A2C79CF7-9B1D-CD5D-CC44-CEC1216B6AAA}" dt="2025-09-09T14:17:52.595" v="2"/>
        <pc:sldMkLst>
          <pc:docMk/>
          <pc:sldMk cId="851397258" sldId="2145707446"/>
        </pc:sldMkLst>
      </pc:sldChg>
      <pc:sldChg chg="modSp">
        <pc:chgData name="Košťálová Pavla" userId="S::pavla.kostalova@mmr.cz::fb3655b9-53e7-4957-986b-4909406ee6c7" providerId="AD" clId="Web-{A2C79CF7-9B1D-CD5D-CC44-CEC1216B6AAA}" dt="2025-09-09T14:21:39.897" v="16"/>
        <pc:sldMkLst>
          <pc:docMk/>
          <pc:sldMk cId="2532388755" sldId="2147375953"/>
        </pc:sldMkLst>
        <pc:spChg chg="mod">
          <ac:chgData name="Košťálová Pavla" userId="S::pavla.kostalova@mmr.cz::fb3655b9-53e7-4957-986b-4909406ee6c7" providerId="AD" clId="Web-{A2C79CF7-9B1D-CD5D-CC44-CEC1216B6AAA}" dt="2025-09-09T14:21:39.897" v="16"/>
          <ac:spMkLst>
            <pc:docMk/>
            <pc:sldMk cId="2532388755" sldId="2147375953"/>
            <ac:spMk id="2" creationId="{989DAB11-7F1A-7D53-458B-B5E6F0389B8E}"/>
          </ac:spMkLst>
        </pc:spChg>
      </pc:sldChg>
      <pc:sldChg chg="del">
        <pc:chgData name="Košťálová Pavla" userId="S::pavla.kostalova@mmr.cz::fb3655b9-53e7-4957-986b-4909406ee6c7" providerId="AD" clId="Web-{A2C79CF7-9B1D-CD5D-CC44-CEC1216B6AAA}" dt="2025-09-09T14:19:50.394" v="13"/>
        <pc:sldMkLst>
          <pc:docMk/>
          <pc:sldMk cId="1918482965" sldId="2147375968"/>
        </pc:sldMkLst>
      </pc:sldChg>
      <pc:sldChg chg="new del">
        <pc:chgData name="Košťálová Pavla" userId="S::pavla.kostalova@mmr.cz::fb3655b9-53e7-4957-986b-4909406ee6c7" providerId="AD" clId="Web-{A2C79CF7-9B1D-CD5D-CC44-CEC1216B6AAA}" dt="2025-09-09T14:19:01.221" v="3"/>
        <pc:sldMkLst>
          <pc:docMk/>
          <pc:sldMk cId="1003048313" sldId="2147375972"/>
        </pc:sldMkLst>
      </pc:sldChg>
      <pc:sldChg chg="add del ord replId">
        <pc:chgData name="Košťálová Pavla" userId="S::pavla.kostalova@mmr.cz::fb3655b9-53e7-4957-986b-4909406ee6c7" providerId="AD" clId="Web-{A2C79CF7-9B1D-CD5D-CC44-CEC1216B6AAA}" dt="2025-09-09T14:27:55.969" v="44"/>
        <pc:sldMkLst>
          <pc:docMk/>
          <pc:sldMk cId="4063146641" sldId="2147375972"/>
        </pc:sldMkLst>
      </pc:sldChg>
      <pc:sldChg chg="new del">
        <pc:chgData name="Košťálová Pavla" userId="S::pavla.kostalova@mmr.cz::fb3655b9-53e7-4957-986b-4909406ee6c7" providerId="AD" clId="Web-{A2C79CF7-9B1D-CD5D-CC44-CEC1216B6AAA}" dt="2025-09-09T14:28:02.375" v="45"/>
        <pc:sldMkLst>
          <pc:docMk/>
          <pc:sldMk cId="1710975326" sldId="2147375973"/>
        </pc:sldMkLst>
      </pc:sldChg>
      <pc:sldChg chg="add">
        <pc:chgData name="Košťálová Pavla" userId="S::pavla.kostalova@mmr.cz::fb3655b9-53e7-4957-986b-4909406ee6c7" providerId="AD" clId="Web-{A2C79CF7-9B1D-CD5D-CC44-CEC1216B6AAA}" dt="2025-09-09T14:27:11.655" v="19"/>
        <pc:sldMkLst>
          <pc:docMk/>
          <pc:sldMk cId="1037331669" sldId="2147375974"/>
        </pc:sldMkLst>
      </pc:sldChg>
      <pc:sldChg chg="new del">
        <pc:chgData name="Košťálová Pavla" userId="S::pavla.kostalova@mmr.cz::fb3655b9-53e7-4957-986b-4909406ee6c7" providerId="AD" clId="Web-{A2C79CF7-9B1D-CD5D-CC44-CEC1216B6AAA}" dt="2025-09-09T14:28:31.626" v="47"/>
        <pc:sldMkLst>
          <pc:docMk/>
          <pc:sldMk cId="1355283961" sldId="2147375975"/>
        </pc:sldMkLst>
      </pc:sldChg>
      <pc:sldChg chg="add ord replId">
        <pc:chgData name="Košťálová Pavla" userId="S::pavla.kostalova@mmr.cz::fb3655b9-53e7-4957-986b-4909406ee6c7" providerId="AD" clId="Web-{A2C79CF7-9B1D-CD5D-CC44-CEC1216B6AAA}" dt="2025-09-09T14:28:55.127" v="49"/>
        <pc:sldMkLst>
          <pc:docMk/>
          <pc:sldMk cId="2159330621" sldId="2147375975"/>
        </pc:sldMkLst>
      </pc:sldChg>
      <pc:sldMasterChg chg="add addSldLayout">
        <pc:chgData name="Košťálová Pavla" userId="S::pavla.kostalova@mmr.cz::fb3655b9-53e7-4957-986b-4909406ee6c7" providerId="AD" clId="Web-{A2C79CF7-9B1D-CD5D-CC44-CEC1216B6AAA}" dt="2025-09-09T14:27:11.655" v="19"/>
        <pc:sldMasterMkLst>
          <pc:docMk/>
          <pc:sldMasterMk cId="0" sldId="2147483676"/>
        </pc:sldMasterMkLst>
        <pc:sldLayoutChg chg="add">
          <pc:chgData name="Košťálová Pavla" userId="S::pavla.kostalova@mmr.cz::fb3655b9-53e7-4957-986b-4909406ee6c7" providerId="AD" clId="Web-{A2C79CF7-9B1D-CD5D-CC44-CEC1216B6AAA}" dt="2025-09-09T14:27:11.655" v="19"/>
          <pc:sldLayoutMkLst>
            <pc:docMk/>
            <pc:sldMasterMk cId="0" sldId="2147483676"/>
            <pc:sldLayoutMk cId="0" sldId="2147483652"/>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0" sldId="2147483654"/>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0" sldId="2147483656"/>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0" sldId="2147483657"/>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0" sldId="2147483672"/>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0" sldId="2147483673"/>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2311700077" sldId="2147483679"/>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979332838" sldId="2147483680"/>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464087315" sldId="2147483681"/>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4033953350" sldId="2147483690"/>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679953370" sldId="2147483691"/>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2268078674" sldId="2147483692"/>
          </pc:sldLayoutMkLst>
        </pc:sldLayoutChg>
        <pc:sldLayoutChg chg="add">
          <pc:chgData name="Košťálová Pavla" userId="S::pavla.kostalova@mmr.cz::fb3655b9-53e7-4957-986b-4909406ee6c7" providerId="AD" clId="Web-{A2C79CF7-9B1D-CD5D-CC44-CEC1216B6AAA}" dt="2025-09-09T14:27:11.655" v="19"/>
          <pc:sldLayoutMkLst>
            <pc:docMk/>
            <pc:sldMasterMk cId="0" sldId="2147483676"/>
            <pc:sldLayoutMk cId="1099597297" sldId="2147483695"/>
          </pc:sldLayoutMkLst>
        </pc:sldLayoutChg>
      </pc:sldMasterChg>
      <pc:sldMasterChg chg="add addSldLayout">
        <pc:chgData name="Košťálová Pavla" userId="S::pavla.kostalova@mmr.cz::fb3655b9-53e7-4957-986b-4909406ee6c7" providerId="AD" clId="Web-{A2C79CF7-9B1D-CD5D-CC44-CEC1216B6AAA}" dt="2025-09-09T14:27:11.405" v="18"/>
        <pc:sldMasterMkLst>
          <pc:docMk/>
          <pc:sldMasterMk cId="1011517631" sldId="2147483696"/>
        </pc:sldMasterMkLst>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378037238" sldId="2147483697"/>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1215562702" sldId="2147483698"/>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3760493440" sldId="2147483700"/>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2218723595" sldId="2147483701"/>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303717843" sldId="2147483702"/>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3963936709" sldId="2147483703"/>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2703151592" sldId="2147483704"/>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2580126133" sldId="2147483705"/>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679719317" sldId="2147483706"/>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1126557976" sldId="2147483707"/>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2700601820" sldId="2147483708"/>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2559100061" sldId="2147483709"/>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710388074" sldId="2147483710"/>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2829533913" sldId="2147483711"/>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3882581400" sldId="2147483712"/>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1168318817" sldId="2147483713"/>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2155028894" sldId="2147483714"/>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1536328791" sldId="2147483715"/>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375827071" sldId="2147483716"/>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3940925264" sldId="2147483717"/>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3296011405" sldId="2147483718"/>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1534656398" sldId="2147483719"/>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595499934" sldId="2147483720"/>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976028871" sldId="2147483721"/>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601674768" sldId="2147483722"/>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1245173698" sldId="2147483723"/>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4053291772" sldId="2147483724"/>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1267127571" sldId="2147483725"/>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2052541304" sldId="2147483726"/>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2872997502" sldId="2147483727"/>
          </pc:sldLayoutMkLst>
        </pc:sldLayoutChg>
        <pc:sldLayoutChg chg="add">
          <pc:chgData name="Košťálová Pavla" userId="S::pavla.kostalova@mmr.cz::fb3655b9-53e7-4957-986b-4909406ee6c7" providerId="AD" clId="Web-{A2C79CF7-9B1D-CD5D-CC44-CEC1216B6AAA}" dt="2025-09-09T14:27:11.405" v="18"/>
          <pc:sldLayoutMkLst>
            <pc:docMk/>
            <pc:sldMasterMk cId="1011517631" sldId="2147483696"/>
            <pc:sldLayoutMk cId="1164407579" sldId="2147483728"/>
          </pc:sldLayoutMkLst>
        </pc:sldLayoutChg>
      </pc:sldMasterChg>
    </pc:docChg>
  </pc:docChgLst>
  <pc:docChgLst>
    <pc:chgData name="Papež Kamil" userId="S::kamil.papez@mmr.cz::aa27ec93-dc52-4f03-a33b-07fe73c35624" providerId="AD" clId="Web-{8C7F3262-04BF-F7E4-762D-288D497EB45F}"/>
    <pc:docChg chg="addSld delSld modSld">
      <pc:chgData name="Papež Kamil" userId="S::kamil.papez@mmr.cz::aa27ec93-dc52-4f03-a33b-07fe73c35624" providerId="AD" clId="Web-{8C7F3262-04BF-F7E4-762D-288D497EB45F}" dt="2025-09-09T19:03:36.127" v="121"/>
      <pc:docMkLst>
        <pc:docMk/>
      </pc:docMkLst>
      <pc:sldChg chg="mod modShow">
        <pc:chgData name="Papež Kamil" userId="S::kamil.papez@mmr.cz::aa27ec93-dc52-4f03-a33b-07fe73c35624" providerId="AD" clId="Web-{8C7F3262-04BF-F7E4-762D-288D497EB45F}" dt="2025-09-09T18:59:47.603" v="106"/>
        <pc:sldMkLst>
          <pc:docMk/>
          <pc:sldMk cId="3007970856" sldId="2145707407"/>
        </pc:sldMkLst>
      </pc:sldChg>
      <pc:sldChg chg="modSp">
        <pc:chgData name="Papež Kamil" userId="S::kamil.papez@mmr.cz::aa27ec93-dc52-4f03-a33b-07fe73c35624" providerId="AD" clId="Web-{8C7F3262-04BF-F7E4-762D-288D497EB45F}" dt="2025-09-09T18:58:43.647" v="103" actId="20577"/>
        <pc:sldMkLst>
          <pc:docMk/>
          <pc:sldMk cId="796137716" sldId="2145707415"/>
        </pc:sldMkLst>
      </pc:sldChg>
      <pc:sldChg chg="mod modShow">
        <pc:chgData name="Papež Kamil" userId="S::kamil.papez@mmr.cz::aa27ec93-dc52-4f03-a33b-07fe73c35624" providerId="AD" clId="Web-{8C7F3262-04BF-F7E4-762D-288D497EB45F}" dt="2025-09-09T19:02:03.764" v="116"/>
        <pc:sldMkLst>
          <pc:docMk/>
          <pc:sldMk cId="453328397" sldId="2145707418"/>
        </pc:sldMkLst>
      </pc:sldChg>
      <pc:sldChg chg="mod modShow">
        <pc:chgData name="Papež Kamil" userId="S::kamil.papez@mmr.cz::aa27ec93-dc52-4f03-a33b-07fe73c35624" providerId="AD" clId="Web-{8C7F3262-04BF-F7E4-762D-288D497EB45F}" dt="2025-09-09T19:00:28.182" v="109"/>
        <pc:sldMkLst>
          <pc:docMk/>
          <pc:sldMk cId="2773494271" sldId="2145707419"/>
        </pc:sldMkLst>
      </pc:sldChg>
      <pc:sldChg chg="mod modShow">
        <pc:chgData name="Papež Kamil" userId="S::kamil.papez@mmr.cz::aa27ec93-dc52-4f03-a33b-07fe73c35624" providerId="AD" clId="Web-{8C7F3262-04BF-F7E4-762D-288D497EB45F}" dt="2025-09-09T19:01:19.684" v="111"/>
        <pc:sldMkLst>
          <pc:docMk/>
          <pc:sldMk cId="3731147642" sldId="2145707422"/>
        </pc:sldMkLst>
      </pc:sldChg>
      <pc:sldChg chg="mod modShow">
        <pc:chgData name="Papež Kamil" userId="S::kamil.papez@mmr.cz::aa27ec93-dc52-4f03-a33b-07fe73c35624" providerId="AD" clId="Web-{8C7F3262-04BF-F7E4-762D-288D497EB45F}" dt="2025-09-09T19:00:04.806" v="107"/>
        <pc:sldMkLst>
          <pc:docMk/>
          <pc:sldMk cId="777394138" sldId="2145707423"/>
        </pc:sldMkLst>
      </pc:sldChg>
      <pc:sldChg chg="mod modShow">
        <pc:chgData name="Papež Kamil" userId="S::kamil.papez@mmr.cz::aa27ec93-dc52-4f03-a33b-07fe73c35624" providerId="AD" clId="Web-{8C7F3262-04BF-F7E4-762D-288D497EB45F}" dt="2025-09-09T19:01:22.919" v="112"/>
        <pc:sldMkLst>
          <pc:docMk/>
          <pc:sldMk cId="2505326134" sldId="2145707424"/>
        </pc:sldMkLst>
      </pc:sldChg>
      <pc:sldChg chg="mod modShow">
        <pc:chgData name="Papež Kamil" userId="S::kamil.papez@mmr.cz::aa27ec93-dc52-4f03-a33b-07fe73c35624" providerId="AD" clId="Web-{8C7F3262-04BF-F7E4-762D-288D497EB45F}" dt="2025-09-09T19:02:00.092" v="115"/>
        <pc:sldMkLst>
          <pc:docMk/>
          <pc:sldMk cId="2533733556" sldId="2145707425"/>
        </pc:sldMkLst>
      </pc:sldChg>
      <pc:sldChg chg="mod modShow">
        <pc:chgData name="Papež Kamil" userId="S::kamil.papez@mmr.cz::aa27ec93-dc52-4f03-a33b-07fe73c35624" providerId="AD" clId="Web-{8C7F3262-04BF-F7E4-762D-288D497EB45F}" dt="2025-09-09T19:00:33.792" v="110"/>
        <pc:sldMkLst>
          <pc:docMk/>
          <pc:sldMk cId="1879668839" sldId="2145707427"/>
        </pc:sldMkLst>
      </pc:sldChg>
      <pc:sldChg chg="mod modShow">
        <pc:chgData name="Papež Kamil" userId="S::kamil.papez@mmr.cz::aa27ec93-dc52-4f03-a33b-07fe73c35624" providerId="AD" clId="Web-{8C7F3262-04BF-F7E4-762D-288D497EB45F}" dt="2025-09-09T19:02:30.421" v="117"/>
        <pc:sldMkLst>
          <pc:docMk/>
          <pc:sldMk cId="1120452062" sldId="2145707431"/>
        </pc:sldMkLst>
      </pc:sldChg>
      <pc:sldChg chg="mod modShow">
        <pc:chgData name="Papež Kamil" userId="S::kamil.papez@mmr.cz::aa27ec93-dc52-4f03-a33b-07fe73c35624" providerId="AD" clId="Web-{8C7F3262-04BF-F7E4-762D-288D497EB45F}" dt="2025-09-09T19:02:55.329" v="118"/>
        <pc:sldMkLst>
          <pc:docMk/>
          <pc:sldMk cId="3922368084" sldId="2145707433"/>
        </pc:sldMkLst>
      </pc:sldChg>
      <pc:sldChg chg="mod modShow">
        <pc:chgData name="Papež Kamil" userId="S::kamil.papez@mmr.cz::aa27ec93-dc52-4f03-a33b-07fe73c35624" providerId="AD" clId="Web-{8C7F3262-04BF-F7E4-762D-288D497EB45F}" dt="2025-09-09T19:03:36.127" v="121"/>
        <pc:sldMkLst>
          <pc:docMk/>
          <pc:sldMk cId="1411330243" sldId="2145707435"/>
        </pc:sldMkLst>
      </pc:sldChg>
      <pc:sldChg chg="mod modShow">
        <pc:chgData name="Papež Kamil" userId="S::kamil.papez@mmr.cz::aa27ec93-dc52-4f03-a33b-07fe73c35624" providerId="AD" clId="Web-{8C7F3262-04BF-F7E4-762D-288D497EB45F}" dt="2025-09-09T18:59:05.632" v="105"/>
        <pc:sldMkLst>
          <pc:docMk/>
          <pc:sldMk cId="4225793887" sldId="2145707443"/>
        </pc:sldMkLst>
      </pc:sldChg>
      <pc:sldChg chg="add del mod modShow">
        <pc:chgData name="Papež Kamil" userId="S::kamil.papez@mmr.cz::aa27ec93-dc52-4f03-a33b-07fe73c35624" providerId="AD" clId="Web-{8C7F3262-04BF-F7E4-762D-288D497EB45F}" dt="2025-09-09T18:57:57.317" v="70"/>
        <pc:sldMkLst>
          <pc:docMk/>
          <pc:sldMk cId="4093238162" sldId="2145707444"/>
        </pc:sldMkLst>
      </pc:sldChg>
      <pc:sldChg chg="modSp">
        <pc:chgData name="Papež Kamil" userId="S::kamil.papez@mmr.cz::aa27ec93-dc52-4f03-a33b-07fe73c35624" providerId="AD" clId="Web-{8C7F3262-04BF-F7E4-762D-288D497EB45F}" dt="2025-09-09T18:56:21.579" v="67" actId="20577"/>
        <pc:sldMkLst>
          <pc:docMk/>
          <pc:sldMk cId="2277844832" sldId="2145707445"/>
        </pc:sldMkLst>
        <pc:spChg chg="mod">
          <ac:chgData name="Papež Kamil" userId="S::kamil.papez@mmr.cz::aa27ec93-dc52-4f03-a33b-07fe73c35624" providerId="AD" clId="Web-{8C7F3262-04BF-F7E4-762D-288D497EB45F}" dt="2025-09-09T18:56:21.579" v="67" actId="20577"/>
          <ac:spMkLst>
            <pc:docMk/>
            <pc:sldMk cId="2277844832" sldId="2145707445"/>
            <ac:spMk id="3" creationId="{3D46920C-395D-03CE-07B9-EC73DD9B23B7}"/>
          </ac:spMkLst>
        </pc:spChg>
        <pc:spChg chg="mod">
          <ac:chgData name="Papež Kamil" userId="S::kamil.papez@mmr.cz::aa27ec93-dc52-4f03-a33b-07fe73c35624" providerId="AD" clId="Web-{8C7F3262-04BF-F7E4-762D-288D497EB45F}" dt="2025-09-09T18:48:08.369" v="27" actId="20577"/>
          <ac:spMkLst>
            <pc:docMk/>
            <pc:sldMk cId="2277844832" sldId="2145707445"/>
            <ac:spMk id="4" creationId="{DBBA1076-6B4B-BE2E-2A7B-A623DC64BD54}"/>
          </ac:spMkLst>
        </pc:spChg>
      </pc:sldChg>
      <pc:sldChg chg="mod modShow">
        <pc:chgData name="Papež Kamil" userId="S::kamil.papez@mmr.cz::aa27ec93-dc52-4f03-a33b-07fe73c35624" providerId="AD" clId="Web-{8C7F3262-04BF-F7E4-762D-288D497EB45F}" dt="2025-09-09T19:03:32.627" v="120"/>
        <pc:sldMkLst>
          <pc:docMk/>
          <pc:sldMk cId="2532388755" sldId="2147375953"/>
        </pc:sldMkLst>
      </pc:sldChg>
      <pc:sldChg chg="addSp delSp modSp new del">
        <pc:chgData name="Papež Kamil" userId="S::kamil.papez@mmr.cz::aa27ec93-dc52-4f03-a33b-07fe73c35624" providerId="AD" clId="Web-{8C7F3262-04BF-F7E4-762D-288D497EB45F}" dt="2025-09-09T18:56:01.062" v="65"/>
        <pc:sldMkLst>
          <pc:docMk/>
          <pc:sldMk cId="56216015" sldId="2147375978"/>
        </pc:sldMkLst>
      </pc:sldChg>
      <pc:sldChg chg="add del replId">
        <pc:chgData name="Papež Kamil" userId="S::kamil.papez@mmr.cz::aa27ec93-dc52-4f03-a33b-07fe73c35624" providerId="AD" clId="Web-{8C7F3262-04BF-F7E4-762D-288D497EB45F}" dt="2025-09-09T18:56:05.078" v="66"/>
        <pc:sldMkLst>
          <pc:docMk/>
          <pc:sldMk cId="2992239042" sldId="2147375979"/>
        </pc:sldMkLst>
      </pc:sldChg>
    </pc:docChg>
  </pc:docChgLst>
  <pc:docChgLst>
    <pc:chgData name="Weissová Kristýna" userId="S::kristyna.weissova@mmr.cz::40116847-0f29-4efe-a1b8-88bf96a075bd" providerId="AD" clId="Web-{3442FF9F-2AB0-05B3-1173-71940F9DF485}"/>
    <pc:docChg chg="modSld">
      <pc:chgData name="Weissová Kristýna" userId="S::kristyna.weissova@mmr.cz::40116847-0f29-4efe-a1b8-88bf96a075bd" providerId="AD" clId="Web-{3442FF9F-2AB0-05B3-1173-71940F9DF485}" dt="2025-09-09T13:43:05.297" v="24" actId="20577"/>
      <pc:docMkLst>
        <pc:docMk/>
      </pc:docMkLst>
      <pc:sldChg chg="modSp">
        <pc:chgData name="Weissová Kristýna" userId="S::kristyna.weissova@mmr.cz::40116847-0f29-4efe-a1b8-88bf96a075bd" providerId="AD" clId="Web-{3442FF9F-2AB0-05B3-1173-71940F9DF485}" dt="2025-09-09T13:43:05.297" v="24" actId="20577"/>
        <pc:sldMkLst>
          <pc:docMk/>
          <pc:sldMk cId="3194915111" sldId="2147375967"/>
        </pc:sldMkLst>
        <pc:spChg chg="mod">
          <ac:chgData name="Weissová Kristýna" userId="S::kristyna.weissova@mmr.cz::40116847-0f29-4efe-a1b8-88bf96a075bd" providerId="AD" clId="Web-{3442FF9F-2AB0-05B3-1173-71940F9DF485}" dt="2025-09-09T13:43:05.297" v="24" actId="20577"/>
          <ac:spMkLst>
            <pc:docMk/>
            <pc:sldMk cId="3194915111" sldId="2147375967"/>
            <ac:spMk id="3" creationId="{79BFD934-D538-FCBE-611B-DE1951495F9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3" Type="http://schemas.openxmlformats.org/officeDocument/2006/relationships/oleObject" Target="file:///G:\Sd&#237;len&#233;%20disky\01_PROJEKTY\PRU\PRU2_03%20Samospr&#225;vy\EDU3_02a_&#344;&#237;zen&#237;_fragmentace_samospravy\03_advokacie_samospravy\Prezentace\25_6_Event_donorstvo\Data_excel\Eurostat_PL_CZ_og.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G:\Sd&#237;len&#233;%20disky\01_PROJEKTY\PRU\PRU2_03%20Samospr&#225;vy\EDU3_02a_&#344;&#237;zen&#237;_fragmentace_samospravy\03_advokacie_samospravy\Prezentace\25_6_Event_donorstvo\Data_excel\Eurostat_PL_CZ_og.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Řada 1</c:v>
                </c:pt>
              </c:strCache>
            </c:strRef>
          </c:tx>
          <c:spPr>
            <a:solidFill>
              <a:schemeClr val="accent1"/>
            </a:solidFill>
            <a:ln>
              <a:noFill/>
            </a:ln>
            <a:effectLst/>
          </c:spPr>
          <c:invertIfNegative val="0"/>
          <c:cat>
            <c:strRef>
              <c:f>List1!$A$2:$A$5</c:f>
              <c:strCache>
                <c:ptCount val="4"/>
                <c:pt idx="0">
                  <c:v>Kategorie 1</c:v>
                </c:pt>
                <c:pt idx="1">
                  <c:v>Kategorie 2</c:v>
                </c:pt>
                <c:pt idx="2">
                  <c:v>Kategorie 3</c:v>
                </c:pt>
                <c:pt idx="3">
                  <c:v>Kategorie 4</c:v>
                </c:pt>
              </c:strCache>
            </c:strRef>
          </c:cat>
          <c:val>
            <c:numRef>
              <c:f>Lis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B9B-9843-80A2-84A34E617749}"/>
            </c:ext>
          </c:extLst>
        </c:ser>
        <c:ser>
          <c:idx val="1"/>
          <c:order val="1"/>
          <c:tx>
            <c:strRef>
              <c:f>List1!$C$1</c:f>
              <c:strCache>
                <c:ptCount val="1"/>
                <c:pt idx="0">
                  <c:v>Řada 2</c:v>
                </c:pt>
              </c:strCache>
            </c:strRef>
          </c:tx>
          <c:spPr>
            <a:solidFill>
              <a:schemeClr val="accent2"/>
            </a:solidFill>
            <a:ln>
              <a:noFill/>
            </a:ln>
            <a:effectLst/>
          </c:spPr>
          <c:invertIfNegative val="0"/>
          <c:cat>
            <c:strRef>
              <c:f>List1!$A$2:$A$5</c:f>
              <c:strCache>
                <c:ptCount val="4"/>
                <c:pt idx="0">
                  <c:v>Kategorie 1</c:v>
                </c:pt>
                <c:pt idx="1">
                  <c:v>Kategorie 2</c:v>
                </c:pt>
                <c:pt idx="2">
                  <c:v>Kategorie 3</c:v>
                </c:pt>
                <c:pt idx="3">
                  <c:v>Kategorie 4</c:v>
                </c:pt>
              </c:strCache>
            </c:strRef>
          </c:cat>
          <c:val>
            <c:numRef>
              <c:f>Lis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B9B-9843-80A2-84A34E617749}"/>
            </c:ext>
          </c:extLst>
        </c:ser>
        <c:ser>
          <c:idx val="2"/>
          <c:order val="2"/>
          <c:tx>
            <c:strRef>
              <c:f>List1!$D$1</c:f>
              <c:strCache>
                <c:ptCount val="1"/>
                <c:pt idx="0">
                  <c:v>Řada 3</c:v>
                </c:pt>
              </c:strCache>
            </c:strRef>
          </c:tx>
          <c:spPr>
            <a:solidFill>
              <a:schemeClr val="accent3"/>
            </a:solidFill>
            <a:ln>
              <a:noFill/>
            </a:ln>
            <a:effectLst/>
          </c:spPr>
          <c:invertIfNegative val="0"/>
          <c:cat>
            <c:strRef>
              <c:f>List1!$A$2:$A$5</c:f>
              <c:strCache>
                <c:ptCount val="4"/>
                <c:pt idx="0">
                  <c:v>Kategorie 1</c:v>
                </c:pt>
                <c:pt idx="1">
                  <c:v>Kategorie 2</c:v>
                </c:pt>
                <c:pt idx="2">
                  <c:v>Kategorie 3</c:v>
                </c:pt>
                <c:pt idx="3">
                  <c:v>Kategorie 4</c:v>
                </c:pt>
              </c:strCache>
            </c:strRef>
          </c:cat>
          <c:val>
            <c:numRef>
              <c:f>Lis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B9B-9843-80A2-84A34E617749}"/>
            </c:ext>
          </c:extLst>
        </c:ser>
        <c:dLbls>
          <c:showLegendKey val="0"/>
          <c:showVal val="0"/>
          <c:showCatName val="0"/>
          <c:showSerName val="0"/>
          <c:showPercent val="0"/>
          <c:showBubbleSize val="0"/>
        </c:dLbls>
        <c:gapWidth val="219"/>
        <c:overlap val="-27"/>
        <c:axId val="1341080479"/>
        <c:axId val="1294701103"/>
      </c:barChart>
      <c:catAx>
        <c:axId val="13410804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1294701103"/>
        <c:crosses val="autoZero"/>
        <c:auto val="1"/>
        <c:lblAlgn val="ctr"/>
        <c:lblOffset val="100"/>
        <c:noMultiLvlLbl val="0"/>
      </c:catAx>
      <c:valAx>
        <c:axId val="12947011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13410804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List1!$B$1</c:f>
              <c:strCache>
                <c:ptCount val="1"/>
                <c:pt idx="0">
                  <c:v>Řada 1</c:v>
                </c:pt>
              </c:strCache>
            </c:strRef>
          </c:tx>
          <c:dPt>
            <c:idx val="0"/>
            <c:bubble3D val="0"/>
            <c:spPr>
              <a:solidFill>
                <a:schemeClr val="accent1"/>
              </a:solidFill>
              <a:ln>
                <a:noFill/>
              </a:ln>
              <a:effectLst/>
            </c:spPr>
            <c:extLst>
              <c:ext xmlns:c16="http://schemas.microsoft.com/office/drawing/2014/chart" uri="{C3380CC4-5D6E-409C-BE32-E72D297353CC}">
                <c16:uniqueId val="{00000001-C85B-C640-AD75-9BE715C14B75}"/>
              </c:ext>
            </c:extLst>
          </c:dPt>
          <c:dPt>
            <c:idx val="1"/>
            <c:bubble3D val="0"/>
            <c:spPr>
              <a:solidFill>
                <a:schemeClr val="accent2"/>
              </a:solidFill>
              <a:ln>
                <a:noFill/>
              </a:ln>
              <a:effectLst/>
            </c:spPr>
            <c:extLst>
              <c:ext xmlns:c16="http://schemas.microsoft.com/office/drawing/2014/chart" uri="{C3380CC4-5D6E-409C-BE32-E72D297353CC}">
                <c16:uniqueId val="{00000003-C85B-C640-AD75-9BE715C14B75}"/>
              </c:ext>
            </c:extLst>
          </c:dPt>
          <c:dPt>
            <c:idx val="2"/>
            <c:bubble3D val="0"/>
            <c:spPr>
              <a:solidFill>
                <a:schemeClr val="accent3"/>
              </a:solidFill>
              <a:ln>
                <a:noFill/>
              </a:ln>
              <a:effectLst/>
            </c:spPr>
            <c:extLst>
              <c:ext xmlns:c16="http://schemas.microsoft.com/office/drawing/2014/chart" uri="{C3380CC4-5D6E-409C-BE32-E72D297353CC}">
                <c16:uniqueId val="{00000005-C85B-C640-AD75-9BE715C14B75}"/>
              </c:ext>
            </c:extLst>
          </c:dPt>
          <c:dPt>
            <c:idx val="3"/>
            <c:bubble3D val="0"/>
            <c:spPr>
              <a:solidFill>
                <a:schemeClr val="accent4"/>
              </a:solidFill>
              <a:ln>
                <a:noFill/>
              </a:ln>
              <a:effectLst/>
            </c:spPr>
            <c:extLst>
              <c:ext xmlns:c16="http://schemas.microsoft.com/office/drawing/2014/chart" uri="{C3380CC4-5D6E-409C-BE32-E72D297353CC}">
                <c16:uniqueId val="{00000007-C85B-C640-AD75-9BE715C14B75}"/>
              </c:ext>
            </c:extLst>
          </c:dPt>
          <c:cat>
            <c:strRef>
              <c:f>List1!$A$2:$A$5</c:f>
              <c:strCache>
                <c:ptCount val="4"/>
                <c:pt idx="0">
                  <c:v>Kategorie 1</c:v>
                </c:pt>
                <c:pt idx="1">
                  <c:v>Kategorie 2</c:v>
                </c:pt>
                <c:pt idx="2">
                  <c:v>Kategorie 3</c:v>
                </c:pt>
                <c:pt idx="3">
                  <c:v>Kategorie 4</c:v>
                </c:pt>
              </c:strCache>
            </c:strRef>
          </c:cat>
          <c:val>
            <c:numRef>
              <c:f>Lis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343-0B4D-A8CD-B6F40A3EE65F}"/>
            </c:ext>
          </c:extLst>
        </c:ser>
        <c:ser>
          <c:idx val="1"/>
          <c:order val="1"/>
          <c:tx>
            <c:strRef>
              <c:f>List1!$C$1</c:f>
              <c:strCache>
                <c:ptCount val="1"/>
                <c:pt idx="0">
                  <c:v>Řada 2</c:v>
                </c:pt>
              </c:strCache>
            </c:strRef>
          </c:tx>
          <c:dPt>
            <c:idx val="0"/>
            <c:bubble3D val="0"/>
            <c:spPr>
              <a:solidFill>
                <a:schemeClr val="accent1"/>
              </a:solidFill>
              <a:ln>
                <a:noFill/>
              </a:ln>
              <a:effectLst/>
            </c:spPr>
            <c:extLst>
              <c:ext xmlns:c16="http://schemas.microsoft.com/office/drawing/2014/chart" uri="{C3380CC4-5D6E-409C-BE32-E72D297353CC}">
                <c16:uniqueId val="{00000009-C85B-C640-AD75-9BE715C14B75}"/>
              </c:ext>
            </c:extLst>
          </c:dPt>
          <c:dPt>
            <c:idx val="1"/>
            <c:bubble3D val="0"/>
            <c:spPr>
              <a:solidFill>
                <a:schemeClr val="accent2"/>
              </a:solidFill>
              <a:ln>
                <a:noFill/>
              </a:ln>
              <a:effectLst/>
            </c:spPr>
            <c:extLst>
              <c:ext xmlns:c16="http://schemas.microsoft.com/office/drawing/2014/chart" uri="{C3380CC4-5D6E-409C-BE32-E72D297353CC}">
                <c16:uniqueId val="{0000000B-C85B-C640-AD75-9BE715C14B75}"/>
              </c:ext>
            </c:extLst>
          </c:dPt>
          <c:dPt>
            <c:idx val="2"/>
            <c:bubble3D val="0"/>
            <c:spPr>
              <a:solidFill>
                <a:schemeClr val="accent3"/>
              </a:solidFill>
              <a:ln>
                <a:noFill/>
              </a:ln>
              <a:effectLst/>
            </c:spPr>
            <c:extLst>
              <c:ext xmlns:c16="http://schemas.microsoft.com/office/drawing/2014/chart" uri="{C3380CC4-5D6E-409C-BE32-E72D297353CC}">
                <c16:uniqueId val="{0000000D-C85B-C640-AD75-9BE715C14B75}"/>
              </c:ext>
            </c:extLst>
          </c:dPt>
          <c:dPt>
            <c:idx val="3"/>
            <c:bubble3D val="0"/>
            <c:spPr>
              <a:solidFill>
                <a:schemeClr val="accent4"/>
              </a:solidFill>
              <a:ln>
                <a:noFill/>
              </a:ln>
              <a:effectLst/>
            </c:spPr>
            <c:extLst>
              <c:ext xmlns:c16="http://schemas.microsoft.com/office/drawing/2014/chart" uri="{C3380CC4-5D6E-409C-BE32-E72D297353CC}">
                <c16:uniqueId val="{0000000F-C85B-C640-AD75-9BE715C14B75}"/>
              </c:ext>
            </c:extLst>
          </c:dPt>
          <c:cat>
            <c:strRef>
              <c:f>List1!$A$2:$A$5</c:f>
              <c:strCache>
                <c:ptCount val="4"/>
                <c:pt idx="0">
                  <c:v>Kategorie 1</c:v>
                </c:pt>
                <c:pt idx="1">
                  <c:v>Kategorie 2</c:v>
                </c:pt>
                <c:pt idx="2">
                  <c:v>Kategorie 3</c:v>
                </c:pt>
                <c:pt idx="3">
                  <c:v>Kategorie 4</c:v>
                </c:pt>
              </c:strCache>
            </c:strRef>
          </c:cat>
          <c:val>
            <c:numRef>
              <c:f>Lis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343-0B4D-A8CD-B6F40A3EE65F}"/>
            </c:ext>
          </c:extLst>
        </c:ser>
        <c:ser>
          <c:idx val="2"/>
          <c:order val="2"/>
          <c:tx>
            <c:strRef>
              <c:f>List1!$D$1</c:f>
              <c:strCache>
                <c:ptCount val="1"/>
                <c:pt idx="0">
                  <c:v>Řada 3</c:v>
                </c:pt>
              </c:strCache>
            </c:strRef>
          </c:tx>
          <c:dPt>
            <c:idx val="0"/>
            <c:bubble3D val="0"/>
            <c:spPr>
              <a:solidFill>
                <a:schemeClr val="accent1"/>
              </a:solidFill>
              <a:ln>
                <a:noFill/>
              </a:ln>
              <a:effectLst/>
            </c:spPr>
            <c:extLst>
              <c:ext xmlns:c16="http://schemas.microsoft.com/office/drawing/2014/chart" uri="{C3380CC4-5D6E-409C-BE32-E72D297353CC}">
                <c16:uniqueId val="{00000011-C85B-C640-AD75-9BE715C14B75}"/>
              </c:ext>
            </c:extLst>
          </c:dPt>
          <c:dPt>
            <c:idx val="1"/>
            <c:bubble3D val="0"/>
            <c:spPr>
              <a:solidFill>
                <a:schemeClr val="accent2"/>
              </a:solidFill>
              <a:ln>
                <a:noFill/>
              </a:ln>
              <a:effectLst/>
            </c:spPr>
            <c:extLst>
              <c:ext xmlns:c16="http://schemas.microsoft.com/office/drawing/2014/chart" uri="{C3380CC4-5D6E-409C-BE32-E72D297353CC}">
                <c16:uniqueId val="{00000013-C85B-C640-AD75-9BE715C14B75}"/>
              </c:ext>
            </c:extLst>
          </c:dPt>
          <c:dPt>
            <c:idx val="2"/>
            <c:bubble3D val="0"/>
            <c:spPr>
              <a:solidFill>
                <a:schemeClr val="accent3"/>
              </a:solidFill>
              <a:ln>
                <a:noFill/>
              </a:ln>
              <a:effectLst/>
            </c:spPr>
            <c:extLst>
              <c:ext xmlns:c16="http://schemas.microsoft.com/office/drawing/2014/chart" uri="{C3380CC4-5D6E-409C-BE32-E72D297353CC}">
                <c16:uniqueId val="{00000015-C85B-C640-AD75-9BE715C14B75}"/>
              </c:ext>
            </c:extLst>
          </c:dPt>
          <c:dPt>
            <c:idx val="3"/>
            <c:bubble3D val="0"/>
            <c:spPr>
              <a:solidFill>
                <a:schemeClr val="accent4"/>
              </a:solidFill>
              <a:ln>
                <a:noFill/>
              </a:ln>
              <a:effectLst/>
            </c:spPr>
            <c:extLst>
              <c:ext xmlns:c16="http://schemas.microsoft.com/office/drawing/2014/chart" uri="{C3380CC4-5D6E-409C-BE32-E72D297353CC}">
                <c16:uniqueId val="{00000017-C85B-C640-AD75-9BE715C14B75}"/>
              </c:ext>
            </c:extLst>
          </c:dPt>
          <c:cat>
            <c:strRef>
              <c:f>List1!$A$2:$A$5</c:f>
              <c:strCache>
                <c:ptCount val="4"/>
                <c:pt idx="0">
                  <c:v>Kategorie 1</c:v>
                </c:pt>
                <c:pt idx="1">
                  <c:v>Kategorie 2</c:v>
                </c:pt>
                <c:pt idx="2">
                  <c:v>Kategorie 3</c:v>
                </c:pt>
                <c:pt idx="3">
                  <c:v>Kategorie 4</c:v>
                </c:pt>
              </c:strCache>
            </c:strRef>
          </c:cat>
          <c:val>
            <c:numRef>
              <c:f>Lis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343-0B4D-A8CD-B6F40A3EE65F}"/>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600"/>
              <a:t>Reálné HDP </a:t>
            </a:r>
            <a:r>
              <a:rPr lang="cs-CZ" sz="1600" b="0" i="1"/>
              <a:t>(indexované 100 = 2019)</a:t>
            </a:r>
          </a:p>
        </c:rich>
      </c:tx>
      <c:overlay val="0"/>
    </c:title>
    <c:autoTitleDeleted val="0"/>
    <c:plotArea>
      <c:layout/>
      <c:scatterChart>
        <c:scatterStyle val="lineMarker"/>
        <c:varyColors val="0"/>
        <c:ser>
          <c:idx val="0"/>
          <c:order val="0"/>
          <c:spPr>
            <a:ln w="38100" cmpd="sng" algn="ctr">
              <a:solidFill>
                <a:schemeClr val="tx2">
                  <a:lumMod val="60000"/>
                  <a:lumOff val="40000"/>
                </a:schemeClr>
              </a:solidFill>
              <a:prstDash val="solid"/>
            </a:ln>
          </c:spPr>
          <c:marker>
            <c:symbol val="none"/>
          </c:marker>
          <c:xVal>
            <c:numRef>
              <c:f>Sheet1!$A$1:$F$1</c:f>
              <c:numCache>
                <c:formatCode>General</c:formatCode>
                <c:ptCount val="6"/>
                <c:pt idx="0">
                  <c:v>2019</c:v>
                </c:pt>
                <c:pt idx="1">
                  <c:v>2020</c:v>
                </c:pt>
                <c:pt idx="2">
                  <c:v>2021</c:v>
                </c:pt>
                <c:pt idx="3">
                  <c:v>2022</c:v>
                </c:pt>
                <c:pt idx="4">
                  <c:v>2023</c:v>
                </c:pt>
                <c:pt idx="5">
                  <c:v>2024</c:v>
                </c:pt>
              </c:numCache>
            </c:numRef>
          </c:xVal>
          <c:yVal>
            <c:numRef>
              <c:f>Sheet1!$A$2:$F$2</c:f>
              <c:numCache>
                <c:formatCode>General</c:formatCode>
                <c:ptCount val="6"/>
                <c:pt idx="0">
                  <c:v>100</c:v>
                </c:pt>
                <c:pt idx="1">
                  <c:v>96.75</c:v>
                </c:pt>
                <c:pt idx="2">
                  <c:v>103.54668749999999</c:v>
                </c:pt>
                <c:pt idx="3">
                  <c:v>106.83429482812498</c:v>
                </c:pt>
                <c:pt idx="4">
                  <c:v>107.55542631821483</c:v>
                </c:pt>
                <c:pt idx="5">
                  <c:v>109.46453513536314</c:v>
                </c:pt>
              </c:numCache>
            </c:numRef>
          </c:yVal>
          <c:smooth val="0"/>
          <c:extLst>
            <c:ext xmlns:c16="http://schemas.microsoft.com/office/drawing/2014/chart" uri="{C3380CC4-5D6E-409C-BE32-E72D297353CC}">
              <c16:uniqueId val="{00000000-0A16-4C0A-98CC-2C65C64956B2}"/>
            </c:ext>
          </c:extLst>
        </c:ser>
        <c:ser>
          <c:idx val="1"/>
          <c:order val="1"/>
          <c:spPr>
            <a:ln w="38100" cmpd="sng" algn="ctr">
              <a:solidFill>
                <a:schemeClr val="tx1">
                  <a:lumMod val="50000"/>
                  <a:lumOff val="50000"/>
                </a:schemeClr>
              </a:solidFill>
              <a:prstDash val="solid"/>
            </a:ln>
          </c:spPr>
          <c:marker>
            <c:symbol val="none"/>
          </c:marker>
          <c:xVal>
            <c:numRef>
              <c:f>Sheet1!$A$1:$F$1</c:f>
              <c:numCache>
                <c:formatCode>General</c:formatCode>
                <c:ptCount val="6"/>
                <c:pt idx="0">
                  <c:v>2019</c:v>
                </c:pt>
                <c:pt idx="1">
                  <c:v>2020</c:v>
                </c:pt>
                <c:pt idx="2">
                  <c:v>2021</c:v>
                </c:pt>
                <c:pt idx="3">
                  <c:v>2022</c:v>
                </c:pt>
                <c:pt idx="4">
                  <c:v>2023</c:v>
                </c:pt>
                <c:pt idx="5">
                  <c:v>2024</c:v>
                </c:pt>
              </c:numCache>
            </c:numRef>
          </c:xVal>
          <c:yVal>
            <c:numRef>
              <c:f>Sheet1!$A$3:$F$3</c:f>
              <c:numCache>
                <c:formatCode>General</c:formatCode>
                <c:ptCount val="6"/>
                <c:pt idx="0">
                  <c:v>100</c:v>
                </c:pt>
                <c:pt idx="1">
                  <c:v>94.4</c:v>
                </c:pt>
                <c:pt idx="2">
                  <c:v>100.34720000000002</c:v>
                </c:pt>
                <c:pt idx="3">
                  <c:v>103.85935200000002</c:v>
                </c:pt>
                <c:pt idx="4">
                  <c:v>104.27478940800002</c:v>
                </c:pt>
                <c:pt idx="5">
                  <c:v>105.31753730208001</c:v>
                </c:pt>
              </c:numCache>
            </c:numRef>
          </c:yVal>
          <c:smooth val="0"/>
          <c:extLst>
            <c:ext xmlns:c16="http://schemas.microsoft.com/office/drawing/2014/chart" uri="{C3380CC4-5D6E-409C-BE32-E72D297353CC}">
              <c16:uniqueId val="{00000001-0A16-4C0A-98CC-2C65C64956B2}"/>
            </c:ext>
          </c:extLst>
        </c:ser>
        <c:ser>
          <c:idx val="2"/>
          <c:order val="2"/>
          <c:spPr>
            <a:ln w="38100" cmpd="sng" algn="ctr">
              <a:solidFill>
                <a:schemeClr val="bg2">
                  <a:lumMod val="60000"/>
                  <a:lumOff val="40000"/>
                </a:schemeClr>
              </a:solidFill>
              <a:prstDash val="solid"/>
            </a:ln>
          </c:spPr>
          <c:marker>
            <c:symbol val="none"/>
          </c:marker>
          <c:xVal>
            <c:numRef>
              <c:f>Sheet1!$A$1:$F$1</c:f>
              <c:numCache>
                <c:formatCode>General</c:formatCode>
                <c:ptCount val="6"/>
                <c:pt idx="0">
                  <c:v>2019</c:v>
                </c:pt>
                <c:pt idx="1">
                  <c:v>2020</c:v>
                </c:pt>
                <c:pt idx="2">
                  <c:v>2021</c:v>
                </c:pt>
                <c:pt idx="3">
                  <c:v>2022</c:v>
                </c:pt>
                <c:pt idx="4">
                  <c:v>2023</c:v>
                </c:pt>
                <c:pt idx="5">
                  <c:v>2024</c:v>
                </c:pt>
              </c:numCache>
            </c:numRef>
          </c:xVal>
          <c:yVal>
            <c:numRef>
              <c:f>Sheet1!$A$4:$F$4</c:f>
              <c:numCache>
                <c:formatCode>General</c:formatCode>
                <c:ptCount val="6"/>
                <c:pt idx="0">
                  <c:v>100</c:v>
                </c:pt>
                <c:pt idx="1">
                  <c:v>94.7</c:v>
                </c:pt>
                <c:pt idx="2">
                  <c:v>98.488000000000014</c:v>
                </c:pt>
                <c:pt idx="3">
                  <c:v>101.24566400000002</c:v>
                </c:pt>
                <c:pt idx="4">
                  <c:v>101.144418336</c:v>
                </c:pt>
                <c:pt idx="5">
                  <c:v>102.25700693769599</c:v>
                </c:pt>
              </c:numCache>
            </c:numRef>
          </c:yVal>
          <c:smooth val="0"/>
          <c:extLst>
            <c:ext xmlns:c16="http://schemas.microsoft.com/office/drawing/2014/chart" uri="{C3380CC4-5D6E-409C-BE32-E72D297353CC}">
              <c16:uniqueId val="{00000002-0A16-4C0A-98CC-2C65C64956B2}"/>
            </c:ext>
          </c:extLst>
        </c:ser>
        <c:dLbls>
          <c:showLegendKey val="0"/>
          <c:showVal val="0"/>
          <c:showCatName val="0"/>
          <c:showSerName val="0"/>
          <c:showPercent val="0"/>
          <c:showBubbleSize val="0"/>
        </c:dLbls>
        <c:axId val="4"/>
        <c:axId val="5"/>
      </c:scatterChart>
      <c:valAx>
        <c:axId val="4"/>
        <c:scaling>
          <c:orientation val="minMax"/>
          <c:max val="2024"/>
          <c:min val="2019"/>
        </c:scaling>
        <c:delete val="0"/>
        <c:axPos val="b"/>
        <c:numFmt formatCode="0;&quot;-&quot;0" sourceLinked="0"/>
        <c:majorTickMark val="none"/>
        <c:minorTickMark val="none"/>
        <c:tickLblPos val="nextTo"/>
        <c:spPr>
          <a:ln w="9525" cmpd="sng" algn="ctr">
            <a:solidFill>
              <a:schemeClr val="tx1"/>
            </a:solidFill>
            <a:prstDash val="solid"/>
          </a:ln>
        </c:spPr>
        <c:crossAx val="5"/>
        <c:crossesAt val="89"/>
        <c:crossBetween val="midCat"/>
        <c:majorUnit val="1"/>
      </c:valAx>
      <c:valAx>
        <c:axId val="5"/>
        <c:scaling>
          <c:orientation val="minMax"/>
          <c:max val="110"/>
          <c:min val="90"/>
        </c:scaling>
        <c:delete val="0"/>
        <c:axPos val="l"/>
        <c:majorGridlines>
          <c:spPr>
            <a:ln>
              <a:solidFill>
                <a:schemeClr val="accent2"/>
              </a:solidFill>
            </a:ln>
          </c:spPr>
        </c:majorGridlines>
        <c:numFmt formatCode="#,##0;&quot;-&quot;#,##0" sourceLinked="0"/>
        <c:majorTickMark val="none"/>
        <c:minorTickMark val="none"/>
        <c:tickLblPos val="nextTo"/>
        <c:spPr>
          <a:ln w="9525" cmpd="sng" algn="ctr">
            <a:solidFill>
              <a:schemeClr val="tx1"/>
            </a:solidFill>
            <a:prstDash val="solid"/>
          </a:ln>
        </c:spPr>
        <c:crossAx val="4"/>
        <c:crosses val="min"/>
        <c:crossBetween val="midCat"/>
        <c:majorUnit val="5"/>
      </c:valAx>
    </c:plotArea>
    <c:plotVisOnly val="0"/>
    <c:dispBlanksAs val="gap"/>
    <c:showDLblsOverMax val="1"/>
  </c:chart>
  <c:txPr>
    <a:bodyPr/>
    <a:lstStyle/>
    <a:p>
      <a:pPr>
        <a:defRPr>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196924155896204E-2"/>
          <c:y val="3.1373568779229158E-2"/>
          <c:w val="0.8693437531309488"/>
          <c:h val="0.81416061925495886"/>
        </c:manualLayout>
      </c:layout>
      <c:lineChart>
        <c:grouping val="standard"/>
        <c:varyColors val="0"/>
        <c:ser>
          <c:idx val="7"/>
          <c:order val="0"/>
          <c:tx>
            <c:strRef>
              <c:f>List2!$A$10</c:f>
              <c:strCache>
                <c:ptCount val="1"/>
                <c:pt idx="0">
                  <c:v>Małopol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0:$Y$10</c:f>
              <c:numCache>
                <c:formatCode>0.0</c:formatCode>
                <c:ptCount val="24"/>
                <c:pt idx="0">
                  <c:v>0</c:v>
                </c:pt>
                <c:pt idx="1">
                  <c:v>-0.39999999999999858</c:v>
                </c:pt>
                <c:pt idx="2">
                  <c:v>1.3999999999999986</c:v>
                </c:pt>
                <c:pt idx="3">
                  <c:v>4.2999999999999972</c:v>
                </c:pt>
                <c:pt idx="4">
                  <c:v>8.5999999999999943</c:v>
                </c:pt>
                <c:pt idx="5">
                  <c:v>11.200000000000003</c:v>
                </c:pt>
                <c:pt idx="6">
                  <c:v>14.299999999999997</c:v>
                </c:pt>
                <c:pt idx="7">
                  <c:v>17.5</c:v>
                </c:pt>
                <c:pt idx="8">
                  <c:v>22</c:v>
                </c:pt>
                <c:pt idx="9">
                  <c:v>24.400000000000006</c:v>
                </c:pt>
                <c:pt idx="10">
                  <c:v>26</c:v>
                </c:pt>
                <c:pt idx="11">
                  <c:v>31.299999999999997</c:v>
                </c:pt>
                <c:pt idx="12">
                  <c:v>32.5</c:v>
                </c:pt>
                <c:pt idx="13">
                  <c:v>32.799999999999997</c:v>
                </c:pt>
                <c:pt idx="14">
                  <c:v>36.599999999999994</c:v>
                </c:pt>
                <c:pt idx="15">
                  <c:v>42</c:v>
                </c:pt>
                <c:pt idx="16">
                  <c:v>45.2</c:v>
                </c:pt>
                <c:pt idx="17">
                  <c:v>51.7</c:v>
                </c:pt>
                <c:pt idx="18">
                  <c:v>59.3</c:v>
                </c:pt>
                <c:pt idx="19">
                  <c:v>64.400000000000006</c:v>
                </c:pt>
                <c:pt idx="20">
                  <c:v>62.400000000000006</c:v>
                </c:pt>
                <c:pt idx="21">
                  <c:v>71.800000000000011</c:v>
                </c:pt>
                <c:pt idx="22">
                  <c:v>76.099999999999994</c:v>
                </c:pt>
                <c:pt idx="23">
                  <c:v>77.5</c:v>
                </c:pt>
              </c:numCache>
            </c:numRef>
          </c:val>
          <c:smooth val="0"/>
          <c:extLst>
            <c:ext xmlns:c16="http://schemas.microsoft.com/office/drawing/2014/chart" uri="{C3380CC4-5D6E-409C-BE32-E72D297353CC}">
              <c16:uniqueId val="{00000000-436F-4DD4-8D4A-B8AD8E8144AB}"/>
            </c:ext>
          </c:extLst>
        </c:ser>
        <c:ser>
          <c:idx val="8"/>
          <c:order val="1"/>
          <c:tx>
            <c:strRef>
              <c:f>List2!$A$11</c:f>
              <c:strCache>
                <c:ptCount val="1"/>
                <c:pt idx="0">
                  <c:v>Ślą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1:$Y$11</c:f>
              <c:numCache>
                <c:formatCode>0.0</c:formatCode>
                <c:ptCount val="24"/>
                <c:pt idx="0">
                  <c:v>0</c:v>
                </c:pt>
                <c:pt idx="1">
                  <c:v>0.69999999999999574</c:v>
                </c:pt>
                <c:pt idx="2">
                  <c:v>2.2999999999999972</c:v>
                </c:pt>
                <c:pt idx="3">
                  <c:v>4</c:v>
                </c:pt>
                <c:pt idx="4">
                  <c:v>5.6999999999999957</c:v>
                </c:pt>
                <c:pt idx="5">
                  <c:v>5.9999999999999929</c:v>
                </c:pt>
                <c:pt idx="6">
                  <c:v>12.499999999999993</c:v>
                </c:pt>
                <c:pt idx="7">
                  <c:v>18.800000000000004</c:v>
                </c:pt>
                <c:pt idx="8">
                  <c:v>23.6</c:v>
                </c:pt>
                <c:pt idx="9">
                  <c:v>24.6</c:v>
                </c:pt>
                <c:pt idx="10">
                  <c:v>27.4</c:v>
                </c:pt>
                <c:pt idx="11">
                  <c:v>32.300000000000004</c:v>
                </c:pt>
                <c:pt idx="12">
                  <c:v>32.999999999999993</c:v>
                </c:pt>
                <c:pt idx="13">
                  <c:v>32.800000000000004</c:v>
                </c:pt>
                <c:pt idx="14">
                  <c:v>36.4</c:v>
                </c:pt>
                <c:pt idx="15">
                  <c:v>40.9</c:v>
                </c:pt>
                <c:pt idx="16">
                  <c:v>44.300000000000004</c:v>
                </c:pt>
                <c:pt idx="17">
                  <c:v>48.9</c:v>
                </c:pt>
                <c:pt idx="18">
                  <c:v>55.6</c:v>
                </c:pt>
                <c:pt idx="19">
                  <c:v>59.300000000000004</c:v>
                </c:pt>
                <c:pt idx="20">
                  <c:v>54.9</c:v>
                </c:pt>
                <c:pt idx="21">
                  <c:v>65.5</c:v>
                </c:pt>
                <c:pt idx="22">
                  <c:v>72.099999999999994</c:v>
                </c:pt>
                <c:pt idx="23">
                  <c:v>70.5</c:v>
                </c:pt>
              </c:numCache>
            </c:numRef>
          </c:val>
          <c:smooth val="0"/>
          <c:extLst>
            <c:ext xmlns:c16="http://schemas.microsoft.com/office/drawing/2014/chart" uri="{C3380CC4-5D6E-409C-BE32-E72D297353CC}">
              <c16:uniqueId val="{00000001-436F-4DD4-8D4A-B8AD8E8144AB}"/>
            </c:ext>
          </c:extLst>
        </c:ser>
        <c:ser>
          <c:idx val="9"/>
          <c:order val="2"/>
          <c:tx>
            <c:strRef>
              <c:f>List2!$A$12</c:f>
              <c:strCache>
                <c:ptCount val="1"/>
                <c:pt idx="0">
                  <c:v>Wielkopol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2:$Y$12</c:f>
              <c:numCache>
                <c:formatCode>0.0</c:formatCode>
                <c:ptCount val="24"/>
                <c:pt idx="0">
                  <c:v>0</c:v>
                </c:pt>
                <c:pt idx="1">
                  <c:v>0.80000000000000426</c:v>
                </c:pt>
                <c:pt idx="2">
                  <c:v>0.90000000000000568</c:v>
                </c:pt>
                <c:pt idx="3">
                  <c:v>4.1000000000000014</c:v>
                </c:pt>
                <c:pt idx="4">
                  <c:v>10.100000000000009</c:v>
                </c:pt>
                <c:pt idx="5">
                  <c:v>12.100000000000009</c:v>
                </c:pt>
                <c:pt idx="6">
                  <c:v>15.100000000000009</c:v>
                </c:pt>
                <c:pt idx="7">
                  <c:v>18.700000000000003</c:v>
                </c:pt>
                <c:pt idx="8">
                  <c:v>21.100000000000009</c:v>
                </c:pt>
                <c:pt idx="9">
                  <c:v>23.799999999999997</c:v>
                </c:pt>
                <c:pt idx="10">
                  <c:v>25.299999999999997</c:v>
                </c:pt>
                <c:pt idx="11">
                  <c:v>30.100000000000009</c:v>
                </c:pt>
                <c:pt idx="12">
                  <c:v>32.299999999999997</c:v>
                </c:pt>
                <c:pt idx="13">
                  <c:v>33.400000000000006</c:v>
                </c:pt>
                <c:pt idx="14">
                  <c:v>37.5</c:v>
                </c:pt>
                <c:pt idx="15">
                  <c:v>42.7</c:v>
                </c:pt>
                <c:pt idx="16">
                  <c:v>46.3</c:v>
                </c:pt>
                <c:pt idx="17">
                  <c:v>52</c:v>
                </c:pt>
                <c:pt idx="18">
                  <c:v>57.900000000000006</c:v>
                </c:pt>
                <c:pt idx="19">
                  <c:v>63.8</c:v>
                </c:pt>
                <c:pt idx="20">
                  <c:v>62.2</c:v>
                </c:pt>
                <c:pt idx="21">
                  <c:v>70</c:v>
                </c:pt>
                <c:pt idx="22">
                  <c:v>76.899999999999991</c:v>
                </c:pt>
                <c:pt idx="23">
                  <c:v>75.3</c:v>
                </c:pt>
              </c:numCache>
            </c:numRef>
          </c:val>
          <c:smooth val="0"/>
          <c:extLst>
            <c:ext xmlns:c16="http://schemas.microsoft.com/office/drawing/2014/chart" uri="{C3380CC4-5D6E-409C-BE32-E72D297353CC}">
              <c16:uniqueId val="{00000002-436F-4DD4-8D4A-B8AD8E8144AB}"/>
            </c:ext>
          </c:extLst>
        </c:ser>
        <c:ser>
          <c:idx val="10"/>
          <c:order val="3"/>
          <c:tx>
            <c:strRef>
              <c:f>List2!$A$13</c:f>
              <c:strCache>
                <c:ptCount val="1"/>
                <c:pt idx="0">
                  <c:v>Zachodniopomor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3:$Y$13</c:f>
              <c:numCache>
                <c:formatCode>0.0</c:formatCode>
                <c:ptCount val="24"/>
                <c:pt idx="0">
                  <c:v>0</c:v>
                </c:pt>
                <c:pt idx="1">
                  <c:v>-0.79999999999999716</c:v>
                </c:pt>
                <c:pt idx="2">
                  <c:v>-0.60000000000000853</c:v>
                </c:pt>
                <c:pt idx="3">
                  <c:v>-0.29999999999999716</c:v>
                </c:pt>
                <c:pt idx="4">
                  <c:v>2.2999999999999972</c:v>
                </c:pt>
                <c:pt idx="5">
                  <c:v>4.5</c:v>
                </c:pt>
                <c:pt idx="6">
                  <c:v>8.7999999999999972</c:v>
                </c:pt>
                <c:pt idx="7">
                  <c:v>10.799999999999997</c:v>
                </c:pt>
                <c:pt idx="8">
                  <c:v>12.5</c:v>
                </c:pt>
                <c:pt idx="9">
                  <c:v>14.799999999999997</c:v>
                </c:pt>
                <c:pt idx="10">
                  <c:v>17.5</c:v>
                </c:pt>
                <c:pt idx="11">
                  <c:v>20.700000000000003</c:v>
                </c:pt>
                <c:pt idx="12">
                  <c:v>21.599999999999994</c:v>
                </c:pt>
                <c:pt idx="13">
                  <c:v>21.5</c:v>
                </c:pt>
                <c:pt idx="14">
                  <c:v>25.599999999999994</c:v>
                </c:pt>
                <c:pt idx="15">
                  <c:v>29.299999999999997</c:v>
                </c:pt>
                <c:pt idx="16">
                  <c:v>31.5</c:v>
                </c:pt>
                <c:pt idx="17">
                  <c:v>36.799999999999997</c:v>
                </c:pt>
                <c:pt idx="18">
                  <c:v>43.099999999999994</c:v>
                </c:pt>
                <c:pt idx="19">
                  <c:v>46.599999999999994</c:v>
                </c:pt>
                <c:pt idx="20">
                  <c:v>44.399999999999991</c:v>
                </c:pt>
                <c:pt idx="21">
                  <c:v>52.3</c:v>
                </c:pt>
                <c:pt idx="22">
                  <c:v>56.8</c:v>
                </c:pt>
                <c:pt idx="23">
                  <c:v>56.3</c:v>
                </c:pt>
              </c:numCache>
            </c:numRef>
          </c:val>
          <c:smooth val="0"/>
          <c:extLst>
            <c:ext xmlns:c16="http://schemas.microsoft.com/office/drawing/2014/chart" uri="{C3380CC4-5D6E-409C-BE32-E72D297353CC}">
              <c16:uniqueId val="{00000003-436F-4DD4-8D4A-B8AD8E8144AB}"/>
            </c:ext>
          </c:extLst>
        </c:ser>
        <c:ser>
          <c:idx val="11"/>
          <c:order val="4"/>
          <c:tx>
            <c:strRef>
              <c:f>List2!$A$14</c:f>
              <c:strCache>
                <c:ptCount val="1"/>
                <c:pt idx="0">
                  <c:v>Lubu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4:$Y$14</c:f>
              <c:numCache>
                <c:formatCode>0.0</c:formatCode>
                <c:ptCount val="24"/>
                <c:pt idx="0">
                  <c:v>0</c:v>
                </c:pt>
                <c:pt idx="1">
                  <c:v>0.19999999999999574</c:v>
                </c:pt>
                <c:pt idx="2">
                  <c:v>1</c:v>
                </c:pt>
                <c:pt idx="3">
                  <c:v>2.2999999999999972</c:v>
                </c:pt>
                <c:pt idx="4">
                  <c:v>7.5999999999999943</c:v>
                </c:pt>
                <c:pt idx="5">
                  <c:v>11.799999999999997</c:v>
                </c:pt>
                <c:pt idx="6">
                  <c:v>15.700000000000003</c:v>
                </c:pt>
                <c:pt idx="7">
                  <c:v>19.899999999999991</c:v>
                </c:pt>
                <c:pt idx="8">
                  <c:v>24.200000000000003</c:v>
                </c:pt>
                <c:pt idx="9">
                  <c:v>23.799999999999997</c:v>
                </c:pt>
                <c:pt idx="10">
                  <c:v>26.200000000000003</c:v>
                </c:pt>
                <c:pt idx="11">
                  <c:v>29.700000000000003</c:v>
                </c:pt>
                <c:pt idx="12">
                  <c:v>31.700000000000003</c:v>
                </c:pt>
                <c:pt idx="13">
                  <c:v>31.599999999999994</c:v>
                </c:pt>
                <c:pt idx="14">
                  <c:v>36.099999999999994</c:v>
                </c:pt>
                <c:pt idx="15">
                  <c:v>38.799999999999997</c:v>
                </c:pt>
                <c:pt idx="16">
                  <c:v>41.3</c:v>
                </c:pt>
                <c:pt idx="17">
                  <c:v>45.5</c:v>
                </c:pt>
                <c:pt idx="18">
                  <c:v>50.399999999999991</c:v>
                </c:pt>
                <c:pt idx="19">
                  <c:v>54.099999999999994</c:v>
                </c:pt>
                <c:pt idx="20">
                  <c:v>52.399999999999991</c:v>
                </c:pt>
                <c:pt idx="21">
                  <c:v>60.599999999999994</c:v>
                </c:pt>
                <c:pt idx="22">
                  <c:v>66.8</c:v>
                </c:pt>
                <c:pt idx="23">
                  <c:v>65.7</c:v>
                </c:pt>
              </c:numCache>
            </c:numRef>
          </c:val>
          <c:smooth val="0"/>
          <c:extLst>
            <c:ext xmlns:c16="http://schemas.microsoft.com/office/drawing/2014/chart" uri="{C3380CC4-5D6E-409C-BE32-E72D297353CC}">
              <c16:uniqueId val="{00000004-436F-4DD4-8D4A-B8AD8E8144AB}"/>
            </c:ext>
          </c:extLst>
        </c:ser>
        <c:ser>
          <c:idx val="12"/>
          <c:order val="5"/>
          <c:tx>
            <c:strRef>
              <c:f>List2!$A$15</c:f>
              <c:strCache>
                <c:ptCount val="1"/>
                <c:pt idx="0">
                  <c:v>Dolnoślą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5:$Y$15</c:f>
              <c:numCache>
                <c:formatCode>0.0</c:formatCode>
                <c:ptCount val="24"/>
                <c:pt idx="0">
                  <c:v>0</c:v>
                </c:pt>
                <c:pt idx="1">
                  <c:v>0</c:v>
                </c:pt>
                <c:pt idx="2">
                  <c:v>2.1000000000000014</c:v>
                </c:pt>
                <c:pt idx="3">
                  <c:v>3.4000000000000057</c:v>
                </c:pt>
                <c:pt idx="4">
                  <c:v>5.2000000000000028</c:v>
                </c:pt>
                <c:pt idx="5">
                  <c:v>8.7000000000000028</c:v>
                </c:pt>
                <c:pt idx="6">
                  <c:v>10.400000000000006</c:v>
                </c:pt>
                <c:pt idx="7">
                  <c:v>16.799999999999997</c:v>
                </c:pt>
                <c:pt idx="8">
                  <c:v>20.400000000000006</c:v>
                </c:pt>
                <c:pt idx="9">
                  <c:v>22.100000000000009</c:v>
                </c:pt>
                <c:pt idx="10">
                  <c:v>25.900000000000006</c:v>
                </c:pt>
                <c:pt idx="11">
                  <c:v>31.200000000000003</c:v>
                </c:pt>
                <c:pt idx="12">
                  <c:v>32.700000000000003</c:v>
                </c:pt>
                <c:pt idx="13">
                  <c:v>32.100000000000009</c:v>
                </c:pt>
                <c:pt idx="14">
                  <c:v>36</c:v>
                </c:pt>
                <c:pt idx="15">
                  <c:v>39.700000000000003</c:v>
                </c:pt>
                <c:pt idx="16">
                  <c:v>41.900000000000006</c:v>
                </c:pt>
                <c:pt idx="17">
                  <c:v>46.8</c:v>
                </c:pt>
                <c:pt idx="18">
                  <c:v>52.7</c:v>
                </c:pt>
                <c:pt idx="19">
                  <c:v>57.7</c:v>
                </c:pt>
                <c:pt idx="20">
                  <c:v>55.100000000000009</c:v>
                </c:pt>
                <c:pt idx="21">
                  <c:v>64.7</c:v>
                </c:pt>
                <c:pt idx="22">
                  <c:v>70.8</c:v>
                </c:pt>
                <c:pt idx="23">
                  <c:v>69.2</c:v>
                </c:pt>
              </c:numCache>
            </c:numRef>
          </c:val>
          <c:smooth val="0"/>
          <c:extLst>
            <c:ext xmlns:c16="http://schemas.microsoft.com/office/drawing/2014/chart" uri="{C3380CC4-5D6E-409C-BE32-E72D297353CC}">
              <c16:uniqueId val="{00000005-436F-4DD4-8D4A-B8AD8E8144AB}"/>
            </c:ext>
          </c:extLst>
        </c:ser>
        <c:ser>
          <c:idx val="13"/>
          <c:order val="6"/>
          <c:tx>
            <c:strRef>
              <c:f>List2!$A$16</c:f>
              <c:strCache>
                <c:ptCount val="1"/>
                <c:pt idx="0">
                  <c:v>Opolskie</c:v>
                </c:pt>
              </c:strCache>
            </c:strRef>
          </c:tx>
          <c:spPr>
            <a:ln w="28575" cap="rnd">
              <a:solidFill>
                <a:schemeClr val="tx1">
                  <a:lumMod val="50000"/>
                  <a:lumOff val="5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6:$Y$16</c:f>
              <c:numCache>
                <c:formatCode>0.0</c:formatCode>
                <c:ptCount val="24"/>
                <c:pt idx="0">
                  <c:v>0</c:v>
                </c:pt>
                <c:pt idx="1">
                  <c:v>-1.5</c:v>
                </c:pt>
                <c:pt idx="2">
                  <c:v>-9.9999999999994316E-2</c:v>
                </c:pt>
                <c:pt idx="3">
                  <c:v>0.40000000000000568</c:v>
                </c:pt>
                <c:pt idx="4">
                  <c:v>4.4000000000000057</c:v>
                </c:pt>
                <c:pt idx="5">
                  <c:v>3.0999999999999943</c:v>
                </c:pt>
                <c:pt idx="6">
                  <c:v>6.5</c:v>
                </c:pt>
                <c:pt idx="7">
                  <c:v>12.700000000000003</c:v>
                </c:pt>
                <c:pt idx="8">
                  <c:v>12.900000000000006</c:v>
                </c:pt>
                <c:pt idx="9">
                  <c:v>11.799999999999997</c:v>
                </c:pt>
                <c:pt idx="10">
                  <c:v>13.5</c:v>
                </c:pt>
                <c:pt idx="11">
                  <c:v>18.200000000000003</c:v>
                </c:pt>
                <c:pt idx="12">
                  <c:v>18.700000000000003</c:v>
                </c:pt>
                <c:pt idx="13">
                  <c:v>18.5</c:v>
                </c:pt>
                <c:pt idx="14">
                  <c:v>23</c:v>
                </c:pt>
                <c:pt idx="15">
                  <c:v>25.5</c:v>
                </c:pt>
                <c:pt idx="16">
                  <c:v>26.400000000000006</c:v>
                </c:pt>
                <c:pt idx="17">
                  <c:v>31.200000000000003</c:v>
                </c:pt>
                <c:pt idx="18">
                  <c:v>36.700000000000003</c:v>
                </c:pt>
                <c:pt idx="19">
                  <c:v>40.799999999999997</c:v>
                </c:pt>
                <c:pt idx="20">
                  <c:v>37</c:v>
                </c:pt>
                <c:pt idx="21">
                  <c:v>45.5</c:v>
                </c:pt>
                <c:pt idx="22">
                  <c:v>48.400000000000006</c:v>
                </c:pt>
                <c:pt idx="23">
                  <c:v>46.900000000000006</c:v>
                </c:pt>
              </c:numCache>
            </c:numRef>
          </c:val>
          <c:smooth val="0"/>
          <c:extLst>
            <c:ext xmlns:c16="http://schemas.microsoft.com/office/drawing/2014/chart" uri="{C3380CC4-5D6E-409C-BE32-E72D297353CC}">
              <c16:uniqueId val="{00000006-436F-4DD4-8D4A-B8AD8E8144AB}"/>
            </c:ext>
          </c:extLst>
        </c:ser>
        <c:ser>
          <c:idx val="14"/>
          <c:order val="7"/>
          <c:tx>
            <c:strRef>
              <c:f>List2!$A$17</c:f>
              <c:strCache>
                <c:ptCount val="1"/>
                <c:pt idx="0">
                  <c:v>Kujawsko-pomor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7:$Y$17</c:f>
              <c:numCache>
                <c:formatCode>0.0</c:formatCode>
                <c:ptCount val="24"/>
                <c:pt idx="0">
                  <c:v>0</c:v>
                </c:pt>
                <c:pt idx="1">
                  <c:v>1.1999999999999957</c:v>
                </c:pt>
                <c:pt idx="2">
                  <c:v>2.4999999999999929</c:v>
                </c:pt>
                <c:pt idx="3">
                  <c:v>4.4999999999999929</c:v>
                </c:pt>
                <c:pt idx="4">
                  <c:v>8.8000000000000043</c:v>
                </c:pt>
                <c:pt idx="5">
                  <c:v>10.399999999999999</c:v>
                </c:pt>
                <c:pt idx="6">
                  <c:v>15.499999999999993</c:v>
                </c:pt>
                <c:pt idx="7">
                  <c:v>20.699999999999996</c:v>
                </c:pt>
                <c:pt idx="8">
                  <c:v>24.1</c:v>
                </c:pt>
                <c:pt idx="9">
                  <c:v>23.199999999999996</c:v>
                </c:pt>
                <c:pt idx="10">
                  <c:v>25.499999999999993</c:v>
                </c:pt>
                <c:pt idx="11">
                  <c:v>29.199999999999996</c:v>
                </c:pt>
                <c:pt idx="12">
                  <c:v>29.499999999999993</c:v>
                </c:pt>
                <c:pt idx="13">
                  <c:v>30.300000000000004</c:v>
                </c:pt>
                <c:pt idx="14">
                  <c:v>33.199999999999996</c:v>
                </c:pt>
                <c:pt idx="15">
                  <c:v>36.9</c:v>
                </c:pt>
                <c:pt idx="16">
                  <c:v>38.999999999999993</c:v>
                </c:pt>
                <c:pt idx="17">
                  <c:v>43.499999999999993</c:v>
                </c:pt>
                <c:pt idx="18">
                  <c:v>50.1</c:v>
                </c:pt>
                <c:pt idx="19">
                  <c:v>52.9</c:v>
                </c:pt>
                <c:pt idx="20">
                  <c:v>52.1</c:v>
                </c:pt>
                <c:pt idx="21">
                  <c:v>60.499999999999993</c:v>
                </c:pt>
                <c:pt idx="22">
                  <c:v>66.900000000000006</c:v>
                </c:pt>
                <c:pt idx="23">
                  <c:v>63.4</c:v>
                </c:pt>
              </c:numCache>
            </c:numRef>
          </c:val>
          <c:smooth val="0"/>
          <c:extLst>
            <c:ext xmlns:c16="http://schemas.microsoft.com/office/drawing/2014/chart" uri="{C3380CC4-5D6E-409C-BE32-E72D297353CC}">
              <c16:uniqueId val="{00000007-436F-4DD4-8D4A-B8AD8E8144AB}"/>
            </c:ext>
          </c:extLst>
        </c:ser>
        <c:ser>
          <c:idx val="15"/>
          <c:order val="8"/>
          <c:tx>
            <c:strRef>
              <c:f>List2!$A$18</c:f>
              <c:strCache>
                <c:ptCount val="1"/>
                <c:pt idx="0">
                  <c:v>Warmińsko-mazur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8:$Y$18</c:f>
              <c:numCache>
                <c:formatCode>0.0</c:formatCode>
                <c:ptCount val="24"/>
                <c:pt idx="0">
                  <c:v>0</c:v>
                </c:pt>
                <c:pt idx="1">
                  <c:v>-0.80000000000001137</c:v>
                </c:pt>
                <c:pt idx="2">
                  <c:v>0.5</c:v>
                </c:pt>
                <c:pt idx="3">
                  <c:v>4.5999999999999943</c:v>
                </c:pt>
                <c:pt idx="4">
                  <c:v>7</c:v>
                </c:pt>
                <c:pt idx="5">
                  <c:v>8.0999999999999943</c:v>
                </c:pt>
                <c:pt idx="6">
                  <c:v>11.199999999999989</c:v>
                </c:pt>
                <c:pt idx="7">
                  <c:v>14</c:v>
                </c:pt>
                <c:pt idx="8">
                  <c:v>17.799999999999997</c:v>
                </c:pt>
                <c:pt idx="9">
                  <c:v>19.899999999999991</c:v>
                </c:pt>
                <c:pt idx="10">
                  <c:v>22.5</c:v>
                </c:pt>
                <c:pt idx="11">
                  <c:v>26.299999999999997</c:v>
                </c:pt>
                <c:pt idx="12">
                  <c:v>26.299999999999997</c:v>
                </c:pt>
                <c:pt idx="13">
                  <c:v>26.199999999999989</c:v>
                </c:pt>
                <c:pt idx="14">
                  <c:v>30.699999999999989</c:v>
                </c:pt>
                <c:pt idx="15">
                  <c:v>33.099999999999994</c:v>
                </c:pt>
                <c:pt idx="16">
                  <c:v>35</c:v>
                </c:pt>
                <c:pt idx="17">
                  <c:v>39.199999999999989</c:v>
                </c:pt>
                <c:pt idx="18">
                  <c:v>43.3</c:v>
                </c:pt>
                <c:pt idx="19">
                  <c:v>46.899999999999991</c:v>
                </c:pt>
                <c:pt idx="20">
                  <c:v>46</c:v>
                </c:pt>
                <c:pt idx="21">
                  <c:v>54.099999999999994</c:v>
                </c:pt>
                <c:pt idx="22">
                  <c:v>58.899999999999991</c:v>
                </c:pt>
                <c:pt idx="23">
                  <c:v>58.8</c:v>
                </c:pt>
              </c:numCache>
            </c:numRef>
          </c:val>
          <c:smooth val="0"/>
          <c:extLst>
            <c:ext xmlns:c16="http://schemas.microsoft.com/office/drawing/2014/chart" uri="{C3380CC4-5D6E-409C-BE32-E72D297353CC}">
              <c16:uniqueId val="{00000008-436F-4DD4-8D4A-B8AD8E8144AB}"/>
            </c:ext>
          </c:extLst>
        </c:ser>
        <c:ser>
          <c:idx val="16"/>
          <c:order val="9"/>
          <c:tx>
            <c:strRef>
              <c:f>List2!$A$19</c:f>
              <c:strCache>
                <c:ptCount val="1"/>
                <c:pt idx="0">
                  <c:v>Pomor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19:$Y$19</c:f>
              <c:numCache>
                <c:formatCode>0.0</c:formatCode>
                <c:ptCount val="24"/>
                <c:pt idx="0">
                  <c:v>0</c:v>
                </c:pt>
                <c:pt idx="1">
                  <c:v>1.1999999999999957</c:v>
                </c:pt>
                <c:pt idx="2">
                  <c:v>3.5</c:v>
                </c:pt>
                <c:pt idx="3">
                  <c:v>5</c:v>
                </c:pt>
                <c:pt idx="4">
                  <c:v>9.7000000000000028</c:v>
                </c:pt>
                <c:pt idx="5">
                  <c:v>12</c:v>
                </c:pt>
                <c:pt idx="6">
                  <c:v>15.5</c:v>
                </c:pt>
                <c:pt idx="7">
                  <c:v>20.599999999999994</c:v>
                </c:pt>
                <c:pt idx="8">
                  <c:v>22.399999999999991</c:v>
                </c:pt>
                <c:pt idx="9">
                  <c:v>26.399999999999991</c:v>
                </c:pt>
                <c:pt idx="10">
                  <c:v>28.700000000000003</c:v>
                </c:pt>
                <c:pt idx="11">
                  <c:v>33.5</c:v>
                </c:pt>
                <c:pt idx="12">
                  <c:v>35.899999999999991</c:v>
                </c:pt>
                <c:pt idx="13">
                  <c:v>36</c:v>
                </c:pt>
                <c:pt idx="14">
                  <c:v>39.200000000000003</c:v>
                </c:pt>
                <c:pt idx="15">
                  <c:v>44.8</c:v>
                </c:pt>
                <c:pt idx="16">
                  <c:v>49.099999999999994</c:v>
                </c:pt>
                <c:pt idx="17">
                  <c:v>54.099999999999994</c:v>
                </c:pt>
                <c:pt idx="18">
                  <c:v>61.5</c:v>
                </c:pt>
                <c:pt idx="19">
                  <c:v>67.399999999999991</c:v>
                </c:pt>
                <c:pt idx="20">
                  <c:v>62.8</c:v>
                </c:pt>
                <c:pt idx="21">
                  <c:v>72.3</c:v>
                </c:pt>
                <c:pt idx="22">
                  <c:v>79.499999999999986</c:v>
                </c:pt>
                <c:pt idx="23">
                  <c:v>82.899999999999991</c:v>
                </c:pt>
              </c:numCache>
            </c:numRef>
          </c:val>
          <c:smooth val="0"/>
          <c:extLst>
            <c:ext xmlns:c16="http://schemas.microsoft.com/office/drawing/2014/chart" uri="{C3380CC4-5D6E-409C-BE32-E72D297353CC}">
              <c16:uniqueId val="{00000009-436F-4DD4-8D4A-B8AD8E8144AB}"/>
            </c:ext>
          </c:extLst>
        </c:ser>
        <c:ser>
          <c:idx val="17"/>
          <c:order val="10"/>
          <c:tx>
            <c:strRef>
              <c:f>List2!$A$20</c:f>
              <c:strCache>
                <c:ptCount val="1"/>
                <c:pt idx="0">
                  <c:v>Łódz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20:$Y$20</c:f>
              <c:numCache>
                <c:formatCode>0.0</c:formatCode>
                <c:ptCount val="24"/>
                <c:pt idx="0">
                  <c:v>0</c:v>
                </c:pt>
                <c:pt idx="1">
                  <c:v>0.89999999999999858</c:v>
                </c:pt>
                <c:pt idx="2">
                  <c:v>2.8999999999999986</c:v>
                </c:pt>
                <c:pt idx="3">
                  <c:v>6</c:v>
                </c:pt>
                <c:pt idx="4">
                  <c:v>9.0999999999999943</c:v>
                </c:pt>
                <c:pt idx="5">
                  <c:v>11</c:v>
                </c:pt>
                <c:pt idx="6">
                  <c:v>15.399999999999991</c:v>
                </c:pt>
                <c:pt idx="7">
                  <c:v>19.599999999999994</c:v>
                </c:pt>
                <c:pt idx="8">
                  <c:v>24.099999999999994</c:v>
                </c:pt>
                <c:pt idx="9">
                  <c:v>25.399999999999991</c:v>
                </c:pt>
                <c:pt idx="10">
                  <c:v>29.200000000000003</c:v>
                </c:pt>
                <c:pt idx="11">
                  <c:v>33.099999999999994</c:v>
                </c:pt>
                <c:pt idx="12">
                  <c:v>35.099999999999994</c:v>
                </c:pt>
                <c:pt idx="13">
                  <c:v>34.799999999999997</c:v>
                </c:pt>
                <c:pt idx="14">
                  <c:v>38.899999999999991</c:v>
                </c:pt>
                <c:pt idx="15">
                  <c:v>42.3</c:v>
                </c:pt>
                <c:pt idx="16">
                  <c:v>43.899999999999991</c:v>
                </c:pt>
                <c:pt idx="17">
                  <c:v>48.7</c:v>
                </c:pt>
                <c:pt idx="18">
                  <c:v>54.099999999999994</c:v>
                </c:pt>
                <c:pt idx="19">
                  <c:v>59.8</c:v>
                </c:pt>
                <c:pt idx="20">
                  <c:v>59.399999999999991</c:v>
                </c:pt>
                <c:pt idx="21">
                  <c:v>65.899999999999991</c:v>
                </c:pt>
                <c:pt idx="22">
                  <c:v>70.7</c:v>
                </c:pt>
                <c:pt idx="23">
                  <c:v>68.399999999999991</c:v>
                </c:pt>
              </c:numCache>
            </c:numRef>
          </c:val>
          <c:smooth val="0"/>
          <c:extLst>
            <c:ext xmlns:c16="http://schemas.microsoft.com/office/drawing/2014/chart" uri="{C3380CC4-5D6E-409C-BE32-E72D297353CC}">
              <c16:uniqueId val="{0000000A-436F-4DD4-8D4A-B8AD8E8144AB}"/>
            </c:ext>
          </c:extLst>
        </c:ser>
        <c:ser>
          <c:idx val="18"/>
          <c:order val="11"/>
          <c:tx>
            <c:strRef>
              <c:f>List2!$A$21</c:f>
              <c:strCache>
                <c:ptCount val="1"/>
                <c:pt idx="0">
                  <c:v>Świętokrzy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21:$Y$21</c:f>
              <c:numCache>
                <c:formatCode>0.0</c:formatCode>
                <c:ptCount val="24"/>
                <c:pt idx="0">
                  <c:v>0</c:v>
                </c:pt>
                <c:pt idx="1">
                  <c:v>0.29999999999999716</c:v>
                </c:pt>
                <c:pt idx="2">
                  <c:v>2.4000000000000057</c:v>
                </c:pt>
                <c:pt idx="3">
                  <c:v>5.7000000000000028</c:v>
                </c:pt>
                <c:pt idx="4">
                  <c:v>9</c:v>
                </c:pt>
                <c:pt idx="5">
                  <c:v>8.5999999999999943</c:v>
                </c:pt>
                <c:pt idx="6">
                  <c:v>14.400000000000006</c:v>
                </c:pt>
                <c:pt idx="7">
                  <c:v>19.799999999999997</c:v>
                </c:pt>
                <c:pt idx="8">
                  <c:v>24.799999999999997</c:v>
                </c:pt>
                <c:pt idx="9">
                  <c:v>24</c:v>
                </c:pt>
                <c:pt idx="10">
                  <c:v>26.299999999999997</c:v>
                </c:pt>
                <c:pt idx="11">
                  <c:v>29.599999999999994</c:v>
                </c:pt>
                <c:pt idx="12">
                  <c:v>29.5</c:v>
                </c:pt>
                <c:pt idx="13">
                  <c:v>27.799999999999997</c:v>
                </c:pt>
                <c:pt idx="14">
                  <c:v>31.400000000000006</c:v>
                </c:pt>
                <c:pt idx="15">
                  <c:v>34</c:v>
                </c:pt>
                <c:pt idx="16">
                  <c:v>35.200000000000003</c:v>
                </c:pt>
                <c:pt idx="17">
                  <c:v>39.200000000000003</c:v>
                </c:pt>
                <c:pt idx="18">
                  <c:v>45.900000000000006</c:v>
                </c:pt>
                <c:pt idx="19">
                  <c:v>48.400000000000006</c:v>
                </c:pt>
                <c:pt idx="20">
                  <c:v>47.5</c:v>
                </c:pt>
                <c:pt idx="21">
                  <c:v>55.599999999999994</c:v>
                </c:pt>
                <c:pt idx="22">
                  <c:v>58.7</c:v>
                </c:pt>
                <c:pt idx="23">
                  <c:v>58.8</c:v>
                </c:pt>
              </c:numCache>
            </c:numRef>
          </c:val>
          <c:smooth val="0"/>
          <c:extLst>
            <c:ext xmlns:c16="http://schemas.microsoft.com/office/drawing/2014/chart" uri="{C3380CC4-5D6E-409C-BE32-E72D297353CC}">
              <c16:uniqueId val="{0000000B-436F-4DD4-8D4A-B8AD8E8144AB}"/>
            </c:ext>
          </c:extLst>
        </c:ser>
        <c:ser>
          <c:idx val="19"/>
          <c:order val="12"/>
          <c:tx>
            <c:strRef>
              <c:f>List2!$A$22</c:f>
              <c:strCache>
                <c:ptCount val="1"/>
                <c:pt idx="0">
                  <c:v>Lubel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22:$Y$22</c:f>
              <c:numCache>
                <c:formatCode>0.0</c:formatCode>
                <c:ptCount val="24"/>
                <c:pt idx="0">
                  <c:v>0</c:v>
                </c:pt>
                <c:pt idx="1">
                  <c:v>1.5999999999999943</c:v>
                </c:pt>
                <c:pt idx="2">
                  <c:v>2.2000000000000028</c:v>
                </c:pt>
                <c:pt idx="3">
                  <c:v>5</c:v>
                </c:pt>
                <c:pt idx="4">
                  <c:v>6.7999999999999972</c:v>
                </c:pt>
                <c:pt idx="5">
                  <c:v>7.9000000000000057</c:v>
                </c:pt>
                <c:pt idx="6">
                  <c:v>11.400000000000006</c:v>
                </c:pt>
                <c:pt idx="7">
                  <c:v>15.799999999999997</c:v>
                </c:pt>
                <c:pt idx="8">
                  <c:v>20</c:v>
                </c:pt>
                <c:pt idx="9">
                  <c:v>20.700000000000003</c:v>
                </c:pt>
                <c:pt idx="10">
                  <c:v>23.5</c:v>
                </c:pt>
                <c:pt idx="11">
                  <c:v>28.5</c:v>
                </c:pt>
                <c:pt idx="12">
                  <c:v>30</c:v>
                </c:pt>
                <c:pt idx="13">
                  <c:v>31</c:v>
                </c:pt>
                <c:pt idx="14">
                  <c:v>33.900000000000006</c:v>
                </c:pt>
                <c:pt idx="15">
                  <c:v>35.5</c:v>
                </c:pt>
                <c:pt idx="16">
                  <c:v>38.400000000000006</c:v>
                </c:pt>
                <c:pt idx="17">
                  <c:v>42.7</c:v>
                </c:pt>
                <c:pt idx="18">
                  <c:v>46.599999999999994</c:v>
                </c:pt>
                <c:pt idx="19">
                  <c:v>51.2</c:v>
                </c:pt>
                <c:pt idx="20">
                  <c:v>49.599999999999994</c:v>
                </c:pt>
                <c:pt idx="21">
                  <c:v>57.099999999999994</c:v>
                </c:pt>
                <c:pt idx="22">
                  <c:v>64.099999999999994</c:v>
                </c:pt>
                <c:pt idx="23">
                  <c:v>63.800000000000011</c:v>
                </c:pt>
              </c:numCache>
            </c:numRef>
          </c:val>
          <c:smooth val="0"/>
          <c:extLst>
            <c:ext xmlns:c16="http://schemas.microsoft.com/office/drawing/2014/chart" uri="{C3380CC4-5D6E-409C-BE32-E72D297353CC}">
              <c16:uniqueId val="{0000000C-436F-4DD4-8D4A-B8AD8E8144AB}"/>
            </c:ext>
          </c:extLst>
        </c:ser>
        <c:ser>
          <c:idx val="20"/>
          <c:order val="13"/>
          <c:tx>
            <c:strRef>
              <c:f>List2!$A$23</c:f>
              <c:strCache>
                <c:ptCount val="1"/>
                <c:pt idx="0">
                  <c:v>Podkarpac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23:$Y$23</c:f>
              <c:numCache>
                <c:formatCode>0.0</c:formatCode>
                <c:ptCount val="24"/>
                <c:pt idx="0">
                  <c:v>0</c:v>
                </c:pt>
                <c:pt idx="1">
                  <c:v>1.8000000000000043</c:v>
                </c:pt>
                <c:pt idx="2">
                  <c:v>3.3000000000000043</c:v>
                </c:pt>
                <c:pt idx="3">
                  <c:v>5.8000000000000043</c:v>
                </c:pt>
                <c:pt idx="4">
                  <c:v>9.1999999999999957</c:v>
                </c:pt>
                <c:pt idx="5">
                  <c:v>12.699999999999996</c:v>
                </c:pt>
                <c:pt idx="6">
                  <c:v>16.600000000000001</c:v>
                </c:pt>
                <c:pt idx="7">
                  <c:v>20.000000000000007</c:v>
                </c:pt>
                <c:pt idx="8">
                  <c:v>24.800000000000004</c:v>
                </c:pt>
                <c:pt idx="9">
                  <c:v>25.800000000000004</c:v>
                </c:pt>
                <c:pt idx="10">
                  <c:v>28.500000000000007</c:v>
                </c:pt>
                <c:pt idx="11">
                  <c:v>33.9</c:v>
                </c:pt>
                <c:pt idx="12">
                  <c:v>34.199999999999996</c:v>
                </c:pt>
                <c:pt idx="13">
                  <c:v>35.800000000000004</c:v>
                </c:pt>
                <c:pt idx="14">
                  <c:v>38.800000000000004</c:v>
                </c:pt>
                <c:pt idx="15">
                  <c:v>42.6</c:v>
                </c:pt>
                <c:pt idx="16">
                  <c:v>45.500000000000007</c:v>
                </c:pt>
                <c:pt idx="17">
                  <c:v>50.4</c:v>
                </c:pt>
                <c:pt idx="18">
                  <c:v>58.300000000000004</c:v>
                </c:pt>
                <c:pt idx="19">
                  <c:v>63.1</c:v>
                </c:pt>
                <c:pt idx="20">
                  <c:v>57.4</c:v>
                </c:pt>
                <c:pt idx="21">
                  <c:v>67.199999999999989</c:v>
                </c:pt>
                <c:pt idx="22">
                  <c:v>73</c:v>
                </c:pt>
                <c:pt idx="23">
                  <c:v>73.599999999999994</c:v>
                </c:pt>
              </c:numCache>
            </c:numRef>
          </c:val>
          <c:smooth val="0"/>
          <c:extLst>
            <c:ext xmlns:c16="http://schemas.microsoft.com/office/drawing/2014/chart" uri="{C3380CC4-5D6E-409C-BE32-E72D297353CC}">
              <c16:uniqueId val="{0000000D-436F-4DD4-8D4A-B8AD8E8144AB}"/>
            </c:ext>
          </c:extLst>
        </c:ser>
        <c:ser>
          <c:idx val="21"/>
          <c:order val="14"/>
          <c:tx>
            <c:strRef>
              <c:f>List2!$A$24</c:f>
              <c:strCache>
                <c:ptCount val="1"/>
                <c:pt idx="0">
                  <c:v>Podlaskie</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24:$Y$24</c:f>
              <c:numCache>
                <c:formatCode>0.0</c:formatCode>
                <c:ptCount val="24"/>
                <c:pt idx="0">
                  <c:v>0</c:v>
                </c:pt>
                <c:pt idx="1">
                  <c:v>3.1000000000000085</c:v>
                </c:pt>
                <c:pt idx="2">
                  <c:v>4.5</c:v>
                </c:pt>
                <c:pt idx="3">
                  <c:v>6.6000000000000085</c:v>
                </c:pt>
                <c:pt idx="4">
                  <c:v>7.7000000000000028</c:v>
                </c:pt>
                <c:pt idx="5">
                  <c:v>9.5</c:v>
                </c:pt>
                <c:pt idx="6">
                  <c:v>11.799999999999997</c:v>
                </c:pt>
                <c:pt idx="7">
                  <c:v>16.200000000000003</c:v>
                </c:pt>
                <c:pt idx="8">
                  <c:v>18.100000000000009</c:v>
                </c:pt>
                <c:pt idx="9">
                  <c:v>21</c:v>
                </c:pt>
                <c:pt idx="10">
                  <c:v>23.100000000000009</c:v>
                </c:pt>
                <c:pt idx="11">
                  <c:v>27</c:v>
                </c:pt>
                <c:pt idx="12">
                  <c:v>27.200000000000003</c:v>
                </c:pt>
                <c:pt idx="13">
                  <c:v>28.900000000000006</c:v>
                </c:pt>
                <c:pt idx="14">
                  <c:v>32.400000000000006</c:v>
                </c:pt>
                <c:pt idx="15">
                  <c:v>34.200000000000003</c:v>
                </c:pt>
                <c:pt idx="16">
                  <c:v>35.700000000000003</c:v>
                </c:pt>
                <c:pt idx="17">
                  <c:v>41.400000000000006</c:v>
                </c:pt>
                <c:pt idx="18">
                  <c:v>47.400000000000006</c:v>
                </c:pt>
                <c:pt idx="19">
                  <c:v>52.8</c:v>
                </c:pt>
                <c:pt idx="20">
                  <c:v>54</c:v>
                </c:pt>
                <c:pt idx="21">
                  <c:v>59.8</c:v>
                </c:pt>
                <c:pt idx="22">
                  <c:v>66.7</c:v>
                </c:pt>
                <c:pt idx="23">
                  <c:v>70.399999999999991</c:v>
                </c:pt>
              </c:numCache>
            </c:numRef>
          </c:val>
          <c:smooth val="0"/>
          <c:extLst>
            <c:ext xmlns:c16="http://schemas.microsoft.com/office/drawing/2014/chart" uri="{C3380CC4-5D6E-409C-BE32-E72D297353CC}">
              <c16:uniqueId val="{0000000E-436F-4DD4-8D4A-B8AD8E8144AB}"/>
            </c:ext>
          </c:extLst>
        </c:ser>
        <c:ser>
          <c:idx val="22"/>
          <c:order val="15"/>
          <c:tx>
            <c:strRef>
              <c:f>List2!$A$25</c:f>
              <c:strCache>
                <c:ptCount val="1"/>
                <c:pt idx="0">
                  <c:v>Mazowiecki regionalny</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25:$Y$25</c:f>
              <c:numCache>
                <c:formatCode>0.0</c:formatCode>
                <c:ptCount val="24"/>
                <c:pt idx="0">
                  <c:v>0</c:v>
                </c:pt>
                <c:pt idx="1">
                  <c:v>1.7999999999999972</c:v>
                </c:pt>
                <c:pt idx="2">
                  <c:v>2.2999999999999972</c:v>
                </c:pt>
                <c:pt idx="3">
                  <c:v>4.7000000000000028</c:v>
                </c:pt>
                <c:pt idx="4">
                  <c:v>9</c:v>
                </c:pt>
                <c:pt idx="5">
                  <c:v>10.599999999999994</c:v>
                </c:pt>
                <c:pt idx="6">
                  <c:v>15.299999999999997</c:v>
                </c:pt>
                <c:pt idx="7">
                  <c:v>19.400000000000006</c:v>
                </c:pt>
                <c:pt idx="8">
                  <c:v>23.200000000000003</c:v>
                </c:pt>
                <c:pt idx="9">
                  <c:v>27.400000000000006</c:v>
                </c:pt>
                <c:pt idx="10">
                  <c:v>31.299999999999997</c:v>
                </c:pt>
                <c:pt idx="11">
                  <c:v>37.299999999999997</c:v>
                </c:pt>
                <c:pt idx="12">
                  <c:v>38.200000000000003</c:v>
                </c:pt>
                <c:pt idx="13">
                  <c:v>37.5</c:v>
                </c:pt>
                <c:pt idx="14">
                  <c:v>42</c:v>
                </c:pt>
                <c:pt idx="15">
                  <c:v>46.5</c:v>
                </c:pt>
                <c:pt idx="16">
                  <c:v>50.099999999999994</c:v>
                </c:pt>
                <c:pt idx="17">
                  <c:v>53.7</c:v>
                </c:pt>
                <c:pt idx="18">
                  <c:v>57.3</c:v>
                </c:pt>
                <c:pt idx="19">
                  <c:v>64.2</c:v>
                </c:pt>
                <c:pt idx="20">
                  <c:v>65.099999999999994</c:v>
                </c:pt>
                <c:pt idx="21">
                  <c:v>70.400000000000006</c:v>
                </c:pt>
                <c:pt idx="22">
                  <c:v>78</c:v>
                </c:pt>
                <c:pt idx="23">
                  <c:v>81.599999999999994</c:v>
                </c:pt>
              </c:numCache>
            </c:numRef>
          </c:val>
          <c:smooth val="0"/>
          <c:extLst>
            <c:ext xmlns:c16="http://schemas.microsoft.com/office/drawing/2014/chart" uri="{C3380CC4-5D6E-409C-BE32-E72D297353CC}">
              <c16:uniqueId val="{0000000F-436F-4DD4-8D4A-B8AD8E8144AB}"/>
            </c:ext>
          </c:extLst>
        </c:ser>
        <c:dLbls>
          <c:showLegendKey val="0"/>
          <c:showVal val="0"/>
          <c:showCatName val="0"/>
          <c:showSerName val="0"/>
          <c:showPercent val="0"/>
          <c:showBubbleSize val="0"/>
        </c:dLbls>
        <c:smooth val="0"/>
        <c:axId val="718793391"/>
        <c:axId val="718795311"/>
      </c:lineChart>
      <c:catAx>
        <c:axId val="7187933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crossAx val="718795311"/>
        <c:crosses val="autoZero"/>
        <c:auto val="1"/>
        <c:lblAlgn val="ctr"/>
        <c:lblOffset val="100"/>
        <c:tickLblSkip val="5"/>
        <c:noMultiLvlLbl val="0"/>
      </c:catAx>
      <c:valAx>
        <c:axId val="718795311"/>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crossAx val="7187933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List2!$A$3</c:f>
              <c:strCache>
                <c:ptCount val="1"/>
                <c:pt idx="0">
                  <c:v>Střední Čechy</c:v>
                </c:pt>
              </c:strCache>
            </c:strRef>
          </c:tx>
          <c:spPr>
            <a:ln w="28575" cap="rnd">
              <a:solidFill>
                <a:schemeClr val="tx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3:$Y$3</c:f>
              <c:numCache>
                <c:formatCode>0.0</c:formatCode>
                <c:ptCount val="24"/>
                <c:pt idx="0">
                  <c:v>0</c:v>
                </c:pt>
                <c:pt idx="1">
                  <c:v>1.7000000000000028</c:v>
                </c:pt>
                <c:pt idx="2">
                  <c:v>5.2000000000000028</c:v>
                </c:pt>
                <c:pt idx="3">
                  <c:v>5.6999999999999957</c:v>
                </c:pt>
                <c:pt idx="4">
                  <c:v>9.5000000000000071</c:v>
                </c:pt>
                <c:pt idx="5">
                  <c:v>13.000000000000007</c:v>
                </c:pt>
                <c:pt idx="6">
                  <c:v>22.800000000000004</c:v>
                </c:pt>
                <c:pt idx="7">
                  <c:v>31.500000000000007</c:v>
                </c:pt>
                <c:pt idx="8">
                  <c:v>35.500000000000007</c:v>
                </c:pt>
                <c:pt idx="9">
                  <c:v>29.500000000000007</c:v>
                </c:pt>
                <c:pt idx="10">
                  <c:v>30.9</c:v>
                </c:pt>
                <c:pt idx="11">
                  <c:v>37.300000000000004</c:v>
                </c:pt>
                <c:pt idx="12">
                  <c:v>36.6</c:v>
                </c:pt>
                <c:pt idx="13">
                  <c:v>34.199999999999996</c:v>
                </c:pt>
                <c:pt idx="14">
                  <c:v>36.199999999999996</c:v>
                </c:pt>
                <c:pt idx="15">
                  <c:v>41.6</c:v>
                </c:pt>
                <c:pt idx="16">
                  <c:v>47.000000000000007</c:v>
                </c:pt>
                <c:pt idx="17">
                  <c:v>54.699999999999996</c:v>
                </c:pt>
                <c:pt idx="18">
                  <c:v>57.500000000000007</c:v>
                </c:pt>
                <c:pt idx="19">
                  <c:v>66.800000000000011</c:v>
                </c:pt>
                <c:pt idx="20">
                  <c:v>56.199999999999996</c:v>
                </c:pt>
                <c:pt idx="21">
                  <c:v>60.000000000000007</c:v>
                </c:pt>
                <c:pt idx="22">
                  <c:v>66.900000000000006</c:v>
                </c:pt>
                <c:pt idx="23">
                  <c:v>68.699999999999989</c:v>
                </c:pt>
              </c:numCache>
            </c:numRef>
          </c:val>
          <c:smooth val="0"/>
          <c:extLst>
            <c:ext xmlns:c16="http://schemas.microsoft.com/office/drawing/2014/chart" uri="{C3380CC4-5D6E-409C-BE32-E72D297353CC}">
              <c16:uniqueId val="{00000000-45E3-489E-80E9-5860F805B94B}"/>
            </c:ext>
          </c:extLst>
        </c:ser>
        <c:ser>
          <c:idx val="1"/>
          <c:order val="1"/>
          <c:tx>
            <c:strRef>
              <c:f>List2!$A$4</c:f>
              <c:strCache>
                <c:ptCount val="1"/>
                <c:pt idx="0">
                  <c:v>Jihozápad</c:v>
                </c:pt>
              </c:strCache>
            </c:strRef>
          </c:tx>
          <c:spPr>
            <a:ln w="28575" cap="rnd">
              <a:solidFill>
                <a:schemeClr val="tx1">
                  <a:lumMod val="50000"/>
                  <a:lumOff val="5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4:$Y$4</c:f>
              <c:numCache>
                <c:formatCode>0.0</c:formatCode>
                <c:ptCount val="24"/>
                <c:pt idx="0">
                  <c:v>0</c:v>
                </c:pt>
                <c:pt idx="1">
                  <c:v>1.4000000000000057</c:v>
                </c:pt>
                <c:pt idx="2">
                  <c:v>1.4000000000000057</c:v>
                </c:pt>
                <c:pt idx="3">
                  <c:v>3.6000000000000085</c:v>
                </c:pt>
                <c:pt idx="4">
                  <c:v>9.1000000000000085</c:v>
                </c:pt>
                <c:pt idx="5">
                  <c:v>14</c:v>
                </c:pt>
                <c:pt idx="6">
                  <c:v>19.700000000000003</c:v>
                </c:pt>
                <c:pt idx="7">
                  <c:v>15.600000000000009</c:v>
                </c:pt>
                <c:pt idx="8">
                  <c:v>18.700000000000003</c:v>
                </c:pt>
                <c:pt idx="9">
                  <c:v>16.299999999999997</c:v>
                </c:pt>
                <c:pt idx="10">
                  <c:v>19.5</c:v>
                </c:pt>
                <c:pt idx="11">
                  <c:v>20.700000000000003</c:v>
                </c:pt>
                <c:pt idx="12">
                  <c:v>18.900000000000006</c:v>
                </c:pt>
                <c:pt idx="13">
                  <c:v>19.400000000000006</c:v>
                </c:pt>
                <c:pt idx="14">
                  <c:v>20.900000000000006</c:v>
                </c:pt>
                <c:pt idx="15">
                  <c:v>24.700000000000003</c:v>
                </c:pt>
                <c:pt idx="16">
                  <c:v>26.600000000000009</c:v>
                </c:pt>
                <c:pt idx="17">
                  <c:v>33</c:v>
                </c:pt>
                <c:pt idx="18">
                  <c:v>35.5</c:v>
                </c:pt>
                <c:pt idx="19">
                  <c:v>38.299999999999997</c:v>
                </c:pt>
                <c:pt idx="20">
                  <c:v>32.600000000000009</c:v>
                </c:pt>
                <c:pt idx="21">
                  <c:v>36</c:v>
                </c:pt>
                <c:pt idx="22">
                  <c:v>38</c:v>
                </c:pt>
                <c:pt idx="23">
                  <c:v>39.100000000000009</c:v>
                </c:pt>
              </c:numCache>
            </c:numRef>
          </c:val>
          <c:smooth val="0"/>
          <c:extLst>
            <c:ext xmlns:c16="http://schemas.microsoft.com/office/drawing/2014/chart" uri="{C3380CC4-5D6E-409C-BE32-E72D297353CC}">
              <c16:uniqueId val="{00000001-45E3-489E-80E9-5860F805B94B}"/>
            </c:ext>
          </c:extLst>
        </c:ser>
        <c:ser>
          <c:idx val="2"/>
          <c:order val="2"/>
          <c:tx>
            <c:strRef>
              <c:f>List2!$A$5</c:f>
              <c:strCache>
                <c:ptCount val="1"/>
                <c:pt idx="0">
                  <c:v>Severozápad</c:v>
                </c:pt>
              </c:strCache>
            </c:strRef>
          </c:tx>
          <c:spPr>
            <a:ln w="28575" cap="rnd">
              <a:solidFill>
                <a:schemeClr val="bg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5:$Y$5</c:f>
              <c:numCache>
                <c:formatCode>0.0</c:formatCode>
                <c:ptCount val="24"/>
                <c:pt idx="0">
                  <c:v>0</c:v>
                </c:pt>
                <c:pt idx="1">
                  <c:v>-0.39999999999999147</c:v>
                </c:pt>
                <c:pt idx="2">
                  <c:v>0.10000000000000853</c:v>
                </c:pt>
                <c:pt idx="3">
                  <c:v>4.1000000000000085</c:v>
                </c:pt>
                <c:pt idx="4">
                  <c:v>3.7000000000000028</c:v>
                </c:pt>
                <c:pt idx="5">
                  <c:v>7.7000000000000028</c:v>
                </c:pt>
                <c:pt idx="6">
                  <c:v>14.300000000000011</c:v>
                </c:pt>
                <c:pt idx="7">
                  <c:v>15.200000000000003</c:v>
                </c:pt>
                <c:pt idx="8">
                  <c:v>16.300000000000011</c:v>
                </c:pt>
                <c:pt idx="9">
                  <c:v>16.700000000000003</c:v>
                </c:pt>
                <c:pt idx="10">
                  <c:v>12.900000000000006</c:v>
                </c:pt>
                <c:pt idx="11">
                  <c:v>11</c:v>
                </c:pt>
                <c:pt idx="12">
                  <c:v>11.5</c:v>
                </c:pt>
                <c:pt idx="13">
                  <c:v>10</c:v>
                </c:pt>
                <c:pt idx="14">
                  <c:v>10.200000000000003</c:v>
                </c:pt>
                <c:pt idx="15">
                  <c:v>15.400000000000006</c:v>
                </c:pt>
                <c:pt idx="16">
                  <c:v>15</c:v>
                </c:pt>
                <c:pt idx="17">
                  <c:v>17.100000000000009</c:v>
                </c:pt>
                <c:pt idx="18">
                  <c:v>16.400000000000006</c:v>
                </c:pt>
                <c:pt idx="19">
                  <c:v>20.300000000000011</c:v>
                </c:pt>
                <c:pt idx="20">
                  <c:v>12.600000000000009</c:v>
                </c:pt>
                <c:pt idx="21">
                  <c:v>14.600000000000009</c:v>
                </c:pt>
                <c:pt idx="22">
                  <c:v>16.700000000000003</c:v>
                </c:pt>
                <c:pt idx="23">
                  <c:v>15.400000000000006</c:v>
                </c:pt>
              </c:numCache>
            </c:numRef>
          </c:val>
          <c:smooth val="0"/>
          <c:extLst>
            <c:ext xmlns:c16="http://schemas.microsoft.com/office/drawing/2014/chart" uri="{C3380CC4-5D6E-409C-BE32-E72D297353CC}">
              <c16:uniqueId val="{00000002-45E3-489E-80E9-5860F805B94B}"/>
            </c:ext>
          </c:extLst>
        </c:ser>
        <c:ser>
          <c:idx val="3"/>
          <c:order val="3"/>
          <c:tx>
            <c:strRef>
              <c:f>List2!$A$6</c:f>
              <c:strCache>
                <c:ptCount val="1"/>
                <c:pt idx="0">
                  <c:v>Severovýchod</c:v>
                </c:pt>
              </c:strCache>
            </c:strRef>
          </c:tx>
          <c:spPr>
            <a:ln w="28575" cap="rnd">
              <a:solidFill>
                <a:schemeClr val="tx1">
                  <a:lumMod val="50000"/>
                  <a:lumOff val="5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6:$Y$6</c:f>
              <c:numCache>
                <c:formatCode>0.0</c:formatCode>
                <c:ptCount val="24"/>
                <c:pt idx="0">
                  <c:v>0</c:v>
                </c:pt>
                <c:pt idx="1">
                  <c:v>1.2000000000000028</c:v>
                </c:pt>
                <c:pt idx="2">
                  <c:v>1.2999999999999972</c:v>
                </c:pt>
                <c:pt idx="3">
                  <c:v>1.7000000000000028</c:v>
                </c:pt>
                <c:pt idx="4">
                  <c:v>5.0999999999999943</c:v>
                </c:pt>
                <c:pt idx="5">
                  <c:v>10.5</c:v>
                </c:pt>
                <c:pt idx="6">
                  <c:v>16</c:v>
                </c:pt>
                <c:pt idx="7">
                  <c:v>19.899999999999991</c:v>
                </c:pt>
                <c:pt idx="8">
                  <c:v>21.700000000000003</c:v>
                </c:pt>
                <c:pt idx="9">
                  <c:v>17.700000000000003</c:v>
                </c:pt>
                <c:pt idx="10">
                  <c:v>21.200000000000003</c:v>
                </c:pt>
                <c:pt idx="11">
                  <c:v>24.200000000000003</c:v>
                </c:pt>
                <c:pt idx="12">
                  <c:v>20.700000000000003</c:v>
                </c:pt>
                <c:pt idx="13">
                  <c:v>21</c:v>
                </c:pt>
                <c:pt idx="14">
                  <c:v>22.899999999999991</c:v>
                </c:pt>
                <c:pt idx="15">
                  <c:v>27.799999999999997</c:v>
                </c:pt>
                <c:pt idx="16">
                  <c:v>31.099999999999994</c:v>
                </c:pt>
                <c:pt idx="17">
                  <c:v>38.799999999999997</c:v>
                </c:pt>
                <c:pt idx="18">
                  <c:v>41.5</c:v>
                </c:pt>
                <c:pt idx="19">
                  <c:v>45</c:v>
                </c:pt>
                <c:pt idx="20">
                  <c:v>40.5</c:v>
                </c:pt>
                <c:pt idx="21">
                  <c:v>41.3</c:v>
                </c:pt>
                <c:pt idx="22">
                  <c:v>44.8</c:v>
                </c:pt>
                <c:pt idx="23">
                  <c:v>47.899999999999991</c:v>
                </c:pt>
              </c:numCache>
            </c:numRef>
          </c:val>
          <c:smooth val="0"/>
          <c:extLst>
            <c:ext xmlns:c16="http://schemas.microsoft.com/office/drawing/2014/chart" uri="{C3380CC4-5D6E-409C-BE32-E72D297353CC}">
              <c16:uniqueId val="{00000003-45E3-489E-80E9-5860F805B94B}"/>
            </c:ext>
          </c:extLst>
        </c:ser>
        <c:ser>
          <c:idx val="4"/>
          <c:order val="4"/>
          <c:tx>
            <c:strRef>
              <c:f>List2!$A$7</c:f>
              <c:strCache>
                <c:ptCount val="1"/>
                <c:pt idx="0">
                  <c:v>Jihovýchod</c:v>
                </c:pt>
              </c:strCache>
            </c:strRef>
          </c:tx>
          <c:spPr>
            <a:ln w="28575" cap="rnd">
              <a:solidFill>
                <a:schemeClr val="tx1">
                  <a:lumMod val="50000"/>
                  <a:lumOff val="5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7:$Y$7</c:f>
              <c:numCache>
                <c:formatCode>0.0</c:formatCode>
                <c:ptCount val="24"/>
                <c:pt idx="0">
                  <c:v>0</c:v>
                </c:pt>
                <c:pt idx="1">
                  <c:v>2.6000000000000085</c:v>
                </c:pt>
                <c:pt idx="2">
                  <c:v>2.9000000000000057</c:v>
                </c:pt>
                <c:pt idx="3">
                  <c:v>5.4000000000000057</c:v>
                </c:pt>
                <c:pt idx="4">
                  <c:v>8.4000000000000057</c:v>
                </c:pt>
                <c:pt idx="5">
                  <c:v>12.799999999999997</c:v>
                </c:pt>
                <c:pt idx="6">
                  <c:v>17.200000000000003</c:v>
                </c:pt>
                <c:pt idx="7">
                  <c:v>23.100000000000009</c:v>
                </c:pt>
                <c:pt idx="8">
                  <c:v>25.799999999999997</c:v>
                </c:pt>
                <c:pt idx="9">
                  <c:v>21</c:v>
                </c:pt>
                <c:pt idx="10">
                  <c:v>23.600000000000009</c:v>
                </c:pt>
                <c:pt idx="11">
                  <c:v>26.400000000000006</c:v>
                </c:pt>
                <c:pt idx="12">
                  <c:v>26.299999999999997</c:v>
                </c:pt>
                <c:pt idx="13">
                  <c:v>27.600000000000009</c:v>
                </c:pt>
                <c:pt idx="14">
                  <c:v>28</c:v>
                </c:pt>
                <c:pt idx="15">
                  <c:v>32.700000000000003</c:v>
                </c:pt>
                <c:pt idx="16">
                  <c:v>33.700000000000003</c:v>
                </c:pt>
                <c:pt idx="17">
                  <c:v>38.200000000000003</c:v>
                </c:pt>
                <c:pt idx="18">
                  <c:v>41.5</c:v>
                </c:pt>
                <c:pt idx="19">
                  <c:v>45.400000000000006</c:v>
                </c:pt>
                <c:pt idx="20">
                  <c:v>42.400000000000006</c:v>
                </c:pt>
                <c:pt idx="21">
                  <c:v>47.2</c:v>
                </c:pt>
                <c:pt idx="22">
                  <c:v>48.2</c:v>
                </c:pt>
                <c:pt idx="23">
                  <c:v>49.2</c:v>
                </c:pt>
              </c:numCache>
            </c:numRef>
          </c:val>
          <c:smooth val="0"/>
          <c:extLst>
            <c:ext xmlns:c16="http://schemas.microsoft.com/office/drawing/2014/chart" uri="{C3380CC4-5D6E-409C-BE32-E72D297353CC}">
              <c16:uniqueId val="{00000004-45E3-489E-80E9-5860F805B94B}"/>
            </c:ext>
          </c:extLst>
        </c:ser>
        <c:ser>
          <c:idx val="5"/>
          <c:order val="5"/>
          <c:tx>
            <c:strRef>
              <c:f>List2!$A$8</c:f>
              <c:strCache>
                <c:ptCount val="1"/>
                <c:pt idx="0">
                  <c:v>Střední Morava</c:v>
                </c:pt>
              </c:strCache>
            </c:strRef>
          </c:tx>
          <c:spPr>
            <a:ln w="28575" cap="rnd">
              <a:solidFill>
                <a:schemeClr val="tx1">
                  <a:lumMod val="50000"/>
                  <a:lumOff val="5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8:$Y$8</c:f>
              <c:numCache>
                <c:formatCode>0.0</c:formatCode>
                <c:ptCount val="24"/>
                <c:pt idx="0">
                  <c:v>0</c:v>
                </c:pt>
                <c:pt idx="1">
                  <c:v>1.5999999999999943</c:v>
                </c:pt>
                <c:pt idx="2">
                  <c:v>1.0999999999999943</c:v>
                </c:pt>
                <c:pt idx="3">
                  <c:v>3.7999999999999972</c:v>
                </c:pt>
                <c:pt idx="4">
                  <c:v>7.2999999999999972</c:v>
                </c:pt>
                <c:pt idx="5">
                  <c:v>11.299999999999997</c:v>
                </c:pt>
                <c:pt idx="6">
                  <c:v>16.299999999999997</c:v>
                </c:pt>
                <c:pt idx="7">
                  <c:v>18.599999999999994</c:v>
                </c:pt>
                <c:pt idx="8">
                  <c:v>24.699999999999989</c:v>
                </c:pt>
                <c:pt idx="9">
                  <c:v>20.699999999999989</c:v>
                </c:pt>
                <c:pt idx="10">
                  <c:v>24</c:v>
                </c:pt>
                <c:pt idx="11">
                  <c:v>26.699999999999989</c:v>
                </c:pt>
                <c:pt idx="12">
                  <c:v>25.099999999999994</c:v>
                </c:pt>
                <c:pt idx="13">
                  <c:v>24.799999999999997</c:v>
                </c:pt>
                <c:pt idx="14">
                  <c:v>27.799999999999997</c:v>
                </c:pt>
                <c:pt idx="15">
                  <c:v>32.099999999999994</c:v>
                </c:pt>
                <c:pt idx="16">
                  <c:v>34.799999999999997</c:v>
                </c:pt>
                <c:pt idx="17">
                  <c:v>40.699999999999989</c:v>
                </c:pt>
                <c:pt idx="18">
                  <c:v>42.399999999999991</c:v>
                </c:pt>
                <c:pt idx="19">
                  <c:v>46.699999999999989</c:v>
                </c:pt>
                <c:pt idx="20">
                  <c:v>41.099999999999994</c:v>
                </c:pt>
                <c:pt idx="21">
                  <c:v>44.3</c:v>
                </c:pt>
                <c:pt idx="22">
                  <c:v>45.599999999999994</c:v>
                </c:pt>
                <c:pt idx="23">
                  <c:v>46.8</c:v>
                </c:pt>
              </c:numCache>
            </c:numRef>
          </c:val>
          <c:smooth val="0"/>
          <c:extLst>
            <c:ext xmlns:c16="http://schemas.microsoft.com/office/drawing/2014/chart" uri="{C3380CC4-5D6E-409C-BE32-E72D297353CC}">
              <c16:uniqueId val="{00000005-45E3-489E-80E9-5860F805B94B}"/>
            </c:ext>
          </c:extLst>
        </c:ser>
        <c:ser>
          <c:idx val="6"/>
          <c:order val="6"/>
          <c:tx>
            <c:strRef>
              <c:f>List2!$A$9</c:f>
              <c:strCache>
                <c:ptCount val="1"/>
                <c:pt idx="0">
                  <c:v>Moravskoslezsko</c:v>
                </c:pt>
              </c:strCache>
            </c:strRef>
          </c:tx>
          <c:spPr>
            <a:ln w="28575" cap="rnd">
              <a:solidFill>
                <a:schemeClr val="bg2">
                  <a:lumMod val="60000"/>
                  <a:lumOff val="40000"/>
                </a:schemeClr>
              </a:solidFill>
              <a:round/>
            </a:ln>
            <a:effectLst/>
          </c:spPr>
          <c:marker>
            <c:symbol val="none"/>
          </c:marker>
          <c:cat>
            <c:strRef>
              <c:f>List2!$B$2:$Y$2</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strCache>
            </c:strRef>
          </c:cat>
          <c:val>
            <c:numRef>
              <c:f>List2!$B$9:$Y$9</c:f>
              <c:numCache>
                <c:formatCode>0.0</c:formatCode>
                <c:ptCount val="24"/>
                <c:pt idx="0">
                  <c:v>0</c:v>
                </c:pt>
                <c:pt idx="1">
                  <c:v>2</c:v>
                </c:pt>
                <c:pt idx="2">
                  <c:v>2.2999999999999972</c:v>
                </c:pt>
                <c:pt idx="3">
                  <c:v>4.2999999999999972</c:v>
                </c:pt>
                <c:pt idx="4">
                  <c:v>5.5</c:v>
                </c:pt>
                <c:pt idx="5">
                  <c:v>12.799999999999997</c:v>
                </c:pt>
                <c:pt idx="6">
                  <c:v>18</c:v>
                </c:pt>
                <c:pt idx="7">
                  <c:v>21.200000000000003</c:v>
                </c:pt>
                <c:pt idx="8">
                  <c:v>21.5</c:v>
                </c:pt>
                <c:pt idx="9">
                  <c:v>14</c:v>
                </c:pt>
                <c:pt idx="10">
                  <c:v>17.200000000000003</c:v>
                </c:pt>
                <c:pt idx="11">
                  <c:v>20.5</c:v>
                </c:pt>
                <c:pt idx="12">
                  <c:v>20.600000000000009</c:v>
                </c:pt>
                <c:pt idx="13">
                  <c:v>16.400000000000006</c:v>
                </c:pt>
                <c:pt idx="14">
                  <c:v>18.799999999999997</c:v>
                </c:pt>
                <c:pt idx="15">
                  <c:v>21.700000000000003</c:v>
                </c:pt>
                <c:pt idx="16">
                  <c:v>24.600000000000009</c:v>
                </c:pt>
                <c:pt idx="17">
                  <c:v>27.700000000000003</c:v>
                </c:pt>
                <c:pt idx="18">
                  <c:v>30.400000000000006</c:v>
                </c:pt>
                <c:pt idx="19">
                  <c:v>29.400000000000006</c:v>
                </c:pt>
                <c:pt idx="20">
                  <c:v>21.299999999999997</c:v>
                </c:pt>
                <c:pt idx="21">
                  <c:v>26.600000000000009</c:v>
                </c:pt>
                <c:pt idx="22">
                  <c:v>29</c:v>
                </c:pt>
                <c:pt idx="23">
                  <c:v>27.600000000000009</c:v>
                </c:pt>
              </c:numCache>
            </c:numRef>
          </c:val>
          <c:smooth val="0"/>
          <c:extLst>
            <c:ext xmlns:c16="http://schemas.microsoft.com/office/drawing/2014/chart" uri="{C3380CC4-5D6E-409C-BE32-E72D297353CC}">
              <c16:uniqueId val="{00000006-45E3-489E-80E9-5860F805B94B}"/>
            </c:ext>
          </c:extLst>
        </c:ser>
        <c:dLbls>
          <c:showLegendKey val="0"/>
          <c:showVal val="0"/>
          <c:showCatName val="0"/>
          <c:showSerName val="0"/>
          <c:showPercent val="0"/>
          <c:showBubbleSize val="0"/>
        </c:dLbls>
        <c:smooth val="0"/>
        <c:axId val="718793391"/>
        <c:axId val="718795311"/>
      </c:lineChart>
      <c:catAx>
        <c:axId val="7187933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crossAx val="718795311"/>
        <c:crosses val="autoZero"/>
        <c:auto val="1"/>
        <c:lblAlgn val="ctr"/>
        <c:lblOffset val="100"/>
        <c:tickLblSkip val="5"/>
        <c:noMultiLvlLbl val="0"/>
      </c:catAx>
      <c:valAx>
        <c:axId val="718795311"/>
        <c:scaling>
          <c:orientation val="minMax"/>
          <c:max val="9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crossAx val="7187933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accent2"/>
                </a:solidFill>
                <a:latin typeface="Open Sans" panose="020B0606030504020204" pitchFamily="34" charset="0"/>
                <a:ea typeface="Open Sans" panose="020B0606030504020204" pitchFamily="34" charset="0"/>
                <a:cs typeface="Open Sans" panose="020B0606030504020204" pitchFamily="34" charset="0"/>
              </a:defRPr>
            </a:pPr>
            <a:r>
              <a:rPr lang="cs-CZ" sz="1600"/>
              <a:t>Podíl rozpočtu obcí z daní</a:t>
            </a:r>
            <a:r>
              <a:rPr lang="cs-CZ" sz="1600" baseline="0"/>
              <a:t> z ekonomické aktivity v roce 2021 </a:t>
            </a:r>
            <a:r>
              <a:rPr lang="en-US" sz="1600"/>
              <a:t>(%)</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title>
    <c:autoTitleDeleted val="0"/>
    <c:plotArea>
      <c:layout/>
      <c:barChart>
        <c:barDir val="col"/>
        <c:grouping val="stacked"/>
        <c:varyColors val="0"/>
        <c:ser>
          <c:idx val="0"/>
          <c:order val="0"/>
          <c:tx>
            <c:strRef>
              <c:f>List1!$B$1</c:f>
              <c:strCache>
                <c:ptCount val="1"/>
                <c:pt idx="0">
                  <c:v>Percentage of Municipal Budget from Economic Activity Taxes (%)</c:v>
                </c:pt>
              </c:strCache>
            </c:strRef>
          </c:tx>
          <c:spPr>
            <a:solidFill>
              <a:schemeClr val="tx1">
                <a:lumMod val="50000"/>
                <a:lumOff val="50000"/>
              </a:schemeClr>
            </a:solidFill>
            <a:ln>
              <a:noFill/>
            </a:ln>
            <a:effectLst/>
          </c:spPr>
          <c:invertIfNegative val="0"/>
          <c:dPt>
            <c:idx val="11"/>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4-8AE1-469A-9C6D-04427D1E82F3}"/>
              </c:ext>
            </c:extLst>
          </c:dPt>
          <c:dPt>
            <c:idx val="20"/>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5-8AE1-469A-9C6D-04427D1E82F3}"/>
              </c:ext>
            </c:extLst>
          </c:dPt>
          <c:cat>
            <c:strRef>
              <c:f>List1!$A$2:$A$24</c:f>
              <c:strCache>
                <c:ptCount val="23"/>
                <c:pt idx="0">
                  <c:v>Sweden</c:v>
                </c:pt>
                <c:pt idx="1">
                  <c:v>Denmark</c:v>
                </c:pt>
                <c:pt idx="2">
                  <c:v>Finland</c:v>
                </c:pt>
                <c:pt idx="3">
                  <c:v>Estonia</c:v>
                </c:pt>
                <c:pt idx="4">
                  <c:v>Latvia</c:v>
                </c:pt>
                <c:pt idx="5">
                  <c:v>Lithuania</c:v>
                </c:pt>
                <c:pt idx="6">
                  <c:v>Germany</c:v>
                </c:pt>
                <c:pt idx="7">
                  <c:v>Ireland</c:v>
                </c:pt>
                <c:pt idx="8">
                  <c:v>Poland</c:v>
                </c:pt>
                <c:pt idx="9">
                  <c:v>Hungary</c:v>
                </c:pt>
                <c:pt idx="10">
                  <c:v>Romania</c:v>
                </c:pt>
                <c:pt idx="11">
                  <c:v>EÚ - průměr</c:v>
                </c:pt>
                <c:pt idx="12">
                  <c:v>Belgium</c:v>
                </c:pt>
                <c:pt idx="13">
                  <c:v>Italy</c:v>
                </c:pt>
                <c:pt idx="14">
                  <c:v>Austria</c:v>
                </c:pt>
                <c:pt idx="15">
                  <c:v>France</c:v>
                </c:pt>
                <c:pt idx="16">
                  <c:v>Portugal</c:v>
                </c:pt>
                <c:pt idx="17">
                  <c:v>Slovenia</c:v>
                </c:pt>
                <c:pt idx="18">
                  <c:v>Spain</c:v>
                </c:pt>
                <c:pt idx="19">
                  <c:v>Netherlands</c:v>
                </c:pt>
                <c:pt idx="20">
                  <c:v>Czech Republic</c:v>
                </c:pt>
                <c:pt idx="21">
                  <c:v>Slovak Republic</c:v>
                </c:pt>
                <c:pt idx="22">
                  <c:v>Greece</c:v>
                </c:pt>
              </c:strCache>
            </c:strRef>
          </c:cat>
          <c:val>
            <c:numRef>
              <c:f>List1!$B$2:$B$24</c:f>
              <c:numCache>
                <c:formatCode>General</c:formatCode>
                <c:ptCount val="23"/>
                <c:pt idx="0">
                  <c:v>67</c:v>
                </c:pt>
                <c:pt idx="1">
                  <c:v>62</c:v>
                </c:pt>
                <c:pt idx="2">
                  <c:v>56</c:v>
                </c:pt>
                <c:pt idx="3">
                  <c:v>55</c:v>
                </c:pt>
                <c:pt idx="4">
                  <c:v>55</c:v>
                </c:pt>
                <c:pt idx="5">
                  <c:v>52</c:v>
                </c:pt>
                <c:pt idx="6">
                  <c:v>33</c:v>
                </c:pt>
                <c:pt idx="7">
                  <c:v>32</c:v>
                </c:pt>
                <c:pt idx="8">
                  <c:v>31</c:v>
                </c:pt>
                <c:pt idx="9">
                  <c:v>24</c:v>
                </c:pt>
                <c:pt idx="10">
                  <c:v>23</c:v>
                </c:pt>
                <c:pt idx="11">
                  <c:v>23</c:v>
                </c:pt>
                <c:pt idx="12">
                  <c:v>16</c:v>
                </c:pt>
                <c:pt idx="13">
                  <c:v>12</c:v>
                </c:pt>
                <c:pt idx="14">
                  <c:v>12</c:v>
                </c:pt>
                <c:pt idx="15">
                  <c:v>12</c:v>
                </c:pt>
                <c:pt idx="16">
                  <c:v>9</c:v>
                </c:pt>
                <c:pt idx="17">
                  <c:v>7</c:v>
                </c:pt>
                <c:pt idx="18">
                  <c:v>4</c:v>
                </c:pt>
                <c:pt idx="19">
                  <c:v>4</c:v>
                </c:pt>
                <c:pt idx="20">
                  <c:v>2</c:v>
                </c:pt>
                <c:pt idx="21">
                  <c:v>0</c:v>
                </c:pt>
                <c:pt idx="22">
                  <c:v>0</c:v>
                </c:pt>
              </c:numCache>
            </c:numRef>
          </c:val>
          <c:extLst>
            <c:ext xmlns:c16="http://schemas.microsoft.com/office/drawing/2014/chart" uri="{C3380CC4-5D6E-409C-BE32-E72D297353CC}">
              <c16:uniqueId val="{00000000-8AE1-469A-9C6D-04427D1E82F3}"/>
            </c:ext>
          </c:extLst>
        </c:ser>
        <c:dLbls>
          <c:showLegendKey val="0"/>
          <c:showVal val="0"/>
          <c:showCatName val="0"/>
          <c:showSerName val="0"/>
          <c:showPercent val="0"/>
          <c:showBubbleSize val="0"/>
        </c:dLbls>
        <c:gapWidth val="219"/>
        <c:overlap val="100"/>
        <c:axId val="1412222463"/>
        <c:axId val="1412217183"/>
      </c:barChart>
      <c:catAx>
        <c:axId val="141222246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crossAx val="1412217183"/>
        <c:crosses val="autoZero"/>
        <c:auto val="1"/>
        <c:lblAlgn val="ctr"/>
        <c:lblOffset val="100"/>
        <c:noMultiLvlLbl val="0"/>
      </c:catAx>
      <c:valAx>
        <c:axId val="1412217183"/>
        <c:scaling>
          <c:orientation val="minMax"/>
          <c:max val="7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crossAx val="14122224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2"/>
          </a:solidFill>
          <a:latin typeface="Open Sans" panose="020B0606030504020204" pitchFamily="34" charset="0"/>
          <a:ea typeface="Open Sans" panose="020B0606030504020204" pitchFamily="34" charset="0"/>
          <a:cs typeface="Open Sans" panose="020B0606030504020204" pitchFamily="34" charset="0"/>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D71E41-FC3A-459B-92CF-0E1287A33338}"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cs-CZ"/>
        </a:p>
      </dgm:t>
    </dgm:pt>
    <dgm:pt modelId="{036C7A85-80EF-4FE4-BAC7-D9E531632E46}">
      <dgm:prSet phldrT="[Text]"/>
      <dgm:spPr/>
      <dgm:t>
        <a:bodyPr/>
        <a:lstStyle/>
        <a:p>
          <a:r>
            <a:rPr lang="cs-CZ"/>
            <a:t>ECF</a:t>
          </a:r>
        </a:p>
      </dgm:t>
    </dgm:pt>
    <dgm:pt modelId="{BAE96901-211F-477C-BF70-4360E90102C9}" type="parTrans" cxnId="{90292033-D881-4B51-843F-15E1D2B85C6B}">
      <dgm:prSet/>
      <dgm:spPr/>
      <dgm:t>
        <a:bodyPr/>
        <a:lstStyle/>
        <a:p>
          <a:endParaRPr lang="cs-CZ"/>
        </a:p>
      </dgm:t>
    </dgm:pt>
    <dgm:pt modelId="{464BA8D7-5017-4A13-AE3B-4492F7898753}" type="sibTrans" cxnId="{90292033-D881-4B51-843F-15E1D2B85C6B}">
      <dgm:prSet/>
      <dgm:spPr/>
      <dgm:t>
        <a:bodyPr/>
        <a:lstStyle/>
        <a:p>
          <a:endParaRPr lang="cs-CZ"/>
        </a:p>
      </dgm:t>
    </dgm:pt>
    <dgm:pt modelId="{B9FA2164-6EEB-464D-9C42-2B3644EC653C}">
      <dgm:prSet phldrT="[Text]"/>
      <dgm:spPr>
        <a:solidFill>
          <a:schemeClr val="bg2">
            <a:lumMod val="50000"/>
          </a:schemeClr>
        </a:solidFill>
      </dgm:spPr>
      <dgm:t>
        <a:bodyPr/>
        <a:lstStyle/>
        <a:p>
          <a:r>
            <a:rPr lang="cs-CZ"/>
            <a:t>Specifický program pro konkurenceschopnost</a:t>
          </a:r>
        </a:p>
      </dgm:t>
    </dgm:pt>
    <dgm:pt modelId="{B263AF06-BB2B-486D-990B-004FF3F3E465}" type="parTrans" cxnId="{E60074CC-DC0E-4413-A491-C9971F71C3E0}">
      <dgm:prSet/>
      <dgm:spPr/>
      <dgm:t>
        <a:bodyPr/>
        <a:lstStyle/>
        <a:p>
          <a:endParaRPr lang="cs-CZ"/>
        </a:p>
      </dgm:t>
    </dgm:pt>
    <dgm:pt modelId="{6651B371-20F1-430D-9BE9-227E5CBC0640}" type="sibTrans" cxnId="{E60074CC-DC0E-4413-A491-C9971F71C3E0}">
      <dgm:prSet/>
      <dgm:spPr/>
      <dgm:t>
        <a:bodyPr/>
        <a:lstStyle/>
        <a:p>
          <a:endParaRPr lang="cs-CZ"/>
        </a:p>
      </dgm:t>
    </dgm:pt>
    <dgm:pt modelId="{DBC5B8AE-09D9-43A8-A5C9-84CF3D42E2A1}">
      <dgm:prSet phldrT="[Text]"/>
      <dgm:spPr/>
      <dgm:t>
        <a:bodyPr/>
        <a:lstStyle/>
        <a:p>
          <a:r>
            <a:rPr lang="cs-CZ"/>
            <a:t>Specifický program pro obranný výzkum a inovace</a:t>
          </a:r>
        </a:p>
      </dgm:t>
    </dgm:pt>
    <dgm:pt modelId="{CDA42664-0B29-42EF-ADC1-001BB65C5D3E}" type="parTrans" cxnId="{38C7F5A8-C615-4088-B866-9DB992399B51}">
      <dgm:prSet/>
      <dgm:spPr/>
      <dgm:t>
        <a:bodyPr/>
        <a:lstStyle/>
        <a:p>
          <a:endParaRPr lang="cs-CZ"/>
        </a:p>
      </dgm:t>
    </dgm:pt>
    <dgm:pt modelId="{162C4417-5B57-4E22-9422-666C3A1CCA41}" type="sibTrans" cxnId="{38C7F5A8-C615-4088-B866-9DB992399B51}">
      <dgm:prSet/>
      <dgm:spPr/>
      <dgm:t>
        <a:bodyPr/>
        <a:lstStyle/>
        <a:p>
          <a:endParaRPr lang="cs-CZ"/>
        </a:p>
      </dgm:t>
    </dgm:pt>
    <dgm:pt modelId="{45C27427-0A02-4C0F-8AF7-C4C725A95184}" type="pres">
      <dgm:prSet presAssocID="{F1D71E41-FC3A-459B-92CF-0E1287A33338}" presName="diagram" presStyleCnt="0">
        <dgm:presLayoutVars>
          <dgm:chPref val="1"/>
          <dgm:dir/>
          <dgm:animOne val="branch"/>
          <dgm:animLvl val="lvl"/>
          <dgm:resizeHandles val="exact"/>
        </dgm:presLayoutVars>
      </dgm:prSet>
      <dgm:spPr/>
    </dgm:pt>
    <dgm:pt modelId="{C02A1F61-63EA-46E2-82CE-F12C1169B9A3}" type="pres">
      <dgm:prSet presAssocID="{036C7A85-80EF-4FE4-BAC7-D9E531632E46}" presName="root1" presStyleCnt="0"/>
      <dgm:spPr/>
    </dgm:pt>
    <dgm:pt modelId="{F3551E4B-891E-476B-B9FD-2E524A2E8205}" type="pres">
      <dgm:prSet presAssocID="{036C7A85-80EF-4FE4-BAC7-D9E531632E46}" presName="LevelOneTextNode" presStyleLbl="node0" presStyleIdx="0" presStyleCnt="1" custLinFactNeighborX="-86221" custLinFactNeighborY="-6462">
        <dgm:presLayoutVars>
          <dgm:chPref val="3"/>
        </dgm:presLayoutVars>
      </dgm:prSet>
      <dgm:spPr/>
    </dgm:pt>
    <dgm:pt modelId="{657847B4-9374-45D5-AAD7-1359BF935553}" type="pres">
      <dgm:prSet presAssocID="{036C7A85-80EF-4FE4-BAC7-D9E531632E46}" presName="level2hierChild" presStyleCnt="0"/>
      <dgm:spPr/>
    </dgm:pt>
    <dgm:pt modelId="{D009C874-46C7-4197-9DED-31EBAB8ECCFC}" type="pres">
      <dgm:prSet presAssocID="{B263AF06-BB2B-486D-990B-004FF3F3E465}" presName="conn2-1" presStyleLbl="parChTrans1D2" presStyleIdx="0" presStyleCnt="2"/>
      <dgm:spPr/>
    </dgm:pt>
    <dgm:pt modelId="{D32A619F-72A0-495D-8A01-20D766940F0D}" type="pres">
      <dgm:prSet presAssocID="{B263AF06-BB2B-486D-990B-004FF3F3E465}" presName="connTx" presStyleLbl="parChTrans1D2" presStyleIdx="0" presStyleCnt="2"/>
      <dgm:spPr/>
    </dgm:pt>
    <dgm:pt modelId="{9E9737A8-A7FF-4D62-A4C1-2AA2BCD8894E}" type="pres">
      <dgm:prSet presAssocID="{B9FA2164-6EEB-464D-9C42-2B3644EC653C}" presName="root2" presStyleCnt="0"/>
      <dgm:spPr/>
    </dgm:pt>
    <dgm:pt modelId="{C4D39FC6-1033-40E2-8247-0E87D5B18F50}" type="pres">
      <dgm:prSet presAssocID="{B9FA2164-6EEB-464D-9C42-2B3644EC653C}" presName="LevelTwoTextNode" presStyleLbl="node2" presStyleIdx="0" presStyleCnt="2" custScaleX="256955" custLinFactNeighborX="-11665" custLinFactNeighborY="8536">
        <dgm:presLayoutVars>
          <dgm:chPref val="3"/>
        </dgm:presLayoutVars>
      </dgm:prSet>
      <dgm:spPr/>
    </dgm:pt>
    <dgm:pt modelId="{1020632F-8A01-4624-AF36-87F4EC7ECFF6}" type="pres">
      <dgm:prSet presAssocID="{B9FA2164-6EEB-464D-9C42-2B3644EC653C}" presName="level3hierChild" presStyleCnt="0"/>
      <dgm:spPr/>
    </dgm:pt>
    <dgm:pt modelId="{C803F903-9371-4297-B7C0-947B0C8902F8}" type="pres">
      <dgm:prSet presAssocID="{CDA42664-0B29-42EF-ADC1-001BB65C5D3E}" presName="conn2-1" presStyleLbl="parChTrans1D2" presStyleIdx="1" presStyleCnt="2"/>
      <dgm:spPr/>
    </dgm:pt>
    <dgm:pt modelId="{F08B78D4-7F06-4EAE-8B65-4DDFCC554B90}" type="pres">
      <dgm:prSet presAssocID="{CDA42664-0B29-42EF-ADC1-001BB65C5D3E}" presName="connTx" presStyleLbl="parChTrans1D2" presStyleIdx="1" presStyleCnt="2"/>
      <dgm:spPr/>
    </dgm:pt>
    <dgm:pt modelId="{FA79BD67-1AA9-4FEA-92D4-376799AC83C2}" type="pres">
      <dgm:prSet presAssocID="{DBC5B8AE-09D9-43A8-A5C9-84CF3D42E2A1}" presName="root2" presStyleCnt="0"/>
      <dgm:spPr/>
    </dgm:pt>
    <dgm:pt modelId="{A2842D82-B252-472A-83C9-A404F17619AB}" type="pres">
      <dgm:prSet presAssocID="{DBC5B8AE-09D9-43A8-A5C9-84CF3D42E2A1}" presName="LevelTwoTextNode" presStyleLbl="node2" presStyleIdx="1" presStyleCnt="2" custScaleX="256955" custLinFactNeighborX="-11665" custLinFactNeighborY="63">
        <dgm:presLayoutVars>
          <dgm:chPref val="3"/>
        </dgm:presLayoutVars>
      </dgm:prSet>
      <dgm:spPr/>
    </dgm:pt>
    <dgm:pt modelId="{451E390F-EED9-49B0-9577-C42D6A2027AD}" type="pres">
      <dgm:prSet presAssocID="{DBC5B8AE-09D9-43A8-A5C9-84CF3D42E2A1}" presName="level3hierChild" presStyleCnt="0"/>
      <dgm:spPr/>
    </dgm:pt>
  </dgm:ptLst>
  <dgm:cxnLst>
    <dgm:cxn modelId="{58EFD517-0E67-4699-B196-8BA661BF626D}" type="presOf" srcId="{B9FA2164-6EEB-464D-9C42-2B3644EC653C}" destId="{C4D39FC6-1033-40E2-8247-0E87D5B18F50}" srcOrd="0" destOrd="0" presId="urn:microsoft.com/office/officeart/2005/8/layout/hierarchy2"/>
    <dgm:cxn modelId="{735CCB24-EC13-4B33-ABCC-C13B1960DB87}" type="presOf" srcId="{DBC5B8AE-09D9-43A8-A5C9-84CF3D42E2A1}" destId="{A2842D82-B252-472A-83C9-A404F17619AB}" srcOrd="0" destOrd="0" presId="urn:microsoft.com/office/officeart/2005/8/layout/hierarchy2"/>
    <dgm:cxn modelId="{DAE01C2D-159C-41FE-B336-F54D84CA6182}" type="presOf" srcId="{B263AF06-BB2B-486D-990B-004FF3F3E465}" destId="{D32A619F-72A0-495D-8A01-20D766940F0D}" srcOrd="1" destOrd="0" presId="urn:microsoft.com/office/officeart/2005/8/layout/hierarchy2"/>
    <dgm:cxn modelId="{90292033-D881-4B51-843F-15E1D2B85C6B}" srcId="{F1D71E41-FC3A-459B-92CF-0E1287A33338}" destId="{036C7A85-80EF-4FE4-BAC7-D9E531632E46}" srcOrd="0" destOrd="0" parTransId="{BAE96901-211F-477C-BF70-4360E90102C9}" sibTransId="{464BA8D7-5017-4A13-AE3B-4492F7898753}"/>
    <dgm:cxn modelId="{57DFC162-2F89-4572-9A6F-580B4B08EC6C}" type="presOf" srcId="{CDA42664-0B29-42EF-ADC1-001BB65C5D3E}" destId="{F08B78D4-7F06-4EAE-8B65-4DDFCC554B90}" srcOrd="1" destOrd="0" presId="urn:microsoft.com/office/officeart/2005/8/layout/hierarchy2"/>
    <dgm:cxn modelId="{05463064-4736-466A-8B19-A2B9CBCCB35E}" type="presOf" srcId="{CDA42664-0B29-42EF-ADC1-001BB65C5D3E}" destId="{C803F903-9371-4297-B7C0-947B0C8902F8}" srcOrd="0" destOrd="0" presId="urn:microsoft.com/office/officeart/2005/8/layout/hierarchy2"/>
    <dgm:cxn modelId="{F98A5DA4-F105-4C83-8315-2E5428D892EA}" type="presOf" srcId="{B263AF06-BB2B-486D-990B-004FF3F3E465}" destId="{D009C874-46C7-4197-9DED-31EBAB8ECCFC}" srcOrd="0" destOrd="0" presId="urn:microsoft.com/office/officeart/2005/8/layout/hierarchy2"/>
    <dgm:cxn modelId="{38C7F5A8-C615-4088-B866-9DB992399B51}" srcId="{036C7A85-80EF-4FE4-BAC7-D9E531632E46}" destId="{DBC5B8AE-09D9-43A8-A5C9-84CF3D42E2A1}" srcOrd="1" destOrd="0" parTransId="{CDA42664-0B29-42EF-ADC1-001BB65C5D3E}" sibTransId="{162C4417-5B57-4E22-9422-666C3A1CCA41}"/>
    <dgm:cxn modelId="{CC777CC5-783D-4CF1-BEE2-45B3E9543BD8}" type="presOf" srcId="{F1D71E41-FC3A-459B-92CF-0E1287A33338}" destId="{45C27427-0A02-4C0F-8AF7-C4C725A95184}" srcOrd="0" destOrd="0" presId="urn:microsoft.com/office/officeart/2005/8/layout/hierarchy2"/>
    <dgm:cxn modelId="{E60074CC-DC0E-4413-A491-C9971F71C3E0}" srcId="{036C7A85-80EF-4FE4-BAC7-D9E531632E46}" destId="{B9FA2164-6EEB-464D-9C42-2B3644EC653C}" srcOrd="0" destOrd="0" parTransId="{B263AF06-BB2B-486D-990B-004FF3F3E465}" sibTransId="{6651B371-20F1-430D-9BE9-227E5CBC0640}"/>
    <dgm:cxn modelId="{41384AFE-0C57-4090-933D-BF125EAC1768}" type="presOf" srcId="{036C7A85-80EF-4FE4-BAC7-D9E531632E46}" destId="{F3551E4B-891E-476B-B9FD-2E524A2E8205}" srcOrd="0" destOrd="0" presId="urn:microsoft.com/office/officeart/2005/8/layout/hierarchy2"/>
    <dgm:cxn modelId="{702D43BE-9B76-4CB5-865A-716BD323E667}" type="presParOf" srcId="{45C27427-0A02-4C0F-8AF7-C4C725A95184}" destId="{C02A1F61-63EA-46E2-82CE-F12C1169B9A3}" srcOrd="0" destOrd="0" presId="urn:microsoft.com/office/officeart/2005/8/layout/hierarchy2"/>
    <dgm:cxn modelId="{44C4487C-E20E-42E2-BACA-C90A5AF3A2B7}" type="presParOf" srcId="{C02A1F61-63EA-46E2-82CE-F12C1169B9A3}" destId="{F3551E4B-891E-476B-B9FD-2E524A2E8205}" srcOrd="0" destOrd="0" presId="urn:microsoft.com/office/officeart/2005/8/layout/hierarchy2"/>
    <dgm:cxn modelId="{B62C9D2A-9170-45EA-8448-8CADD6C347C3}" type="presParOf" srcId="{C02A1F61-63EA-46E2-82CE-F12C1169B9A3}" destId="{657847B4-9374-45D5-AAD7-1359BF935553}" srcOrd="1" destOrd="0" presId="urn:microsoft.com/office/officeart/2005/8/layout/hierarchy2"/>
    <dgm:cxn modelId="{EB2CA849-82EE-430B-B9A8-B4B070F0FBFB}" type="presParOf" srcId="{657847B4-9374-45D5-AAD7-1359BF935553}" destId="{D009C874-46C7-4197-9DED-31EBAB8ECCFC}" srcOrd="0" destOrd="0" presId="urn:microsoft.com/office/officeart/2005/8/layout/hierarchy2"/>
    <dgm:cxn modelId="{069C937A-ADED-41EB-8884-057CCC1C6E47}" type="presParOf" srcId="{D009C874-46C7-4197-9DED-31EBAB8ECCFC}" destId="{D32A619F-72A0-495D-8A01-20D766940F0D}" srcOrd="0" destOrd="0" presId="urn:microsoft.com/office/officeart/2005/8/layout/hierarchy2"/>
    <dgm:cxn modelId="{C87093A0-D636-4302-8703-F4050F029404}" type="presParOf" srcId="{657847B4-9374-45D5-AAD7-1359BF935553}" destId="{9E9737A8-A7FF-4D62-A4C1-2AA2BCD8894E}" srcOrd="1" destOrd="0" presId="urn:microsoft.com/office/officeart/2005/8/layout/hierarchy2"/>
    <dgm:cxn modelId="{402EED8F-941C-43F5-A289-9F562834C6C6}" type="presParOf" srcId="{9E9737A8-A7FF-4D62-A4C1-2AA2BCD8894E}" destId="{C4D39FC6-1033-40E2-8247-0E87D5B18F50}" srcOrd="0" destOrd="0" presId="urn:microsoft.com/office/officeart/2005/8/layout/hierarchy2"/>
    <dgm:cxn modelId="{06853604-EE7F-4DED-872E-AF4AFB4B07FD}" type="presParOf" srcId="{9E9737A8-A7FF-4D62-A4C1-2AA2BCD8894E}" destId="{1020632F-8A01-4624-AF36-87F4EC7ECFF6}" srcOrd="1" destOrd="0" presId="urn:microsoft.com/office/officeart/2005/8/layout/hierarchy2"/>
    <dgm:cxn modelId="{78238C9A-2A45-4082-A520-1DE45697500D}" type="presParOf" srcId="{657847B4-9374-45D5-AAD7-1359BF935553}" destId="{C803F903-9371-4297-B7C0-947B0C8902F8}" srcOrd="2" destOrd="0" presId="urn:microsoft.com/office/officeart/2005/8/layout/hierarchy2"/>
    <dgm:cxn modelId="{3F18D0E3-A990-48BC-82FD-C2DBE7B99E65}" type="presParOf" srcId="{C803F903-9371-4297-B7C0-947B0C8902F8}" destId="{F08B78D4-7F06-4EAE-8B65-4DDFCC554B90}" srcOrd="0" destOrd="0" presId="urn:microsoft.com/office/officeart/2005/8/layout/hierarchy2"/>
    <dgm:cxn modelId="{6C00418C-2B60-4521-957A-FFA5177B9859}" type="presParOf" srcId="{657847B4-9374-45D5-AAD7-1359BF935553}" destId="{FA79BD67-1AA9-4FEA-92D4-376799AC83C2}" srcOrd="3" destOrd="0" presId="urn:microsoft.com/office/officeart/2005/8/layout/hierarchy2"/>
    <dgm:cxn modelId="{E3667131-BE1F-42B1-97F5-54901A2033AF}" type="presParOf" srcId="{FA79BD67-1AA9-4FEA-92D4-376799AC83C2}" destId="{A2842D82-B252-472A-83C9-A404F17619AB}" srcOrd="0" destOrd="0" presId="urn:microsoft.com/office/officeart/2005/8/layout/hierarchy2"/>
    <dgm:cxn modelId="{BFFAB79C-25EB-4D34-AE99-19258B8878C5}" type="presParOf" srcId="{FA79BD67-1AA9-4FEA-92D4-376799AC83C2}" destId="{451E390F-EED9-49B0-9577-C42D6A2027AD}"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B849CB9-26DB-493F-9BC1-7B3FFAF2D0B0}" type="doc">
      <dgm:prSet loTypeId="urn:microsoft.com/office/officeart/2005/8/layout/cycle6" loCatId="cycle" qsTypeId="urn:microsoft.com/office/officeart/2005/8/quickstyle/simple1" qsCatId="simple" csTypeId="urn:microsoft.com/office/officeart/2005/8/colors/accent0_2" csCatId="mainScheme" phldr="1"/>
      <dgm:spPr/>
      <dgm:t>
        <a:bodyPr/>
        <a:lstStyle/>
        <a:p>
          <a:endParaRPr lang="cs-CZ"/>
        </a:p>
      </dgm:t>
    </dgm:pt>
    <dgm:pt modelId="{8DA66DDC-1E5A-4299-8A0E-881D8E75A2CC}">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Koncentrace EU dotací</a:t>
          </a:r>
        </a:p>
      </dgm:t>
    </dgm:pt>
    <dgm:pt modelId="{45B4CB81-8882-4D22-8D28-F64A5089339A}" type="parTrans" cxnId="{8ABC4EC6-D375-4671-A3A1-D96EFFAC3947}">
      <dgm:prSet/>
      <dgm:spPr/>
      <dgm:t>
        <a:bodyPr/>
        <a:lstStyle/>
        <a:p>
          <a:endParaRPr lang="cs-CZ" sz="1000">
            <a:solidFill>
              <a:schemeClr val="bg1">
                <a:lumMod val="10000"/>
              </a:schemeClr>
            </a:solidFill>
            <a:latin typeface="Fira Sans" panose="020B0503050000020004" pitchFamily="34" charset="0"/>
          </a:endParaRPr>
        </a:p>
      </dgm:t>
    </dgm:pt>
    <dgm:pt modelId="{98560292-C631-40A2-A164-33B1AF7A4306}" type="sibTrans" cxnId="{8ABC4EC6-D375-4671-A3A1-D96EFFAC3947}">
      <dgm:prSet/>
      <dgm:spPr>
        <a:solidFill>
          <a:srgbClr val="64BCA9"/>
        </a:solidFill>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335946D3-CE81-4097-9C35-1E1F6569FA42}">
      <dgm:prSet phldrT="[Text]" custT="1">
        <dgm:style>
          <a:lnRef idx="2">
            <a:schemeClr val="accent5"/>
          </a:lnRef>
          <a:fillRef idx="1">
            <a:schemeClr val="lt1"/>
          </a:fillRef>
          <a:effectRef idx="0">
            <a:schemeClr val="accent5"/>
          </a:effectRef>
          <a:fontRef idx="minor">
            <a:schemeClr val="dk1"/>
          </a:fontRef>
        </dgm:style>
      </dgm:prSet>
      <dgm:spPr>
        <a:solidFill>
          <a:srgbClr val="EAEAEA"/>
        </a:solidFill>
        <a:ln w="25400" cap="flat" cmpd="sng" algn="ctr">
          <a:no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gm:t>
    </dgm:pt>
    <dgm:pt modelId="{BC15C49E-B66A-4EA0-9A6A-9B01BB034923}" type="parTrans" cxnId="{1CBE8DB5-E03A-4256-B4B1-9F28955979DC}">
      <dgm:prSet/>
      <dgm:spPr/>
      <dgm:t>
        <a:bodyPr/>
        <a:lstStyle/>
        <a:p>
          <a:endParaRPr lang="cs-CZ" sz="1000">
            <a:solidFill>
              <a:schemeClr val="bg1">
                <a:lumMod val="10000"/>
              </a:schemeClr>
            </a:solidFill>
            <a:latin typeface="Fira Sans" panose="020B0503050000020004" pitchFamily="34" charset="0"/>
          </a:endParaRPr>
        </a:p>
      </dgm:t>
    </dgm:pt>
    <dgm:pt modelId="{AE500029-4FDD-4F4B-9D2E-CC29E5BC7027}" type="sibTrans" cxnId="{1CBE8DB5-E03A-4256-B4B1-9F28955979DC}">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61C3038A-F8DF-4E92-AD59-B100725A0594}">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Řízení samospráv</a:t>
          </a:r>
        </a:p>
      </dgm:t>
    </dgm:pt>
    <dgm:pt modelId="{EA7257B8-591F-426F-A471-E340593C1FB1}" type="parTrans" cxnId="{6E0BA1F7-E2CE-4609-B6EB-F3BF636379F8}">
      <dgm:prSet/>
      <dgm:spPr/>
      <dgm:t>
        <a:bodyPr/>
        <a:lstStyle/>
        <a:p>
          <a:endParaRPr lang="cs-CZ" sz="1000">
            <a:solidFill>
              <a:schemeClr val="bg1">
                <a:lumMod val="10000"/>
              </a:schemeClr>
            </a:solidFill>
            <a:latin typeface="Fira Sans" panose="020B0503050000020004" pitchFamily="34" charset="0"/>
          </a:endParaRPr>
        </a:p>
      </dgm:t>
    </dgm:pt>
    <dgm:pt modelId="{79044CD3-DDAA-4003-9891-4C1966070FE0}" type="sibTrans" cxnId="{6E0BA1F7-E2CE-4609-B6EB-F3BF636379F8}">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E25AE9C-AC8C-4D58-8F9A-F62CE0022D5B}">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Motivace k soukromým investicím</a:t>
          </a:r>
        </a:p>
      </dgm:t>
    </dgm:pt>
    <dgm:pt modelId="{3DF2A404-A472-48AE-B55E-A08A9DE95A8A}" type="parTrans" cxnId="{B5837060-CD0D-454A-80FF-2FF57B65D03E}">
      <dgm:prSet/>
      <dgm:spPr/>
      <dgm:t>
        <a:bodyPr/>
        <a:lstStyle/>
        <a:p>
          <a:endParaRPr lang="cs-CZ" sz="1000">
            <a:solidFill>
              <a:schemeClr val="bg1">
                <a:lumMod val="10000"/>
              </a:schemeClr>
            </a:solidFill>
            <a:latin typeface="Fira Sans" panose="020B0503050000020004" pitchFamily="34" charset="0"/>
          </a:endParaRPr>
        </a:p>
      </dgm:t>
    </dgm:pt>
    <dgm:pt modelId="{3A83D1AE-4CA3-49D1-BED5-DC1B16F79E9E}" type="sibTrans" cxnId="{B5837060-CD0D-454A-80FF-2FF57B65D03E}">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0541C16E-1944-4558-8F91-1E2BFBF2C4D3}">
      <dgm:prSe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Chytřejší daně</a:t>
          </a:r>
        </a:p>
      </dgm:t>
    </dgm:pt>
    <dgm:pt modelId="{74B3290C-9CED-4B3B-8D13-53F98AC72B52}" type="parTrans" cxnId="{4E85D2B8-6129-4AA8-8720-C90C2083490A}">
      <dgm:prSet/>
      <dgm:spPr/>
      <dgm:t>
        <a:bodyPr/>
        <a:lstStyle/>
        <a:p>
          <a:endParaRPr lang="cs-CZ" sz="1000">
            <a:solidFill>
              <a:schemeClr val="bg1">
                <a:lumMod val="10000"/>
              </a:schemeClr>
            </a:solidFill>
            <a:latin typeface="Fira Sans" panose="020B0503050000020004" pitchFamily="34" charset="0"/>
          </a:endParaRPr>
        </a:p>
      </dgm:t>
    </dgm:pt>
    <dgm:pt modelId="{79141A15-B5C5-43BE-A996-25475570F7D8}" type="sibTrans" cxnId="{4E85D2B8-6129-4AA8-8720-C90C2083490A}">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5061020-A4FE-457E-B053-4BC20E225ADE}">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Podpora vzdělávání</a:t>
          </a:r>
        </a:p>
      </dgm:t>
    </dgm:pt>
    <dgm:pt modelId="{FB1F3FA9-3E85-4026-B041-C5FCFF660589}" type="parTrans" cxnId="{4E61D12F-FD3A-410A-9DE4-CB514013C5E1}">
      <dgm:prSet/>
      <dgm:spPr/>
      <dgm:t>
        <a:bodyPr/>
        <a:lstStyle/>
        <a:p>
          <a:endParaRPr lang="cs-CZ" sz="1000">
            <a:solidFill>
              <a:schemeClr val="bg1">
                <a:lumMod val="10000"/>
              </a:schemeClr>
            </a:solidFill>
            <a:latin typeface="Fira Sans" panose="020B0503050000020004" pitchFamily="34" charset="0"/>
          </a:endParaRPr>
        </a:p>
      </dgm:t>
    </dgm:pt>
    <dgm:pt modelId="{901714CC-5810-4859-B458-EA66EAEE3E1A}" type="sibTrans" cxnId="{4E61D12F-FD3A-410A-9DE4-CB514013C5E1}">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C74EAB3-BCAB-476B-BAA7-0ECD8C020F1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Omezení šedé ekonomiky</a:t>
          </a:r>
        </a:p>
      </dgm:t>
    </dgm:pt>
    <dgm:pt modelId="{770663B0-B946-4505-BC7D-A73C703B55D6}" type="parTrans" cxnId="{AF8D667C-EA3E-4B0F-906D-CF8BB7814FCF}">
      <dgm:prSet/>
      <dgm:spPr/>
      <dgm:t>
        <a:bodyPr/>
        <a:lstStyle/>
        <a:p>
          <a:endParaRPr lang="cs-CZ" sz="1000">
            <a:solidFill>
              <a:schemeClr val="bg1">
                <a:lumMod val="10000"/>
              </a:schemeClr>
            </a:solidFill>
            <a:latin typeface="Fira Sans" panose="020B0503050000020004" pitchFamily="34" charset="0"/>
          </a:endParaRPr>
        </a:p>
      </dgm:t>
    </dgm:pt>
    <dgm:pt modelId="{1A1DE00F-F739-4D74-8165-4F41AA21E618}" type="sibTrans" cxnId="{AF8D667C-EA3E-4B0F-906D-CF8BB7814FCF}">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B2DAD1D-8172-415E-B516-6F72DF2C87ED}">
      <dgm:prSet custT="1"/>
      <dgm:spPr>
        <a:solidFill>
          <a:srgbClr val="64BCA9"/>
        </a:solidFill>
        <a:ln>
          <a:noFill/>
        </a:ln>
      </dgm:spPr>
      <dgm:t>
        <a:bodyPr/>
        <a:lstStyle/>
        <a:p>
          <a:r>
            <a:rPr lang="cs-CZ" sz="1000" b="1">
              <a:solidFill>
                <a:schemeClr val="bg1">
                  <a:lumMod val="10000"/>
                </a:schemeClr>
              </a:solidFill>
              <a:latin typeface="Fira Sans" panose="020B0503050000020004" pitchFamily="34" charset="0"/>
            </a:rPr>
            <a:t>Stabilizující bytová politika</a:t>
          </a:r>
        </a:p>
      </dgm:t>
    </dgm:pt>
    <dgm:pt modelId="{C8035952-8E3A-4BD6-A7F5-4E4E4BAC17BA}" type="parTrans" cxnId="{E394623A-8816-44FD-B1F9-E62C259667D6}">
      <dgm:prSet/>
      <dgm:spPr/>
      <dgm:t>
        <a:bodyPr/>
        <a:lstStyle/>
        <a:p>
          <a:endParaRPr lang="cs-CZ" sz="1000">
            <a:solidFill>
              <a:schemeClr val="bg1">
                <a:lumMod val="10000"/>
              </a:schemeClr>
            </a:solidFill>
            <a:latin typeface="Fira Sans" panose="020B0503050000020004" pitchFamily="34" charset="0"/>
          </a:endParaRPr>
        </a:p>
      </dgm:t>
    </dgm:pt>
    <dgm:pt modelId="{F0EC7CBB-5484-4BD6-A634-1E2C9CA1721C}" type="sibTrans" cxnId="{E394623A-8816-44FD-B1F9-E62C259667D6}">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D2B1CED-857B-4605-BB9A-FF6630D0A73A}">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Lepší regionální plánování</a:t>
          </a:r>
        </a:p>
      </dgm:t>
    </dgm:pt>
    <dgm:pt modelId="{80441468-4CC4-4758-BD74-5DCBE6E35490}" type="parTrans" cxnId="{17CB0FD6-A918-4B4A-BEB5-50F70517E213}">
      <dgm:prSet/>
      <dgm:spPr/>
      <dgm:t>
        <a:bodyPr/>
        <a:lstStyle/>
        <a:p>
          <a:endParaRPr lang="cs-CZ" sz="1000">
            <a:solidFill>
              <a:schemeClr val="bg1">
                <a:lumMod val="10000"/>
              </a:schemeClr>
            </a:solidFill>
            <a:latin typeface="Fira Sans" panose="020B0503050000020004" pitchFamily="34" charset="0"/>
          </a:endParaRPr>
        </a:p>
      </dgm:t>
    </dgm:pt>
    <dgm:pt modelId="{9FCD6D6B-256A-42C0-827A-5A1755FC9CD4}" type="sibTrans" cxnId="{17CB0FD6-A918-4B4A-BEB5-50F70517E213}">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48110C4-7D65-489B-A701-83D0DC5AE8EC}" type="pres">
      <dgm:prSet presAssocID="{DB849CB9-26DB-493F-9BC1-7B3FFAF2D0B0}" presName="cycle" presStyleCnt="0">
        <dgm:presLayoutVars>
          <dgm:dir/>
          <dgm:resizeHandles val="exact"/>
        </dgm:presLayoutVars>
      </dgm:prSet>
      <dgm:spPr/>
    </dgm:pt>
    <dgm:pt modelId="{1AF6340D-53D1-41C5-8C0B-08EA9545C9CA}" type="pres">
      <dgm:prSet presAssocID="{8DA66DDC-1E5A-4299-8A0E-881D8E75A2CC}" presName="node" presStyleLbl="node1" presStyleIdx="0" presStyleCnt="9" custScaleX="139153" custScaleY="202948" custRadScaleRad="99673" custRadScaleInc="-5788">
        <dgm:presLayoutVars>
          <dgm:bulletEnabled val="1"/>
        </dgm:presLayoutVars>
      </dgm:prSet>
      <dgm:spPr/>
    </dgm:pt>
    <dgm:pt modelId="{DA17744F-7756-497E-9D79-4C7A05934046}" type="pres">
      <dgm:prSet presAssocID="{8DA66DDC-1E5A-4299-8A0E-881D8E75A2CC}" presName="spNode" presStyleCnt="0"/>
      <dgm:spPr/>
    </dgm:pt>
    <dgm:pt modelId="{E9DE802E-AA1C-47D2-B31C-D706D532217F}" type="pres">
      <dgm:prSet presAssocID="{98560292-C631-40A2-A164-33B1AF7A4306}" presName="sibTrans" presStyleLbl="sibTrans1D1" presStyleIdx="0" presStyleCnt="9"/>
      <dgm:spPr/>
    </dgm:pt>
    <dgm:pt modelId="{60C3DCEE-F136-4943-9423-34ABC7ECBA28}" type="pres">
      <dgm:prSet presAssocID="{335946D3-CE81-4097-9C35-1E1F6569FA42}" presName="node" presStyleLbl="node1" presStyleIdx="1" presStyleCnt="9" custScaleX="131916" custScaleY="202948" custRadScaleRad="98998" custRadScaleInc="19231">
        <dgm:presLayoutVars>
          <dgm:bulletEnabled val="1"/>
        </dgm:presLayoutVars>
      </dgm:prSet>
      <dgm:spPr>
        <a:xfrm>
          <a:off x="4085154" y="261999"/>
          <a:ext cx="1007997" cy="1007999"/>
        </a:xfrm>
        <a:prstGeom prst="roundRect">
          <a:avLst/>
        </a:prstGeom>
      </dgm:spPr>
    </dgm:pt>
    <dgm:pt modelId="{B9476E57-7CE0-47CE-B6E4-5CAE7027C874}" type="pres">
      <dgm:prSet presAssocID="{335946D3-CE81-4097-9C35-1E1F6569FA42}" presName="spNode" presStyleCnt="0"/>
      <dgm:spPr/>
    </dgm:pt>
    <dgm:pt modelId="{9CAB07AB-CE92-410C-B67B-5C4D8E902D2A}" type="pres">
      <dgm:prSet presAssocID="{AE500029-4FDD-4F4B-9D2E-CC29E5BC7027}" presName="sibTrans" presStyleLbl="sibTrans1D1" presStyleIdx="1" presStyleCnt="9"/>
      <dgm:spPr/>
    </dgm:pt>
    <dgm:pt modelId="{4892BA54-D813-4A68-B3E7-D96A4C75350B}" type="pres">
      <dgm:prSet presAssocID="{61C3038A-F8DF-4E92-AD59-B100725A0594}" presName="node" presStyleLbl="node1" presStyleIdx="2" presStyleCnt="9" custScaleX="131916" custScaleY="202948" custRadScaleRad="99169" custRadScaleInc="24360">
        <dgm:presLayoutVars>
          <dgm:bulletEnabled val="1"/>
        </dgm:presLayoutVars>
      </dgm:prSet>
      <dgm:spPr/>
    </dgm:pt>
    <dgm:pt modelId="{E5E16593-B9D1-4553-AFA1-64DE3FE97FB1}" type="pres">
      <dgm:prSet presAssocID="{61C3038A-F8DF-4E92-AD59-B100725A0594}" presName="spNode" presStyleCnt="0"/>
      <dgm:spPr/>
    </dgm:pt>
    <dgm:pt modelId="{9A59F23A-A123-44F1-AA94-485DEFC35334}" type="pres">
      <dgm:prSet presAssocID="{79044CD3-DDAA-4003-9891-4C1966070FE0}" presName="sibTrans" presStyleLbl="sibTrans1D1" presStyleIdx="2" presStyleCnt="9"/>
      <dgm:spPr/>
    </dgm:pt>
    <dgm:pt modelId="{7F0EF2DB-CA93-47D2-9888-0F64D5429897}" type="pres">
      <dgm:prSet presAssocID="{FE25AE9C-AC8C-4D58-8F9A-F62CE0022D5B}" presName="node" presStyleLbl="node1" presStyleIdx="3" presStyleCnt="9" custScaleX="131916" custScaleY="202948">
        <dgm:presLayoutVars>
          <dgm:bulletEnabled val="1"/>
        </dgm:presLayoutVars>
      </dgm:prSet>
      <dgm:spPr/>
    </dgm:pt>
    <dgm:pt modelId="{0FF3A428-76C3-4980-A906-0D3407BA83D6}" type="pres">
      <dgm:prSet presAssocID="{FE25AE9C-AC8C-4D58-8F9A-F62CE0022D5B}" presName="spNode" presStyleCnt="0"/>
      <dgm:spPr/>
    </dgm:pt>
    <dgm:pt modelId="{5FED0FA7-BC7F-41E0-8CAF-C97921FF36FC}" type="pres">
      <dgm:prSet presAssocID="{3A83D1AE-4CA3-49D1-BED5-DC1B16F79E9E}" presName="sibTrans" presStyleLbl="sibTrans1D1" presStyleIdx="3" presStyleCnt="9"/>
      <dgm:spPr/>
    </dgm:pt>
    <dgm:pt modelId="{4D19C0EA-C762-4CE8-913E-EABD0E5484DC}" type="pres">
      <dgm:prSet presAssocID="{0541C16E-1944-4558-8F91-1E2BFBF2C4D3}" presName="node" presStyleLbl="node1" presStyleIdx="4" presStyleCnt="9" custScaleX="131916" custScaleY="202948" custRadScaleRad="98172" custRadScaleInc="18830">
        <dgm:presLayoutVars>
          <dgm:bulletEnabled val="1"/>
        </dgm:presLayoutVars>
      </dgm:prSet>
      <dgm:spPr/>
    </dgm:pt>
    <dgm:pt modelId="{33BAD236-73A4-4723-A81B-B9F75E7D7030}" type="pres">
      <dgm:prSet presAssocID="{0541C16E-1944-4558-8F91-1E2BFBF2C4D3}" presName="spNode" presStyleCnt="0"/>
      <dgm:spPr/>
    </dgm:pt>
    <dgm:pt modelId="{3D6F80AD-6340-4645-9BCC-9CC839122757}" type="pres">
      <dgm:prSet presAssocID="{79141A15-B5C5-43BE-A996-25475570F7D8}" presName="sibTrans" presStyleLbl="sibTrans1D1" presStyleIdx="4" presStyleCnt="9"/>
      <dgm:spPr/>
    </dgm:pt>
    <dgm:pt modelId="{528AFA7E-4BAB-480B-A44C-BB6650F77F5D}" type="pres">
      <dgm:prSet presAssocID="{45061020-A4FE-457E-B053-4BC20E225ADE}" presName="node" presStyleLbl="node1" presStyleIdx="5" presStyleCnt="9" custScaleX="131916" custScaleY="202948" custRadScaleRad="98713" custRadScaleInc="-21101">
        <dgm:presLayoutVars>
          <dgm:bulletEnabled val="1"/>
        </dgm:presLayoutVars>
      </dgm:prSet>
      <dgm:spPr/>
    </dgm:pt>
    <dgm:pt modelId="{B462E8CE-E696-4236-905E-97099BC38008}" type="pres">
      <dgm:prSet presAssocID="{45061020-A4FE-457E-B053-4BC20E225ADE}" presName="spNode" presStyleCnt="0"/>
      <dgm:spPr/>
    </dgm:pt>
    <dgm:pt modelId="{1343E8DF-26C2-49CF-9606-81DA3D5CDE84}" type="pres">
      <dgm:prSet presAssocID="{901714CC-5810-4859-B458-EA66EAEE3E1A}" presName="sibTrans" presStyleLbl="sibTrans1D1" presStyleIdx="5" presStyleCnt="9"/>
      <dgm:spPr/>
    </dgm:pt>
    <dgm:pt modelId="{8A8AB859-16A8-4B90-86A5-A979887A79EE}" type="pres">
      <dgm:prSet presAssocID="{4C74EAB3-BCAB-476B-BAA7-0ECD8C020F1D}" presName="node" presStyleLbl="node1" presStyleIdx="6" presStyleCnt="9" custScaleX="131916" custScaleY="202948">
        <dgm:presLayoutVars>
          <dgm:bulletEnabled val="1"/>
        </dgm:presLayoutVars>
      </dgm:prSet>
      <dgm:spPr/>
    </dgm:pt>
    <dgm:pt modelId="{4317596B-D96B-4E75-AD8B-9CC507AEB411}" type="pres">
      <dgm:prSet presAssocID="{4C74EAB3-BCAB-476B-BAA7-0ECD8C020F1D}" presName="spNode" presStyleCnt="0"/>
      <dgm:spPr/>
    </dgm:pt>
    <dgm:pt modelId="{8B833E3F-CBA5-496B-A09F-2E54FBEE637D}" type="pres">
      <dgm:prSet presAssocID="{1A1DE00F-F739-4D74-8165-4F41AA21E618}" presName="sibTrans" presStyleLbl="sibTrans1D1" presStyleIdx="6" presStyleCnt="9"/>
      <dgm:spPr/>
    </dgm:pt>
    <dgm:pt modelId="{82B9AEF2-7358-4ACD-B5D1-32CFCBB75FA8}" type="pres">
      <dgm:prSet presAssocID="{CB2DAD1D-8172-415E-B516-6F72DF2C87ED}" presName="node" presStyleLbl="node1" presStyleIdx="7" presStyleCnt="9" custScaleX="132582" custScaleY="203221" custRadScaleRad="99668" custRadScaleInc="-18782">
        <dgm:presLayoutVars>
          <dgm:bulletEnabled val="1"/>
        </dgm:presLayoutVars>
      </dgm:prSet>
      <dgm:spPr/>
    </dgm:pt>
    <dgm:pt modelId="{54C2FF6B-FAAC-4F5C-A4CA-B470EF3C66FC}" type="pres">
      <dgm:prSet presAssocID="{CB2DAD1D-8172-415E-B516-6F72DF2C87ED}" presName="spNode" presStyleCnt="0"/>
      <dgm:spPr/>
    </dgm:pt>
    <dgm:pt modelId="{2409D813-50DC-430D-9DC4-D4F889473FBF}" type="pres">
      <dgm:prSet presAssocID="{F0EC7CBB-5484-4BD6-A634-1E2C9CA1721C}" presName="sibTrans" presStyleLbl="sibTrans1D1" presStyleIdx="7" presStyleCnt="9"/>
      <dgm:spPr/>
    </dgm:pt>
    <dgm:pt modelId="{9E632469-FD25-49F8-A3BA-3185905D2710}" type="pres">
      <dgm:prSet presAssocID="{CD2B1CED-857B-4605-BB9A-FF6630D0A73A}" presName="node" presStyleLbl="node1" presStyleIdx="8" presStyleCnt="9" custScaleX="131916" custScaleY="202948" custRadScaleRad="97871" custRadScaleInc="-13804">
        <dgm:presLayoutVars>
          <dgm:bulletEnabled val="1"/>
        </dgm:presLayoutVars>
      </dgm:prSet>
      <dgm:spPr/>
    </dgm:pt>
    <dgm:pt modelId="{8FEB6B7F-1726-4EE0-BBCF-EC54C40EE5A0}" type="pres">
      <dgm:prSet presAssocID="{CD2B1CED-857B-4605-BB9A-FF6630D0A73A}" presName="spNode" presStyleCnt="0"/>
      <dgm:spPr/>
    </dgm:pt>
    <dgm:pt modelId="{E93F9C88-6935-4B51-BEC8-146655D1ACB5}" type="pres">
      <dgm:prSet presAssocID="{9FCD6D6B-256A-42C0-827A-5A1755FC9CD4}" presName="sibTrans" presStyleLbl="sibTrans1D1" presStyleIdx="8" presStyleCnt="9"/>
      <dgm:spPr/>
    </dgm:pt>
  </dgm:ptLst>
  <dgm:cxnLst>
    <dgm:cxn modelId="{19D95308-0553-4600-8CCD-6936C10B4B14}" type="presOf" srcId="{9FCD6D6B-256A-42C0-827A-5A1755FC9CD4}" destId="{E93F9C88-6935-4B51-BEC8-146655D1ACB5}" srcOrd="0" destOrd="0" presId="urn:microsoft.com/office/officeart/2005/8/layout/cycle6"/>
    <dgm:cxn modelId="{9892B912-B6A4-4A97-BBF4-556EB7C4185C}" type="presOf" srcId="{79141A15-B5C5-43BE-A996-25475570F7D8}" destId="{3D6F80AD-6340-4645-9BCC-9CC839122757}" srcOrd="0" destOrd="0" presId="urn:microsoft.com/office/officeart/2005/8/layout/cycle6"/>
    <dgm:cxn modelId="{1C8CA215-762A-4415-8E6D-D991EE0C98C2}" type="presOf" srcId="{CD2B1CED-857B-4605-BB9A-FF6630D0A73A}" destId="{9E632469-FD25-49F8-A3BA-3185905D2710}" srcOrd="0" destOrd="0" presId="urn:microsoft.com/office/officeart/2005/8/layout/cycle6"/>
    <dgm:cxn modelId="{4E61D12F-FD3A-410A-9DE4-CB514013C5E1}" srcId="{DB849CB9-26DB-493F-9BC1-7B3FFAF2D0B0}" destId="{45061020-A4FE-457E-B053-4BC20E225ADE}" srcOrd="5" destOrd="0" parTransId="{FB1F3FA9-3E85-4026-B041-C5FCFF660589}" sibTransId="{901714CC-5810-4859-B458-EA66EAEE3E1A}"/>
    <dgm:cxn modelId="{2C34A433-6607-45EE-B7C2-CB11C72D1220}" type="presOf" srcId="{79044CD3-DDAA-4003-9891-4C1966070FE0}" destId="{9A59F23A-A123-44F1-AA94-485DEFC35334}" srcOrd="0" destOrd="0" presId="urn:microsoft.com/office/officeart/2005/8/layout/cycle6"/>
    <dgm:cxn modelId="{373ACE34-BA8F-48EF-9D20-600D8F367550}" type="presOf" srcId="{0541C16E-1944-4558-8F91-1E2BFBF2C4D3}" destId="{4D19C0EA-C762-4CE8-913E-EABD0E5484DC}" srcOrd="0" destOrd="0" presId="urn:microsoft.com/office/officeart/2005/8/layout/cycle6"/>
    <dgm:cxn modelId="{E394623A-8816-44FD-B1F9-E62C259667D6}" srcId="{DB849CB9-26DB-493F-9BC1-7B3FFAF2D0B0}" destId="{CB2DAD1D-8172-415E-B516-6F72DF2C87ED}" srcOrd="7" destOrd="0" parTransId="{C8035952-8E3A-4BD6-A7F5-4E4E4BAC17BA}" sibTransId="{F0EC7CBB-5484-4BD6-A634-1E2C9CA1721C}"/>
    <dgm:cxn modelId="{DD77F83D-8C8D-4CAF-AADD-4CA7A26FB3C0}" type="presOf" srcId="{3A83D1AE-4CA3-49D1-BED5-DC1B16F79E9E}" destId="{5FED0FA7-BC7F-41E0-8CAF-C97921FF36FC}" srcOrd="0" destOrd="0" presId="urn:microsoft.com/office/officeart/2005/8/layout/cycle6"/>
    <dgm:cxn modelId="{B5837060-CD0D-454A-80FF-2FF57B65D03E}" srcId="{DB849CB9-26DB-493F-9BC1-7B3FFAF2D0B0}" destId="{FE25AE9C-AC8C-4D58-8F9A-F62CE0022D5B}" srcOrd="3" destOrd="0" parTransId="{3DF2A404-A472-48AE-B55E-A08A9DE95A8A}" sibTransId="{3A83D1AE-4CA3-49D1-BED5-DC1B16F79E9E}"/>
    <dgm:cxn modelId="{2566F96C-F373-4362-A34E-2367EABB4789}" type="presOf" srcId="{FE25AE9C-AC8C-4D58-8F9A-F62CE0022D5B}" destId="{7F0EF2DB-CA93-47D2-9888-0F64D5429897}" srcOrd="0" destOrd="0" presId="urn:microsoft.com/office/officeart/2005/8/layout/cycle6"/>
    <dgm:cxn modelId="{E6E9BB6E-B5CE-4603-BDA4-4AE1356356EF}" type="presOf" srcId="{8DA66DDC-1E5A-4299-8A0E-881D8E75A2CC}" destId="{1AF6340D-53D1-41C5-8C0B-08EA9545C9CA}" srcOrd="0" destOrd="0" presId="urn:microsoft.com/office/officeart/2005/8/layout/cycle6"/>
    <dgm:cxn modelId="{17A4B057-35C8-41F1-9648-864A5C9B578D}" type="presOf" srcId="{CB2DAD1D-8172-415E-B516-6F72DF2C87ED}" destId="{82B9AEF2-7358-4ACD-B5D1-32CFCBB75FA8}" srcOrd="0" destOrd="0" presId="urn:microsoft.com/office/officeart/2005/8/layout/cycle6"/>
    <dgm:cxn modelId="{378F9878-6035-4F48-89E1-BFD8A4F16BDB}" type="presOf" srcId="{61C3038A-F8DF-4E92-AD59-B100725A0594}" destId="{4892BA54-D813-4A68-B3E7-D96A4C75350B}" srcOrd="0" destOrd="0" presId="urn:microsoft.com/office/officeart/2005/8/layout/cycle6"/>
    <dgm:cxn modelId="{94F8827A-900A-4D58-A084-AE208E3CFEB5}" type="presOf" srcId="{1A1DE00F-F739-4D74-8165-4F41AA21E618}" destId="{8B833E3F-CBA5-496B-A09F-2E54FBEE637D}" srcOrd="0" destOrd="0" presId="urn:microsoft.com/office/officeart/2005/8/layout/cycle6"/>
    <dgm:cxn modelId="{AF8D667C-EA3E-4B0F-906D-CF8BB7814FCF}" srcId="{DB849CB9-26DB-493F-9BC1-7B3FFAF2D0B0}" destId="{4C74EAB3-BCAB-476B-BAA7-0ECD8C020F1D}" srcOrd="6" destOrd="0" parTransId="{770663B0-B946-4505-BC7D-A73C703B55D6}" sibTransId="{1A1DE00F-F739-4D74-8165-4F41AA21E618}"/>
    <dgm:cxn modelId="{4CE94693-C180-4EC4-9FCF-513C240B9E67}" type="presOf" srcId="{98560292-C631-40A2-A164-33B1AF7A4306}" destId="{E9DE802E-AA1C-47D2-B31C-D706D532217F}" srcOrd="0" destOrd="0" presId="urn:microsoft.com/office/officeart/2005/8/layout/cycle6"/>
    <dgm:cxn modelId="{C3F4569C-0137-47FF-9FCA-D223C87684A5}" type="presOf" srcId="{45061020-A4FE-457E-B053-4BC20E225ADE}" destId="{528AFA7E-4BAB-480B-A44C-BB6650F77F5D}" srcOrd="0" destOrd="0" presId="urn:microsoft.com/office/officeart/2005/8/layout/cycle6"/>
    <dgm:cxn modelId="{B9952EB2-29F7-4765-B9B8-7D6F2CDFB527}" type="presOf" srcId="{F0EC7CBB-5484-4BD6-A634-1E2C9CA1721C}" destId="{2409D813-50DC-430D-9DC4-D4F889473FBF}" srcOrd="0" destOrd="0" presId="urn:microsoft.com/office/officeart/2005/8/layout/cycle6"/>
    <dgm:cxn modelId="{1CBE8DB5-E03A-4256-B4B1-9F28955979DC}" srcId="{DB849CB9-26DB-493F-9BC1-7B3FFAF2D0B0}" destId="{335946D3-CE81-4097-9C35-1E1F6569FA42}" srcOrd="1" destOrd="0" parTransId="{BC15C49E-B66A-4EA0-9A6A-9B01BB034923}" sibTransId="{AE500029-4FDD-4F4B-9D2E-CC29E5BC7027}"/>
    <dgm:cxn modelId="{4E85D2B8-6129-4AA8-8720-C90C2083490A}" srcId="{DB849CB9-26DB-493F-9BC1-7B3FFAF2D0B0}" destId="{0541C16E-1944-4558-8F91-1E2BFBF2C4D3}" srcOrd="4" destOrd="0" parTransId="{74B3290C-9CED-4B3B-8D13-53F98AC72B52}" sibTransId="{79141A15-B5C5-43BE-A996-25475570F7D8}"/>
    <dgm:cxn modelId="{DABF91B9-8897-4255-84DD-793AC22AF8DB}" type="presOf" srcId="{4C74EAB3-BCAB-476B-BAA7-0ECD8C020F1D}" destId="{8A8AB859-16A8-4B90-86A5-A979887A79EE}" srcOrd="0" destOrd="0" presId="urn:microsoft.com/office/officeart/2005/8/layout/cycle6"/>
    <dgm:cxn modelId="{34D9E2BA-6362-4232-A9F8-921720D860C4}" type="presOf" srcId="{335946D3-CE81-4097-9C35-1E1F6569FA42}" destId="{60C3DCEE-F136-4943-9423-34ABC7ECBA28}" srcOrd="0" destOrd="0" presId="urn:microsoft.com/office/officeart/2005/8/layout/cycle6"/>
    <dgm:cxn modelId="{0455ABBC-94C4-469B-966A-38C9C019DBBE}" type="presOf" srcId="{901714CC-5810-4859-B458-EA66EAEE3E1A}" destId="{1343E8DF-26C2-49CF-9606-81DA3D5CDE84}" srcOrd="0" destOrd="0" presId="urn:microsoft.com/office/officeart/2005/8/layout/cycle6"/>
    <dgm:cxn modelId="{8ABC4EC6-D375-4671-A3A1-D96EFFAC3947}" srcId="{DB849CB9-26DB-493F-9BC1-7B3FFAF2D0B0}" destId="{8DA66DDC-1E5A-4299-8A0E-881D8E75A2CC}" srcOrd="0" destOrd="0" parTransId="{45B4CB81-8882-4D22-8D28-F64A5089339A}" sibTransId="{98560292-C631-40A2-A164-33B1AF7A4306}"/>
    <dgm:cxn modelId="{17CB0FD6-A918-4B4A-BEB5-50F70517E213}" srcId="{DB849CB9-26DB-493F-9BC1-7B3FFAF2D0B0}" destId="{CD2B1CED-857B-4605-BB9A-FF6630D0A73A}" srcOrd="8" destOrd="0" parTransId="{80441468-4CC4-4758-BD74-5DCBE6E35490}" sibTransId="{9FCD6D6B-256A-42C0-827A-5A1755FC9CD4}"/>
    <dgm:cxn modelId="{6E0BA1F7-E2CE-4609-B6EB-F3BF636379F8}" srcId="{DB849CB9-26DB-493F-9BC1-7B3FFAF2D0B0}" destId="{61C3038A-F8DF-4E92-AD59-B100725A0594}" srcOrd="2" destOrd="0" parTransId="{EA7257B8-591F-426F-A471-E340593C1FB1}" sibTransId="{79044CD3-DDAA-4003-9891-4C1966070FE0}"/>
    <dgm:cxn modelId="{F48028FA-CB7B-43CB-B087-075AC66BF1ED}" type="presOf" srcId="{AE500029-4FDD-4F4B-9D2E-CC29E5BC7027}" destId="{9CAB07AB-CE92-410C-B67B-5C4D8E902D2A}" srcOrd="0" destOrd="0" presId="urn:microsoft.com/office/officeart/2005/8/layout/cycle6"/>
    <dgm:cxn modelId="{A92EA1FF-8CCE-4E66-8BD5-56439B95DEF7}" type="presOf" srcId="{DB849CB9-26DB-493F-9BC1-7B3FFAF2D0B0}" destId="{F48110C4-7D65-489B-A701-83D0DC5AE8EC}" srcOrd="0" destOrd="0" presId="urn:microsoft.com/office/officeart/2005/8/layout/cycle6"/>
    <dgm:cxn modelId="{6F69C911-369B-44F7-9C97-F7F96E2FA293}" type="presParOf" srcId="{F48110C4-7D65-489B-A701-83D0DC5AE8EC}" destId="{1AF6340D-53D1-41C5-8C0B-08EA9545C9CA}" srcOrd="0" destOrd="0" presId="urn:microsoft.com/office/officeart/2005/8/layout/cycle6"/>
    <dgm:cxn modelId="{FF3FE373-4B26-4B59-9FD0-3D77BE766A15}" type="presParOf" srcId="{F48110C4-7D65-489B-A701-83D0DC5AE8EC}" destId="{DA17744F-7756-497E-9D79-4C7A05934046}" srcOrd="1" destOrd="0" presId="urn:microsoft.com/office/officeart/2005/8/layout/cycle6"/>
    <dgm:cxn modelId="{2C38A5EC-FF65-48A7-B427-8CBB4B1BC020}" type="presParOf" srcId="{F48110C4-7D65-489B-A701-83D0DC5AE8EC}" destId="{E9DE802E-AA1C-47D2-B31C-D706D532217F}" srcOrd="2" destOrd="0" presId="urn:microsoft.com/office/officeart/2005/8/layout/cycle6"/>
    <dgm:cxn modelId="{1D0BAE15-8F1F-40DD-B9D0-5A09FBE8146E}" type="presParOf" srcId="{F48110C4-7D65-489B-A701-83D0DC5AE8EC}" destId="{60C3DCEE-F136-4943-9423-34ABC7ECBA28}" srcOrd="3" destOrd="0" presId="urn:microsoft.com/office/officeart/2005/8/layout/cycle6"/>
    <dgm:cxn modelId="{2D9FB7EC-788F-4DCA-BA96-45271BD1C68E}" type="presParOf" srcId="{F48110C4-7D65-489B-A701-83D0DC5AE8EC}" destId="{B9476E57-7CE0-47CE-B6E4-5CAE7027C874}" srcOrd="4" destOrd="0" presId="urn:microsoft.com/office/officeart/2005/8/layout/cycle6"/>
    <dgm:cxn modelId="{4E62C4DF-0E30-4715-A0EF-D03E8C33B00E}" type="presParOf" srcId="{F48110C4-7D65-489B-A701-83D0DC5AE8EC}" destId="{9CAB07AB-CE92-410C-B67B-5C4D8E902D2A}" srcOrd="5" destOrd="0" presId="urn:microsoft.com/office/officeart/2005/8/layout/cycle6"/>
    <dgm:cxn modelId="{F7247D54-048D-4324-8C84-61B8EFEEB6AB}" type="presParOf" srcId="{F48110C4-7D65-489B-A701-83D0DC5AE8EC}" destId="{4892BA54-D813-4A68-B3E7-D96A4C75350B}" srcOrd="6" destOrd="0" presId="urn:microsoft.com/office/officeart/2005/8/layout/cycle6"/>
    <dgm:cxn modelId="{ED5D1DC8-1B6D-4A34-9E7D-33811ED85649}" type="presParOf" srcId="{F48110C4-7D65-489B-A701-83D0DC5AE8EC}" destId="{E5E16593-B9D1-4553-AFA1-64DE3FE97FB1}" srcOrd="7" destOrd="0" presId="urn:microsoft.com/office/officeart/2005/8/layout/cycle6"/>
    <dgm:cxn modelId="{075ED98B-21A7-47D6-9095-04237B95C8EC}" type="presParOf" srcId="{F48110C4-7D65-489B-A701-83D0DC5AE8EC}" destId="{9A59F23A-A123-44F1-AA94-485DEFC35334}" srcOrd="8" destOrd="0" presId="urn:microsoft.com/office/officeart/2005/8/layout/cycle6"/>
    <dgm:cxn modelId="{4ECD8D6A-5EDE-42AA-924B-A68B7C1D51C7}" type="presParOf" srcId="{F48110C4-7D65-489B-A701-83D0DC5AE8EC}" destId="{7F0EF2DB-CA93-47D2-9888-0F64D5429897}" srcOrd="9" destOrd="0" presId="urn:microsoft.com/office/officeart/2005/8/layout/cycle6"/>
    <dgm:cxn modelId="{86FE4081-6567-4167-9855-402ECA65C4AC}" type="presParOf" srcId="{F48110C4-7D65-489B-A701-83D0DC5AE8EC}" destId="{0FF3A428-76C3-4980-A906-0D3407BA83D6}" srcOrd="10" destOrd="0" presId="urn:microsoft.com/office/officeart/2005/8/layout/cycle6"/>
    <dgm:cxn modelId="{4AC041CF-C7BF-49D7-AE79-B0C535073F35}" type="presParOf" srcId="{F48110C4-7D65-489B-A701-83D0DC5AE8EC}" destId="{5FED0FA7-BC7F-41E0-8CAF-C97921FF36FC}" srcOrd="11" destOrd="0" presId="urn:microsoft.com/office/officeart/2005/8/layout/cycle6"/>
    <dgm:cxn modelId="{86ABD50E-8C44-461B-87D1-1AED602DE47E}" type="presParOf" srcId="{F48110C4-7D65-489B-A701-83D0DC5AE8EC}" destId="{4D19C0EA-C762-4CE8-913E-EABD0E5484DC}" srcOrd="12" destOrd="0" presId="urn:microsoft.com/office/officeart/2005/8/layout/cycle6"/>
    <dgm:cxn modelId="{A785583F-D040-4DB0-93B3-C34FBABCDE40}" type="presParOf" srcId="{F48110C4-7D65-489B-A701-83D0DC5AE8EC}" destId="{33BAD236-73A4-4723-A81B-B9F75E7D7030}" srcOrd="13" destOrd="0" presId="urn:microsoft.com/office/officeart/2005/8/layout/cycle6"/>
    <dgm:cxn modelId="{FF371412-DFB4-473F-AD52-EA26610A5BA1}" type="presParOf" srcId="{F48110C4-7D65-489B-A701-83D0DC5AE8EC}" destId="{3D6F80AD-6340-4645-9BCC-9CC839122757}" srcOrd="14" destOrd="0" presId="urn:microsoft.com/office/officeart/2005/8/layout/cycle6"/>
    <dgm:cxn modelId="{8B55A0B9-CE7B-4B21-93A8-006205FAB1C2}" type="presParOf" srcId="{F48110C4-7D65-489B-A701-83D0DC5AE8EC}" destId="{528AFA7E-4BAB-480B-A44C-BB6650F77F5D}" srcOrd="15" destOrd="0" presId="urn:microsoft.com/office/officeart/2005/8/layout/cycle6"/>
    <dgm:cxn modelId="{52347E4E-2D2A-458C-B241-355721D39386}" type="presParOf" srcId="{F48110C4-7D65-489B-A701-83D0DC5AE8EC}" destId="{B462E8CE-E696-4236-905E-97099BC38008}" srcOrd="16" destOrd="0" presId="urn:microsoft.com/office/officeart/2005/8/layout/cycle6"/>
    <dgm:cxn modelId="{111C3A2C-9D96-4C5D-9F94-6C75A666D432}" type="presParOf" srcId="{F48110C4-7D65-489B-A701-83D0DC5AE8EC}" destId="{1343E8DF-26C2-49CF-9606-81DA3D5CDE84}" srcOrd="17" destOrd="0" presId="urn:microsoft.com/office/officeart/2005/8/layout/cycle6"/>
    <dgm:cxn modelId="{74E6F29E-599F-4E84-8E06-89870DFE3330}" type="presParOf" srcId="{F48110C4-7D65-489B-A701-83D0DC5AE8EC}" destId="{8A8AB859-16A8-4B90-86A5-A979887A79EE}" srcOrd="18" destOrd="0" presId="urn:microsoft.com/office/officeart/2005/8/layout/cycle6"/>
    <dgm:cxn modelId="{8113408E-2983-4DF6-A3FD-D6432B49C07E}" type="presParOf" srcId="{F48110C4-7D65-489B-A701-83D0DC5AE8EC}" destId="{4317596B-D96B-4E75-AD8B-9CC507AEB411}" srcOrd="19" destOrd="0" presId="urn:microsoft.com/office/officeart/2005/8/layout/cycle6"/>
    <dgm:cxn modelId="{0B9B6AF8-B137-45C5-B53C-C5D6315E1F73}" type="presParOf" srcId="{F48110C4-7D65-489B-A701-83D0DC5AE8EC}" destId="{8B833E3F-CBA5-496B-A09F-2E54FBEE637D}" srcOrd="20" destOrd="0" presId="urn:microsoft.com/office/officeart/2005/8/layout/cycle6"/>
    <dgm:cxn modelId="{F7B135A9-DF18-425B-AFE9-0820BC4D0593}" type="presParOf" srcId="{F48110C4-7D65-489B-A701-83D0DC5AE8EC}" destId="{82B9AEF2-7358-4ACD-B5D1-32CFCBB75FA8}" srcOrd="21" destOrd="0" presId="urn:microsoft.com/office/officeart/2005/8/layout/cycle6"/>
    <dgm:cxn modelId="{A90536E3-CC11-4FB0-9102-234743CD9930}" type="presParOf" srcId="{F48110C4-7D65-489B-A701-83D0DC5AE8EC}" destId="{54C2FF6B-FAAC-4F5C-A4CA-B470EF3C66FC}" srcOrd="22" destOrd="0" presId="urn:microsoft.com/office/officeart/2005/8/layout/cycle6"/>
    <dgm:cxn modelId="{A5DFFA52-BA24-46C0-9890-53F516869EDF}" type="presParOf" srcId="{F48110C4-7D65-489B-A701-83D0DC5AE8EC}" destId="{2409D813-50DC-430D-9DC4-D4F889473FBF}" srcOrd="23" destOrd="0" presId="urn:microsoft.com/office/officeart/2005/8/layout/cycle6"/>
    <dgm:cxn modelId="{508CF65A-A4D7-41F1-9883-465C3B74EB04}" type="presParOf" srcId="{F48110C4-7D65-489B-A701-83D0DC5AE8EC}" destId="{9E632469-FD25-49F8-A3BA-3185905D2710}" srcOrd="24" destOrd="0" presId="urn:microsoft.com/office/officeart/2005/8/layout/cycle6"/>
    <dgm:cxn modelId="{AE5722DA-57CD-4A38-8F30-94DEDEA66C45}" type="presParOf" srcId="{F48110C4-7D65-489B-A701-83D0DC5AE8EC}" destId="{8FEB6B7F-1726-4EE0-BBCF-EC54C40EE5A0}" srcOrd="25" destOrd="0" presId="urn:microsoft.com/office/officeart/2005/8/layout/cycle6"/>
    <dgm:cxn modelId="{DAB34BD0-6F99-4A49-BE6B-D2A9CA1E8461}" type="presParOf" srcId="{F48110C4-7D65-489B-A701-83D0DC5AE8EC}" destId="{E93F9C88-6935-4B51-BEC8-146655D1ACB5}" srcOrd="26"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B849CB9-26DB-493F-9BC1-7B3FFAF2D0B0}" type="doc">
      <dgm:prSet loTypeId="urn:microsoft.com/office/officeart/2005/8/layout/cycle6" loCatId="cycle" qsTypeId="urn:microsoft.com/office/officeart/2005/8/quickstyle/simple1" qsCatId="simple" csTypeId="urn:microsoft.com/office/officeart/2005/8/colors/accent0_2" csCatId="mainScheme" phldr="1"/>
      <dgm:spPr/>
      <dgm:t>
        <a:bodyPr/>
        <a:lstStyle/>
        <a:p>
          <a:endParaRPr lang="cs-CZ"/>
        </a:p>
      </dgm:t>
    </dgm:pt>
    <dgm:pt modelId="{8DA66DDC-1E5A-4299-8A0E-881D8E75A2CC}">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Koncentrace EU dotací</a:t>
          </a:r>
        </a:p>
      </dgm:t>
    </dgm:pt>
    <dgm:pt modelId="{45B4CB81-8882-4D22-8D28-F64A5089339A}" type="parTrans" cxnId="{8ABC4EC6-D375-4671-A3A1-D96EFFAC3947}">
      <dgm:prSet/>
      <dgm:spPr/>
      <dgm:t>
        <a:bodyPr/>
        <a:lstStyle/>
        <a:p>
          <a:endParaRPr lang="cs-CZ" sz="1000">
            <a:solidFill>
              <a:schemeClr val="bg1">
                <a:lumMod val="10000"/>
              </a:schemeClr>
            </a:solidFill>
            <a:latin typeface="Fira Sans" panose="020B0503050000020004" pitchFamily="34" charset="0"/>
          </a:endParaRPr>
        </a:p>
      </dgm:t>
    </dgm:pt>
    <dgm:pt modelId="{98560292-C631-40A2-A164-33B1AF7A4306}" type="sibTrans" cxnId="{8ABC4EC6-D375-4671-A3A1-D96EFFAC3947}">
      <dgm:prSet/>
      <dgm:spPr>
        <a:solidFill>
          <a:srgbClr val="64BCA9"/>
        </a:solidFill>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335946D3-CE81-4097-9C35-1E1F6569FA42}">
      <dgm:prSet phldrT="[Text]" custT="1">
        <dgm:style>
          <a:lnRef idx="2">
            <a:schemeClr val="accent5"/>
          </a:lnRef>
          <a:fillRef idx="1">
            <a:schemeClr val="lt1"/>
          </a:fillRef>
          <a:effectRef idx="0">
            <a:schemeClr val="accent5"/>
          </a:effectRef>
          <a:fontRef idx="minor">
            <a:schemeClr val="dk1"/>
          </a:fontRef>
        </dgm:style>
      </dgm:prSet>
      <dgm:spPr>
        <a:solidFill>
          <a:srgbClr val="EAEAEA"/>
        </a:solidFill>
        <a:ln w="25400" cap="flat" cmpd="sng" algn="ctr">
          <a:no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gm:t>
    </dgm:pt>
    <dgm:pt modelId="{BC15C49E-B66A-4EA0-9A6A-9B01BB034923}" type="parTrans" cxnId="{1CBE8DB5-E03A-4256-B4B1-9F28955979DC}">
      <dgm:prSet/>
      <dgm:spPr/>
      <dgm:t>
        <a:bodyPr/>
        <a:lstStyle/>
        <a:p>
          <a:endParaRPr lang="cs-CZ" sz="1000">
            <a:solidFill>
              <a:schemeClr val="bg1">
                <a:lumMod val="10000"/>
              </a:schemeClr>
            </a:solidFill>
            <a:latin typeface="Fira Sans" panose="020B0503050000020004" pitchFamily="34" charset="0"/>
          </a:endParaRPr>
        </a:p>
      </dgm:t>
    </dgm:pt>
    <dgm:pt modelId="{AE500029-4FDD-4F4B-9D2E-CC29E5BC7027}" type="sibTrans" cxnId="{1CBE8DB5-E03A-4256-B4B1-9F28955979DC}">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61C3038A-F8DF-4E92-AD59-B100725A0594}">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Řízení samospráv</a:t>
          </a:r>
        </a:p>
      </dgm:t>
    </dgm:pt>
    <dgm:pt modelId="{EA7257B8-591F-426F-A471-E340593C1FB1}" type="parTrans" cxnId="{6E0BA1F7-E2CE-4609-B6EB-F3BF636379F8}">
      <dgm:prSet/>
      <dgm:spPr/>
      <dgm:t>
        <a:bodyPr/>
        <a:lstStyle/>
        <a:p>
          <a:endParaRPr lang="cs-CZ" sz="1000">
            <a:solidFill>
              <a:schemeClr val="bg1">
                <a:lumMod val="10000"/>
              </a:schemeClr>
            </a:solidFill>
            <a:latin typeface="Fira Sans" panose="020B0503050000020004" pitchFamily="34" charset="0"/>
          </a:endParaRPr>
        </a:p>
      </dgm:t>
    </dgm:pt>
    <dgm:pt modelId="{79044CD3-DDAA-4003-9891-4C1966070FE0}" type="sibTrans" cxnId="{6E0BA1F7-E2CE-4609-B6EB-F3BF636379F8}">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E25AE9C-AC8C-4D58-8F9A-F62CE0022D5B}">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Motivace k soukromým investicím</a:t>
          </a:r>
        </a:p>
      </dgm:t>
    </dgm:pt>
    <dgm:pt modelId="{3DF2A404-A472-48AE-B55E-A08A9DE95A8A}" type="parTrans" cxnId="{B5837060-CD0D-454A-80FF-2FF57B65D03E}">
      <dgm:prSet/>
      <dgm:spPr/>
      <dgm:t>
        <a:bodyPr/>
        <a:lstStyle/>
        <a:p>
          <a:endParaRPr lang="cs-CZ" sz="1000">
            <a:solidFill>
              <a:schemeClr val="bg1">
                <a:lumMod val="10000"/>
              </a:schemeClr>
            </a:solidFill>
            <a:latin typeface="Fira Sans" panose="020B0503050000020004" pitchFamily="34" charset="0"/>
          </a:endParaRPr>
        </a:p>
      </dgm:t>
    </dgm:pt>
    <dgm:pt modelId="{3A83D1AE-4CA3-49D1-BED5-DC1B16F79E9E}" type="sibTrans" cxnId="{B5837060-CD0D-454A-80FF-2FF57B65D03E}">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0541C16E-1944-4558-8F91-1E2BFBF2C4D3}">
      <dgm:prSe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Chytřejší daně</a:t>
          </a:r>
        </a:p>
      </dgm:t>
    </dgm:pt>
    <dgm:pt modelId="{74B3290C-9CED-4B3B-8D13-53F98AC72B52}" type="parTrans" cxnId="{4E85D2B8-6129-4AA8-8720-C90C2083490A}">
      <dgm:prSet/>
      <dgm:spPr/>
      <dgm:t>
        <a:bodyPr/>
        <a:lstStyle/>
        <a:p>
          <a:endParaRPr lang="cs-CZ" sz="1000">
            <a:solidFill>
              <a:schemeClr val="bg1">
                <a:lumMod val="10000"/>
              </a:schemeClr>
            </a:solidFill>
            <a:latin typeface="Fira Sans" panose="020B0503050000020004" pitchFamily="34" charset="0"/>
          </a:endParaRPr>
        </a:p>
      </dgm:t>
    </dgm:pt>
    <dgm:pt modelId="{79141A15-B5C5-43BE-A996-25475570F7D8}" type="sibTrans" cxnId="{4E85D2B8-6129-4AA8-8720-C90C2083490A}">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5061020-A4FE-457E-B053-4BC20E225ADE}">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Podpora vzdělávání</a:t>
          </a:r>
        </a:p>
      </dgm:t>
    </dgm:pt>
    <dgm:pt modelId="{FB1F3FA9-3E85-4026-B041-C5FCFF660589}" type="parTrans" cxnId="{4E61D12F-FD3A-410A-9DE4-CB514013C5E1}">
      <dgm:prSet/>
      <dgm:spPr/>
      <dgm:t>
        <a:bodyPr/>
        <a:lstStyle/>
        <a:p>
          <a:endParaRPr lang="cs-CZ" sz="1000">
            <a:solidFill>
              <a:schemeClr val="bg1">
                <a:lumMod val="10000"/>
              </a:schemeClr>
            </a:solidFill>
            <a:latin typeface="Fira Sans" panose="020B0503050000020004" pitchFamily="34" charset="0"/>
          </a:endParaRPr>
        </a:p>
      </dgm:t>
    </dgm:pt>
    <dgm:pt modelId="{901714CC-5810-4859-B458-EA66EAEE3E1A}" type="sibTrans" cxnId="{4E61D12F-FD3A-410A-9DE4-CB514013C5E1}">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C74EAB3-BCAB-476B-BAA7-0ECD8C020F1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Omezení šedé ekonomiky</a:t>
          </a:r>
        </a:p>
      </dgm:t>
    </dgm:pt>
    <dgm:pt modelId="{770663B0-B946-4505-BC7D-A73C703B55D6}" type="parTrans" cxnId="{AF8D667C-EA3E-4B0F-906D-CF8BB7814FCF}">
      <dgm:prSet/>
      <dgm:spPr/>
      <dgm:t>
        <a:bodyPr/>
        <a:lstStyle/>
        <a:p>
          <a:endParaRPr lang="cs-CZ" sz="1000">
            <a:solidFill>
              <a:schemeClr val="bg1">
                <a:lumMod val="10000"/>
              </a:schemeClr>
            </a:solidFill>
            <a:latin typeface="Fira Sans" panose="020B0503050000020004" pitchFamily="34" charset="0"/>
          </a:endParaRPr>
        </a:p>
      </dgm:t>
    </dgm:pt>
    <dgm:pt modelId="{1A1DE00F-F739-4D74-8165-4F41AA21E618}" type="sibTrans" cxnId="{AF8D667C-EA3E-4B0F-906D-CF8BB7814FCF}">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B2DAD1D-8172-415E-B516-6F72DF2C87ED}">
      <dgm:prSet custT="1"/>
      <dgm:spPr>
        <a:solidFill>
          <a:schemeClr val="accent6"/>
        </a:solidFill>
        <a:ln>
          <a:noFill/>
        </a:ln>
      </dgm:spPr>
      <dgm:t>
        <a:bodyPr/>
        <a:lstStyle/>
        <a:p>
          <a:r>
            <a:rPr lang="cs-CZ" sz="1000" b="0">
              <a:solidFill>
                <a:schemeClr val="bg1">
                  <a:lumMod val="10000"/>
                </a:schemeClr>
              </a:solidFill>
              <a:latin typeface="Fira Sans" panose="020B0503050000020004" pitchFamily="34" charset="0"/>
            </a:rPr>
            <a:t>Stabilizující bytová politika</a:t>
          </a:r>
        </a:p>
      </dgm:t>
    </dgm:pt>
    <dgm:pt modelId="{C8035952-8E3A-4BD6-A7F5-4E4E4BAC17BA}" type="parTrans" cxnId="{E394623A-8816-44FD-B1F9-E62C259667D6}">
      <dgm:prSet/>
      <dgm:spPr/>
      <dgm:t>
        <a:bodyPr/>
        <a:lstStyle/>
        <a:p>
          <a:endParaRPr lang="cs-CZ" sz="1000">
            <a:solidFill>
              <a:schemeClr val="bg1">
                <a:lumMod val="10000"/>
              </a:schemeClr>
            </a:solidFill>
            <a:latin typeface="Fira Sans" panose="020B0503050000020004" pitchFamily="34" charset="0"/>
          </a:endParaRPr>
        </a:p>
      </dgm:t>
    </dgm:pt>
    <dgm:pt modelId="{F0EC7CBB-5484-4BD6-A634-1E2C9CA1721C}" type="sibTrans" cxnId="{E394623A-8816-44FD-B1F9-E62C259667D6}">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D2B1CED-857B-4605-BB9A-FF6630D0A73A}">
      <dgm:prSet custT="1"/>
      <dgm:spPr>
        <a:solidFill>
          <a:srgbClr val="64BCA9"/>
        </a:solidFill>
        <a:ln>
          <a:noFill/>
        </a:ln>
      </dgm:spPr>
      <dgm:t>
        <a:bodyPr/>
        <a:lstStyle/>
        <a:p>
          <a:r>
            <a:rPr lang="cs-CZ" sz="1000">
              <a:solidFill>
                <a:schemeClr val="bg1">
                  <a:lumMod val="10000"/>
                </a:schemeClr>
              </a:solidFill>
              <a:latin typeface="Fira Sans" panose="020B0503050000020004" pitchFamily="34" charset="0"/>
            </a:rPr>
            <a:t>Lepší regionální plánování</a:t>
          </a:r>
        </a:p>
      </dgm:t>
    </dgm:pt>
    <dgm:pt modelId="{80441468-4CC4-4758-BD74-5DCBE6E35490}" type="parTrans" cxnId="{17CB0FD6-A918-4B4A-BEB5-50F70517E213}">
      <dgm:prSet/>
      <dgm:spPr/>
      <dgm:t>
        <a:bodyPr/>
        <a:lstStyle/>
        <a:p>
          <a:endParaRPr lang="cs-CZ" sz="1000">
            <a:solidFill>
              <a:schemeClr val="bg1">
                <a:lumMod val="10000"/>
              </a:schemeClr>
            </a:solidFill>
            <a:latin typeface="Fira Sans" panose="020B0503050000020004" pitchFamily="34" charset="0"/>
          </a:endParaRPr>
        </a:p>
      </dgm:t>
    </dgm:pt>
    <dgm:pt modelId="{9FCD6D6B-256A-42C0-827A-5A1755FC9CD4}" type="sibTrans" cxnId="{17CB0FD6-A918-4B4A-BEB5-50F70517E213}">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48110C4-7D65-489B-A701-83D0DC5AE8EC}" type="pres">
      <dgm:prSet presAssocID="{DB849CB9-26DB-493F-9BC1-7B3FFAF2D0B0}" presName="cycle" presStyleCnt="0">
        <dgm:presLayoutVars>
          <dgm:dir/>
          <dgm:resizeHandles val="exact"/>
        </dgm:presLayoutVars>
      </dgm:prSet>
      <dgm:spPr/>
    </dgm:pt>
    <dgm:pt modelId="{1AF6340D-53D1-41C5-8C0B-08EA9545C9CA}" type="pres">
      <dgm:prSet presAssocID="{8DA66DDC-1E5A-4299-8A0E-881D8E75A2CC}" presName="node" presStyleLbl="node1" presStyleIdx="0" presStyleCnt="9" custScaleX="139153" custScaleY="202948" custRadScaleRad="99673" custRadScaleInc="-5788">
        <dgm:presLayoutVars>
          <dgm:bulletEnabled val="1"/>
        </dgm:presLayoutVars>
      </dgm:prSet>
      <dgm:spPr/>
    </dgm:pt>
    <dgm:pt modelId="{DA17744F-7756-497E-9D79-4C7A05934046}" type="pres">
      <dgm:prSet presAssocID="{8DA66DDC-1E5A-4299-8A0E-881D8E75A2CC}" presName="spNode" presStyleCnt="0"/>
      <dgm:spPr/>
    </dgm:pt>
    <dgm:pt modelId="{E9DE802E-AA1C-47D2-B31C-D706D532217F}" type="pres">
      <dgm:prSet presAssocID="{98560292-C631-40A2-A164-33B1AF7A4306}" presName="sibTrans" presStyleLbl="sibTrans1D1" presStyleIdx="0" presStyleCnt="9"/>
      <dgm:spPr/>
    </dgm:pt>
    <dgm:pt modelId="{60C3DCEE-F136-4943-9423-34ABC7ECBA28}" type="pres">
      <dgm:prSet presAssocID="{335946D3-CE81-4097-9C35-1E1F6569FA42}" presName="node" presStyleLbl="node1" presStyleIdx="1" presStyleCnt="9" custScaleX="131916" custScaleY="202948" custRadScaleRad="98998" custRadScaleInc="19231">
        <dgm:presLayoutVars>
          <dgm:bulletEnabled val="1"/>
        </dgm:presLayoutVars>
      </dgm:prSet>
      <dgm:spPr>
        <a:xfrm>
          <a:off x="4085154" y="261999"/>
          <a:ext cx="1007997" cy="1007999"/>
        </a:xfrm>
        <a:prstGeom prst="roundRect">
          <a:avLst/>
        </a:prstGeom>
      </dgm:spPr>
    </dgm:pt>
    <dgm:pt modelId="{B9476E57-7CE0-47CE-B6E4-5CAE7027C874}" type="pres">
      <dgm:prSet presAssocID="{335946D3-CE81-4097-9C35-1E1F6569FA42}" presName="spNode" presStyleCnt="0"/>
      <dgm:spPr/>
    </dgm:pt>
    <dgm:pt modelId="{9CAB07AB-CE92-410C-B67B-5C4D8E902D2A}" type="pres">
      <dgm:prSet presAssocID="{AE500029-4FDD-4F4B-9D2E-CC29E5BC7027}" presName="sibTrans" presStyleLbl="sibTrans1D1" presStyleIdx="1" presStyleCnt="9"/>
      <dgm:spPr/>
    </dgm:pt>
    <dgm:pt modelId="{4892BA54-D813-4A68-B3E7-D96A4C75350B}" type="pres">
      <dgm:prSet presAssocID="{61C3038A-F8DF-4E92-AD59-B100725A0594}" presName="node" presStyleLbl="node1" presStyleIdx="2" presStyleCnt="9" custScaleX="131916" custScaleY="202948" custRadScaleRad="99169" custRadScaleInc="24360">
        <dgm:presLayoutVars>
          <dgm:bulletEnabled val="1"/>
        </dgm:presLayoutVars>
      </dgm:prSet>
      <dgm:spPr/>
    </dgm:pt>
    <dgm:pt modelId="{E5E16593-B9D1-4553-AFA1-64DE3FE97FB1}" type="pres">
      <dgm:prSet presAssocID="{61C3038A-F8DF-4E92-AD59-B100725A0594}" presName="spNode" presStyleCnt="0"/>
      <dgm:spPr/>
    </dgm:pt>
    <dgm:pt modelId="{9A59F23A-A123-44F1-AA94-485DEFC35334}" type="pres">
      <dgm:prSet presAssocID="{79044CD3-DDAA-4003-9891-4C1966070FE0}" presName="sibTrans" presStyleLbl="sibTrans1D1" presStyleIdx="2" presStyleCnt="9"/>
      <dgm:spPr/>
    </dgm:pt>
    <dgm:pt modelId="{7F0EF2DB-CA93-47D2-9888-0F64D5429897}" type="pres">
      <dgm:prSet presAssocID="{FE25AE9C-AC8C-4D58-8F9A-F62CE0022D5B}" presName="node" presStyleLbl="node1" presStyleIdx="3" presStyleCnt="9" custScaleX="131916" custScaleY="202948">
        <dgm:presLayoutVars>
          <dgm:bulletEnabled val="1"/>
        </dgm:presLayoutVars>
      </dgm:prSet>
      <dgm:spPr/>
    </dgm:pt>
    <dgm:pt modelId="{0FF3A428-76C3-4980-A906-0D3407BA83D6}" type="pres">
      <dgm:prSet presAssocID="{FE25AE9C-AC8C-4D58-8F9A-F62CE0022D5B}" presName="spNode" presStyleCnt="0"/>
      <dgm:spPr/>
    </dgm:pt>
    <dgm:pt modelId="{5FED0FA7-BC7F-41E0-8CAF-C97921FF36FC}" type="pres">
      <dgm:prSet presAssocID="{3A83D1AE-4CA3-49D1-BED5-DC1B16F79E9E}" presName="sibTrans" presStyleLbl="sibTrans1D1" presStyleIdx="3" presStyleCnt="9"/>
      <dgm:spPr/>
    </dgm:pt>
    <dgm:pt modelId="{4D19C0EA-C762-4CE8-913E-EABD0E5484DC}" type="pres">
      <dgm:prSet presAssocID="{0541C16E-1944-4558-8F91-1E2BFBF2C4D3}" presName="node" presStyleLbl="node1" presStyleIdx="4" presStyleCnt="9" custScaleX="131916" custScaleY="202948" custRadScaleRad="98172" custRadScaleInc="18830">
        <dgm:presLayoutVars>
          <dgm:bulletEnabled val="1"/>
        </dgm:presLayoutVars>
      </dgm:prSet>
      <dgm:spPr/>
    </dgm:pt>
    <dgm:pt modelId="{33BAD236-73A4-4723-A81B-B9F75E7D7030}" type="pres">
      <dgm:prSet presAssocID="{0541C16E-1944-4558-8F91-1E2BFBF2C4D3}" presName="spNode" presStyleCnt="0"/>
      <dgm:spPr/>
    </dgm:pt>
    <dgm:pt modelId="{3D6F80AD-6340-4645-9BCC-9CC839122757}" type="pres">
      <dgm:prSet presAssocID="{79141A15-B5C5-43BE-A996-25475570F7D8}" presName="sibTrans" presStyleLbl="sibTrans1D1" presStyleIdx="4" presStyleCnt="9"/>
      <dgm:spPr/>
    </dgm:pt>
    <dgm:pt modelId="{528AFA7E-4BAB-480B-A44C-BB6650F77F5D}" type="pres">
      <dgm:prSet presAssocID="{45061020-A4FE-457E-B053-4BC20E225ADE}" presName="node" presStyleLbl="node1" presStyleIdx="5" presStyleCnt="9" custScaleX="131916" custScaleY="202948" custRadScaleRad="98713" custRadScaleInc="-21101">
        <dgm:presLayoutVars>
          <dgm:bulletEnabled val="1"/>
        </dgm:presLayoutVars>
      </dgm:prSet>
      <dgm:spPr/>
    </dgm:pt>
    <dgm:pt modelId="{B462E8CE-E696-4236-905E-97099BC38008}" type="pres">
      <dgm:prSet presAssocID="{45061020-A4FE-457E-B053-4BC20E225ADE}" presName="spNode" presStyleCnt="0"/>
      <dgm:spPr/>
    </dgm:pt>
    <dgm:pt modelId="{1343E8DF-26C2-49CF-9606-81DA3D5CDE84}" type="pres">
      <dgm:prSet presAssocID="{901714CC-5810-4859-B458-EA66EAEE3E1A}" presName="sibTrans" presStyleLbl="sibTrans1D1" presStyleIdx="5" presStyleCnt="9"/>
      <dgm:spPr/>
    </dgm:pt>
    <dgm:pt modelId="{8A8AB859-16A8-4B90-86A5-A979887A79EE}" type="pres">
      <dgm:prSet presAssocID="{4C74EAB3-BCAB-476B-BAA7-0ECD8C020F1D}" presName="node" presStyleLbl="node1" presStyleIdx="6" presStyleCnt="9" custScaleX="131916" custScaleY="202948">
        <dgm:presLayoutVars>
          <dgm:bulletEnabled val="1"/>
        </dgm:presLayoutVars>
      </dgm:prSet>
      <dgm:spPr/>
    </dgm:pt>
    <dgm:pt modelId="{4317596B-D96B-4E75-AD8B-9CC507AEB411}" type="pres">
      <dgm:prSet presAssocID="{4C74EAB3-BCAB-476B-BAA7-0ECD8C020F1D}" presName="spNode" presStyleCnt="0"/>
      <dgm:spPr/>
    </dgm:pt>
    <dgm:pt modelId="{8B833E3F-CBA5-496B-A09F-2E54FBEE637D}" type="pres">
      <dgm:prSet presAssocID="{1A1DE00F-F739-4D74-8165-4F41AA21E618}" presName="sibTrans" presStyleLbl="sibTrans1D1" presStyleIdx="6" presStyleCnt="9"/>
      <dgm:spPr/>
    </dgm:pt>
    <dgm:pt modelId="{82B9AEF2-7358-4ACD-B5D1-32CFCBB75FA8}" type="pres">
      <dgm:prSet presAssocID="{CB2DAD1D-8172-415E-B516-6F72DF2C87ED}" presName="node" presStyleLbl="node1" presStyleIdx="7" presStyleCnt="9" custScaleX="132582" custScaleY="203221" custRadScaleRad="99668" custRadScaleInc="-18782">
        <dgm:presLayoutVars>
          <dgm:bulletEnabled val="1"/>
        </dgm:presLayoutVars>
      </dgm:prSet>
      <dgm:spPr/>
    </dgm:pt>
    <dgm:pt modelId="{54C2FF6B-FAAC-4F5C-A4CA-B470EF3C66FC}" type="pres">
      <dgm:prSet presAssocID="{CB2DAD1D-8172-415E-B516-6F72DF2C87ED}" presName="spNode" presStyleCnt="0"/>
      <dgm:spPr/>
    </dgm:pt>
    <dgm:pt modelId="{2409D813-50DC-430D-9DC4-D4F889473FBF}" type="pres">
      <dgm:prSet presAssocID="{F0EC7CBB-5484-4BD6-A634-1E2C9CA1721C}" presName="sibTrans" presStyleLbl="sibTrans1D1" presStyleIdx="7" presStyleCnt="9"/>
      <dgm:spPr/>
    </dgm:pt>
    <dgm:pt modelId="{9E632469-FD25-49F8-A3BA-3185905D2710}" type="pres">
      <dgm:prSet presAssocID="{CD2B1CED-857B-4605-BB9A-FF6630D0A73A}" presName="node" presStyleLbl="node1" presStyleIdx="8" presStyleCnt="9" custScaleX="131916" custScaleY="202948" custRadScaleRad="97871" custRadScaleInc="-13804">
        <dgm:presLayoutVars>
          <dgm:bulletEnabled val="1"/>
        </dgm:presLayoutVars>
      </dgm:prSet>
      <dgm:spPr/>
    </dgm:pt>
    <dgm:pt modelId="{8FEB6B7F-1726-4EE0-BBCF-EC54C40EE5A0}" type="pres">
      <dgm:prSet presAssocID="{CD2B1CED-857B-4605-BB9A-FF6630D0A73A}" presName="spNode" presStyleCnt="0"/>
      <dgm:spPr/>
    </dgm:pt>
    <dgm:pt modelId="{E93F9C88-6935-4B51-BEC8-146655D1ACB5}" type="pres">
      <dgm:prSet presAssocID="{9FCD6D6B-256A-42C0-827A-5A1755FC9CD4}" presName="sibTrans" presStyleLbl="sibTrans1D1" presStyleIdx="8" presStyleCnt="9"/>
      <dgm:spPr/>
    </dgm:pt>
  </dgm:ptLst>
  <dgm:cxnLst>
    <dgm:cxn modelId="{19D95308-0553-4600-8CCD-6936C10B4B14}" type="presOf" srcId="{9FCD6D6B-256A-42C0-827A-5A1755FC9CD4}" destId="{E93F9C88-6935-4B51-BEC8-146655D1ACB5}" srcOrd="0" destOrd="0" presId="urn:microsoft.com/office/officeart/2005/8/layout/cycle6"/>
    <dgm:cxn modelId="{9892B912-B6A4-4A97-BBF4-556EB7C4185C}" type="presOf" srcId="{79141A15-B5C5-43BE-A996-25475570F7D8}" destId="{3D6F80AD-6340-4645-9BCC-9CC839122757}" srcOrd="0" destOrd="0" presId="urn:microsoft.com/office/officeart/2005/8/layout/cycle6"/>
    <dgm:cxn modelId="{1C8CA215-762A-4415-8E6D-D991EE0C98C2}" type="presOf" srcId="{CD2B1CED-857B-4605-BB9A-FF6630D0A73A}" destId="{9E632469-FD25-49F8-A3BA-3185905D2710}" srcOrd="0" destOrd="0" presId="urn:microsoft.com/office/officeart/2005/8/layout/cycle6"/>
    <dgm:cxn modelId="{4E61D12F-FD3A-410A-9DE4-CB514013C5E1}" srcId="{DB849CB9-26DB-493F-9BC1-7B3FFAF2D0B0}" destId="{45061020-A4FE-457E-B053-4BC20E225ADE}" srcOrd="5" destOrd="0" parTransId="{FB1F3FA9-3E85-4026-B041-C5FCFF660589}" sibTransId="{901714CC-5810-4859-B458-EA66EAEE3E1A}"/>
    <dgm:cxn modelId="{2C34A433-6607-45EE-B7C2-CB11C72D1220}" type="presOf" srcId="{79044CD3-DDAA-4003-9891-4C1966070FE0}" destId="{9A59F23A-A123-44F1-AA94-485DEFC35334}" srcOrd="0" destOrd="0" presId="urn:microsoft.com/office/officeart/2005/8/layout/cycle6"/>
    <dgm:cxn modelId="{373ACE34-BA8F-48EF-9D20-600D8F367550}" type="presOf" srcId="{0541C16E-1944-4558-8F91-1E2BFBF2C4D3}" destId="{4D19C0EA-C762-4CE8-913E-EABD0E5484DC}" srcOrd="0" destOrd="0" presId="urn:microsoft.com/office/officeart/2005/8/layout/cycle6"/>
    <dgm:cxn modelId="{E394623A-8816-44FD-B1F9-E62C259667D6}" srcId="{DB849CB9-26DB-493F-9BC1-7B3FFAF2D0B0}" destId="{CB2DAD1D-8172-415E-B516-6F72DF2C87ED}" srcOrd="7" destOrd="0" parTransId="{C8035952-8E3A-4BD6-A7F5-4E4E4BAC17BA}" sibTransId="{F0EC7CBB-5484-4BD6-A634-1E2C9CA1721C}"/>
    <dgm:cxn modelId="{DD77F83D-8C8D-4CAF-AADD-4CA7A26FB3C0}" type="presOf" srcId="{3A83D1AE-4CA3-49D1-BED5-DC1B16F79E9E}" destId="{5FED0FA7-BC7F-41E0-8CAF-C97921FF36FC}" srcOrd="0" destOrd="0" presId="urn:microsoft.com/office/officeart/2005/8/layout/cycle6"/>
    <dgm:cxn modelId="{B5837060-CD0D-454A-80FF-2FF57B65D03E}" srcId="{DB849CB9-26DB-493F-9BC1-7B3FFAF2D0B0}" destId="{FE25AE9C-AC8C-4D58-8F9A-F62CE0022D5B}" srcOrd="3" destOrd="0" parTransId="{3DF2A404-A472-48AE-B55E-A08A9DE95A8A}" sibTransId="{3A83D1AE-4CA3-49D1-BED5-DC1B16F79E9E}"/>
    <dgm:cxn modelId="{2566F96C-F373-4362-A34E-2367EABB4789}" type="presOf" srcId="{FE25AE9C-AC8C-4D58-8F9A-F62CE0022D5B}" destId="{7F0EF2DB-CA93-47D2-9888-0F64D5429897}" srcOrd="0" destOrd="0" presId="urn:microsoft.com/office/officeart/2005/8/layout/cycle6"/>
    <dgm:cxn modelId="{E6E9BB6E-B5CE-4603-BDA4-4AE1356356EF}" type="presOf" srcId="{8DA66DDC-1E5A-4299-8A0E-881D8E75A2CC}" destId="{1AF6340D-53D1-41C5-8C0B-08EA9545C9CA}" srcOrd="0" destOrd="0" presId="urn:microsoft.com/office/officeart/2005/8/layout/cycle6"/>
    <dgm:cxn modelId="{17A4B057-35C8-41F1-9648-864A5C9B578D}" type="presOf" srcId="{CB2DAD1D-8172-415E-B516-6F72DF2C87ED}" destId="{82B9AEF2-7358-4ACD-B5D1-32CFCBB75FA8}" srcOrd="0" destOrd="0" presId="urn:microsoft.com/office/officeart/2005/8/layout/cycle6"/>
    <dgm:cxn modelId="{378F9878-6035-4F48-89E1-BFD8A4F16BDB}" type="presOf" srcId="{61C3038A-F8DF-4E92-AD59-B100725A0594}" destId="{4892BA54-D813-4A68-B3E7-D96A4C75350B}" srcOrd="0" destOrd="0" presId="urn:microsoft.com/office/officeart/2005/8/layout/cycle6"/>
    <dgm:cxn modelId="{94F8827A-900A-4D58-A084-AE208E3CFEB5}" type="presOf" srcId="{1A1DE00F-F739-4D74-8165-4F41AA21E618}" destId="{8B833E3F-CBA5-496B-A09F-2E54FBEE637D}" srcOrd="0" destOrd="0" presId="urn:microsoft.com/office/officeart/2005/8/layout/cycle6"/>
    <dgm:cxn modelId="{AF8D667C-EA3E-4B0F-906D-CF8BB7814FCF}" srcId="{DB849CB9-26DB-493F-9BC1-7B3FFAF2D0B0}" destId="{4C74EAB3-BCAB-476B-BAA7-0ECD8C020F1D}" srcOrd="6" destOrd="0" parTransId="{770663B0-B946-4505-BC7D-A73C703B55D6}" sibTransId="{1A1DE00F-F739-4D74-8165-4F41AA21E618}"/>
    <dgm:cxn modelId="{4CE94693-C180-4EC4-9FCF-513C240B9E67}" type="presOf" srcId="{98560292-C631-40A2-A164-33B1AF7A4306}" destId="{E9DE802E-AA1C-47D2-B31C-D706D532217F}" srcOrd="0" destOrd="0" presId="urn:microsoft.com/office/officeart/2005/8/layout/cycle6"/>
    <dgm:cxn modelId="{C3F4569C-0137-47FF-9FCA-D223C87684A5}" type="presOf" srcId="{45061020-A4FE-457E-B053-4BC20E225ADE}" destId="{528AFA7E-4BAB-480B-A44C-BB6650F77F5D}" srcOrd="0" destOrd="0" presId="urn:microsoft.com/office/officeart/2005/8/layout/cycle6"/>
    <dgm:cxn modelId="{B9952EB2-29F7-4765-B9B8-7D6F2CDFB527}" type="presOf" srcId="{F0EC7CBB-5484-4BD6-A634-1E2C9CA1721C}" destId="{2409D813-50DC-430D-9DC4-D4F889473FBF}" srcOrd="0" destOrd="0" presId="urn:microsoft.com/office/officeart/2005/8/layout/cycle6"/>
    <dgm:cxn modelId="{1CBE8DB5-E03A-4256-B4B1-9F28955979DC}" srcId="{DB849CB9-26DB-493F-9BC1-7B3FFAF2D0B0}" destId="{335946D3-CE81-4097-9C35-1E1F6569FA42}" srcOrd="1" destOrd="0" parTransId="{BC15C49E-B66A-4EA0-9A6A-9B01BB034923}" sibTransId="{AE500029-4FDD-4F4B-9D2E-CC29E5BC7027}"/>
    <dgm:cxn modelId="{4E85D2B8-6129-4AA8-8720-C90C2083490A}" srcId="{DB849CB9-26DB-493F-9BC1-7B3FFAF2D0B0}" destId="{0541C16E-1944-4558-8F91-1E2BFBF2C4D3}" srcOrd="4" destOrd="0" parTransId="{74B3290C-9CED-4B3B-8D13-53F98AC72B52}" sibTransId="{79141A15-B5C5-43BE-A996-25475570F7D8}"/>
    <dgm:cxn modelId="{DABF91B9-8897-4255-84DD-793AC22AF8DB}" type="presOf" srcId="{4C74EAB3-BCAB-476B-BAA7-0ECD8C020F1D}" destId="{8A8AB859-16A8-4B90-86A5-A979887A79EE}" srcOrd="0" destOrd="0" presId="urn:microsoft.com/office/officeart/2005/8/layout/cycle6"/>
    <dgm:cxn modelId="{34D9E2BA-6362-4232-A9F8-921720D860C4}" type="presOf" srcId="{335946D3-CE81-4097-9C35-1E1F6569FA42}" destId="{60C3DCEE-F136-4943-9423-34ABC7ECBA28}" srcOrd="0" destOrd="0" presId="urn:microsoft.com/office/officeart/2005/8/layout/cycle6"/>
    <dgm:cxn modelId="{0455ABBC-94C4-469B-966A-38C9C019DBBE}" type="presOf" srcId="{901714CC-5810-4859-B458-EA66EAEE3E1A}" destId="{1343E8DF-26C2-49CF-9606-81DA3D5CDE84}" srcOrd="0" destOrd="0" presId="urn:microsoft.com/office/officeart/2005/8/layout/cycle6"/>
    <dgm:cxn modelId="{8ABC4EC6-D375-4671-A3A1-D96EFFAC3947}" srcId="{DB849CB9-26DB-493F-9BC1-7B3FFAF2D0B0}" destId="{8DA66DDC-1E5A-4299-8A0E-881D8E75A2CC}" srcOrd="0" destOrd="0" parTransId="{45B4CB81-8882-4D22-8D28-F64A5089339A}" sibTransId="{98560292-C631-40A2-A164-33B1AF7A4306}"/>
    <dgm:cxn modelId="{17CB0FD6-A918-4B4A-BEB5-50F70517E213}" srcId="{DB849CB9-26DB-493F-9BC1-7B3FFAF2D0B0}" destId="{CD2B1CED-857B-4605-BB9A-FF6630D0A73A}" srcOrd="8" destOrd="0" parTransId="{80441468-4CC4-4758-BD74-5DCBE6E35490}" sibTransId="{9FCD6D6B-256A-42C0-827A-5A1755FC9CD4}"/>
    <dgm:cxn modelId="{6E0BA1F7-E2CE-4609-B6EB-F3BF636379F8}" srcId="{DB849CB9-26DB-493F-9BC1-7B3FFAF2D0B0}" destId="{61C3038A-F8DF-4E92-AD59-B100725A0594}" srcOrd="2" destOrd="0" parTransId="{EA7257B8-591F-426F-A471-E340593C1FB1}" sibTransId="{79044CD3-DDAA-4003-9891-4C1966070FE0}"/>
    <dgm:cxn modelId="{F48028FA-CB7B-43CB-B087-075AC66BF1ED}" type="presOf" srcId="{AE500029-4FDD-4F4B-9D2E-CC29E5BC7027}" destId="{9CAB07AB-CE92-410C-B67B-5C4D8E902D2A}" srcOrd="0" destOrd="0" presId="urn:microsoft.com/office/officeart/2005/8/layout/cycle6"/>
    <dgm:cxn modelId="{A92EA1FF-8CCE-4E66-8BD5-56439B95DEF7}" type="presOf" srcId="{DB849CB9-26DB-493F-9BC1-7B3FFAF2D0B0}" destId="{F48110C4-7D65-489B-A701-83D0DC5AE8EC}" srcOrd="0" destOrd="0" presId="urn:microsoft.com/office/officeart/2005/8/layout/cycle6"/>
    <dgm:cxn modelId="{6F69C911-369B-44F7-9C97-F7F96E2FA293}" type="presParOf" srcId="{F48110C4-7D65-489B-A701-83D0DC5AE8EC}" destId="{1AF6340D-53D1-41C5-8C0B-08EA9545C9CA}" srcOrd="0" destOrd="0" presId="urn:microsoft.com/office/officeart/2005/8/layout/cycle6"/>
    <dgm:cxn modelId="{FF3FE373-4B26-4B59-9FD0-3D77BE766A15}" type="presParOf" srcId="{F48110C4-7D65-489B-A701-83D0DC5AE8EC}" destId="{DA17744F-7756-497E-9D79-4C7A05934046}" srcOrd="1" destOrd="0" presId="urn:microsoft.com/office/officeart/2005/8/layout/cycle6"/>
    <dgm:cxn modelId="{2C38A5EC-FF65-48A7-B427-8CBB4B1BC020}" type="presParOf" srcId="{F48110C4-7D65-489B-A701-83D0DC5AE8EC}" destId="{E9DE802E-AA1C-47D2-B31C-D706D532217F}" srcOrd="2" destOrd="0" presId="urn:microsoft.com/office/officeart/2005/8/layout/cycle6"/>
    <dgm:cxn modelId="{1D0BAE15-8F1F-40DD-B9D0-5A09FBE8146E}" type="presParOf" srcId="{F48110C4-7D65-489B-A701-83D0DC5AE8EC}" destId="{60C3DCEE-F136-4943-9423-34ABC7ECBA28}" srcOrd="3" destOrd="0" presId="urn:microsoft.com/office/officeart/2005/8/layout/cycle6"/>
    <dgm:cxn modelId="{2D9FB7EC-788F-4DCA-BA96-45271BD1C68E}" type="presParOf" srcId="{F48110C4-7D65-489B-A701-83D0DC5AE8EC}" destId="{B9476E57-7CE0-47CE-B6E4-5CAE7027C874}" srcOrd="4" destOrd="0" presId="urn:microsoft.com/office/officeart/2005/8/layout/cycle6"/>
    <dgm:cxn modelId="{4E62C4DF-0E30-4715-A0EF-D03E8C33B00E}" type="presParOf" srcId="{F48110C4-7D65-489B-A701-83D0DC5AE8EC}" destId="{9CAB07AB-CE92-410C-B67B-5C4D8E902D2A}" srcOrd="5" destOrd="0" presId="urn:microsoft.com/office/officeart/2005/8/layout/cycle6"/>
    <dgm:cxn modelId="{F7247D54-048D-4324-8C84-61B8EFEEB6AB}" type="presParOf" srcId="{F48110C4-7D65-489B-A701-83D0DC5AE8EC}" destId="{4892BA54-D813-4A68-B3E7-D96A4C75350B}" srcOrd="6" destOrd="0" presId="urn:microsoft.com/office/officeart/2005/8/layout/cycle6"/>
    <dgm:cxn modelId="{ED5D1DC8-1B6D-4A34-9E7D-33811ED85649}" type="presParOf" srcId="{F48110C4-7D65-489B-A701-83D0DC5AE8EC}" destId="{E5E16593-B9D1-4553-AFA1-64DE3FE97FB1}" srcOrd="7" destOrd="0" presId="urn:microsoft.com/office/officeart/2005/8/layout/cycle6"/>
    <dgm:cxn modelId="{075ED98B-21A7-47D6-9095-04237B95C8EC}" type="presParOf" srcId="{F48110C4-7D65-489B-A701-83D0DC5AE8EC}" destId="{9A59F23A-A123-44F1-AA94-485DEFC35334}" srcOrd="8" destOrd="0" presId="urn:microsoft.com/office/officeart/2005/8/layout/cycle6"/>
    <dgm:cxn modelId="{4ECD8D6A-5EDE-42AA-924B-A68B7C1D51C7}" type="presParOf" srcId="{F48110C4-7D65-489B-A701-83D0DC5AE8EC}" destId="{7F0EF2DB-CA93-47D2-9888-0F64D5429897}" srcOrd="9" destOrd="0" presId="urn:microsoft.com/office/officeart/2005/8/layout/cycle6"/>
    <dgm:cxn modelId="{86FE4081-6567-4167-9855-402ECA65C4AC}" type="presParOf" srcId="{F48110C4-7D65-489B-A701-83D0DC5AE8EC}" destId="{0FF3A428-76C3-4980-A906-0D3407BA83D6}" srcOrd="10" destOrd="0" presId="urn:microsoft.com/office/officeart/2005/8/layout/cycle6"/>
    <dgm:cxn modelId="{4AC041CF-C7BF-49D7-AE79-B0C535073F35}" type="presParOf" srcId="{F48110C4-7D65-489B-A701-83D0DC5AE8EC}" destId="{5FED0FA7-BC7F-41E0-8CAF-C97921FF36FC}" srcOrd="11" destOrd="0" presId="urn:microsoft.com/office/officeart/2005/8/layout/cycle6"/>
    <dgm:cxn modelId="{86ABD50E-8C44-461B-87D1-1AED602DE47E}" type="presParOf" srcId="{F48110C4-7D65-489B-A701-83D0DC5AE8EC}" destId="{4D19C0EA-C762-4CE8-913E-EABD0E5484DC}" srcOrd="12" destOrd="0" presId="urn:microsoft.com/office/officeart/2005/8/layout/cycle6"/>
    <dgm:cxn modelId="{A785583F-D040-4DB0-93B3-C34FBABCDE40}" type="presParOf" srcId="{F48110C4-7D65-489B-A701-83D0DC5AE8EC}" destId="{33BAD236-73A4-4723-A81B-B9F75E7D7030}" srcOrd="13" destOrd="0" presId="urn:microsoft.com/office/officeart/2005/8/layout/cycle6"/>
    <dgm:cxn modelId="{FF371412-DFB4-473F-AD52-EA26610A5BA1}" type="presParOf" srcId="{F48110C4-7D65-489B-A701-83D0DC5AE8EC}" destId="{3D6F80AD-6340-4645-9BCC-9CC839122757}" srcOrd="14" destOrd="0" presId="urn:microsoft.com/office/officeart/2005/8/layout/cycle6"/>
    <dgm:cxn modelId="{8B55A0B9-CE7B-4B21-93A8-006205FAB1C2}" type="presParOf" srcId="{F48110C4-7D65-489B-A701-83D0DC5AE8EC}" destId="{528AFA7E-4BAB-480B-A44C-BB6650F77F5D}" srcOrd="15" destOrd="0" presId="urn:microsoft.com/office/officeart/2005/8/layout/cycle6"/>
    <dgm:cxn modelId="{52347E4E-2D2A-458C-B241-355721D39386}" type="presParOf" srcId="{F48110C4-7D65-489B-A701-83D0DC5AE8EC}" destId="{B462E8CE-E696-4236-905E-97099BC38008}" srcOrd="16" destOrd="0" presId="urn:microsoft.com/office/officeart/2005/8/layout/cycle6"/>
    <dgm:cxn modelId="{111C3A2C-9D96-4C5D-9F94-6C75A666D432}" type="presParOf" srcId="{F48110C4-7D65-489B-A701-83D0DC5AE8EC}" destId="{1343E8DF-26C2-49CF-9606-81DA3D5CDE84}" srcOrd="17" destOrd="0" presId="urn:microsoft.com/office/officeart/2005/8/layout/cycle6"/>
    <dgm:cxn modelId="{74E6F29E-599F-4E84-8E06-89870DFE3330}" type="presParOf" srcId="{F48110C4-7D65-489B-A701-83D0DC5AE8EC}" destId="{8A8AB859-16A8-4B90-86A5-A979887A79EE}" srcOrd="18" destOrd="0" presId="urn:microsoft.com/office/officeart/2005/8/layout/cycle6"/>
    <dgm:cxn modelId="{8113408E-2983-4DF6-A3FD-D6432B49C07E}" type="presParOf" srcId="{F48110C4-7D65-489B-A701-83D0DC5AE8EC}" destId="{4317596B-D96B-4E75-AD8B-9CC507AEB411}" srcOrd="19" destOrd="0" presId="urn:microsoft.com/office/officeart/2005/8/layout/cycle6"/>
    <dgm:cxn modelId="{0B9B6AF8-B137-45C5-B53C-C5D6315E1F73}" type="presParOf" srcId="{F48110C4-7D65-489B-A701-83D0DC5AE8EC}" destId="{8B833E3F-CBA5-496B-A09F-2E54FBEE637D}" srcOrd="20" destOrd="0" presId="urn:microsoft.com/office/officeart/2005/8/layout/cycle6"/>
    <dgm:cxn modelId="{F7B135A9-DF18-425B-AFE9-0820BC4D0593}" type="presParOf" srcId="{F48110C4-7D65-489B-A701-83D0DC5AE8EC}" destId="{82B9AEF2-7358-4ACD-B5D1-32CFCBB75FA8}" srcOrd="21" destOrd="0" presId="urn:microsoft.com/office/officeart/2005/8/layout/cycle6"/>
    <dgm:cxn modelId="{A90536E3-CC11-4FB0-9102-234743CD9930}" type="presParOf" srcId="{F48110C4-7D65-489B-A701-83D0DC5AE8EC}" destId="{54C2FF6B-FAAC-4F5C-A4CA-B470EF3C66FC}" srcOrd="22" destOrd="0" presId="urn:microsoft.com/office/officeart/2005/8/layout/cycle6"/>
    <dgm:cxn modelId="{A5DFFA52-BA24-46C0-9890-53F516869EDF}" type="presParOf" srcId="{F48110C4-7D65-489B-A701-83D0DC5AE8EC}" destId="{2409D813-50DC-430D-9DC4-D4F889473FBF}" srcOrd="23" destOrd="0" presId="urn:microsoft.com/office/officeart/2005/8/layout/cycle6"/>
    <dgm:cxn modelId="{508CF65A-A4D7-41F1-9883-465C3B74EB04}" type="presParOf" srcId="{F48110C4-7D65-489B-A701-83D0DC5AE8EC}" destId="{9E632469-FD25-49F8-A3BA-3185905D2710}" srcOrd="24" destOrd="0" presId="urn:microsoft.com/office/officeart/2005/8/layout/cycle6"/>
    <dgm:cxn modelId="{AE5722DA-57CD-4A38-8F30-94DEDEA66C45}" type="presParOf" srcId="{F48110C4-7D65-489B-A701-83D0DC5AE8EC}" destId="{8FEB6B7F-1726-4EE0-BBCF-EC54C40EE5A0}" srcOrd="25" destOrd="0" presId="urn:microsoft.com/office/officeart/2005/8/layout/cycle6"/>
    <dgm:cxn modelId="{DAB34BD0-6F99-4A49-BE6B-D2A9CA1E8461}" type="presParOf" srcId="{F48110C4-7D65-489B-A701-83D0DC5AE8EC}" destId="{E93F9C88-6935-4B51-BEC8-146655D1ACB5}" srcOrd="26"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D71E41-FC3A-459B-92CF-0E1287A33338}"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cs-CZ"/>
        </a:p>
      </dgm:t>
    </dgm:pt>
    <dgm:pt modelId="{036C7A85-80EF-4FE4-BAC7-D9E531632E46}">
      <dgm:prSet phldrT="[Text]"/>
      <dgm:spPr/>
      <dgm:t>
        <a:bodyPr/>
        <a:lstStyle/>
        <a:p>
          <a:r>
            <a:rPr lang="cs-CZ"/>
            <a:t>ECF</a:t>
          </a:r>
        </a:p>
      </dgm:t>
    </dgm:pt>
    <dgm:pt modelId="{BAE96901-211F-477C-BF70-4360E90102C9}" type="parTrans" cxnId="{90292033-D881-4B51-843F-15E1D2B85C6B}">
      <dgm:prSet/>
      <dgm:spPr/>
      <dgm:t>
        <a:bodyPr/>
        <a:lstStyle/>
        <a:p>
          <a:endParaRPr lang="cs-CZ"/>
        </a:p>
      </dgm:t>
    </dgm:pt>
    <dgm:pt modelId="{464BA8D7-5017-4A13-AE3B-4492F7898753}" type="sibTrans" cxnId="{90292033-D881-4B51-843F-15E1D2B85C6B}">
      <dgm:prSet/>
      <dgm:spPr/>
      <dgm:t>
        <a:bodyPr/>
        <a:lstStyle/>
        <a:p>
          <a:endParaRPr lang="cs-CZ"/>
        </a:p>
      </dgm:t>
    </dgm:pt>
    <dgm:pt modelId="{B9FA2164-6EEB-464D-9C42-2B3644EC653C}">
      <dgm:prSet phldrT="[Text]"/>
      <dgm:spPr>
        <a:solidFill>
          <a:schemeClr val="bg2">
            <a:lumMod val="50000"/>
          </a:schemeClr>
        </a:solidFill>
      </dgm:spPr>
      <dgm:t>
        <a:bodyPr/>
        <a:lstStyle/>
        <a:p>
          <a:endParaRPr lang="cs-CZ"/>
        </a:p>
      </dgm:t>
    </dgm:pt>
    <dgm:pt modelId="{B263AF06-BB2B-486D-990B-004FF3F3E465}" type="parTrans" cxnId="{E60074CC-DC0E-4413-A491-C9971F71C3E0}">
      <dgm:prSet/>
      <dgm:spPr/>
      <dgm:t>
        <a:bodyPr/>
        <a:lstStyle/>
        <a:p>
          <a:endParaRPr lang="cs-CZ"/>
        </a:p>
      </dgm:t>
    </dgm:pt>
    <dgm:pt modelId="{6651B371-20F1-430D-9BE9-227E5CBC0640}" type="sibTrans" cxnId="{E60074CC-DC0E-4413-A491-C9971F71C3E0}">
      <dgm:prSet/>
      <dgm:spPr/>
      <dgm:t>
        <a:bodyPr/>
        <a:lstStyle/>
        <a:p>
          <a:endParaRPr lang="cs-CZ"/>
        </a:p>
      </dgm:t>
    </dgm:pt>
    <dgm:pt modelId="{DBC5B8AE-09D9-43A8-A5C9-84CF3D42E2A1}">
      <dgm:prSet phldrT="[Text]"/>
      <dgm:spPr/>
      <dgm:t>
        <a:bodyPr/>
        <a:lstStyle/>
        <a:p>
          <a:r>
            <a:rPr lang="cs-CZ"/>
            <a:t>Specifický program pro obranný výzkum a inovace</a:t>
          </a:r>
        </a:p>
      </dgm:t>
    </dgm:pt>
    <dgm:pt modelId="{CDA42664-0B29-42EF-ADC1-001BB65C5D3E}" type="parTrans" cxnId="{38C7F5A8-C615-4088-B866-9DB992399B51}">
      <dgm:prSet/>
      <dgm:spPr/>
      <dgm:t>
        <a:bodyPr/>
        <a:lstStyle/>
        <a:p>
          <a:endParaRPr lang="cs-CZ"/>
        </a:p>
      </dgm:t>
    </dgm:pt>
    <dgm:pt modelId="{162C4417-5B57-4E22-9422-666C3A1CCA41}" type="sibTrans" cxnId="{38C7F5A8-C615-4088-B866-9DB992399B51}">
      <dgm:prSet/>
      <dgm:spPr/>
      <dgm:t>
        <a:bodyPr/>
        <a:lstStyle/>
        <a:p>
          <a:endParaRPr lang="cs-CZ"/>
        </a:p>
      </dgm:t>
    </dgm:pt>
    <dgm:pt modelId="{45C27427-0A02-4C0F-8AF7-C4C725A95184}" type="pres">
      <dgm:prSet presAssocID="{F1D71E41-FC3A-459B-92CF-0E1287A33338}" presName="diagram" presStyleCnt="0">
        <dgm:presLayoutVars>
          <dgm:chPref val="1"/>
          <dgm:dir/>
          <dgm:animOne val="branch"/>
          <dgm:animLvl val="lvl"/>
          <dgm:resizeHandles val="exact"/>
        </dgm:presLayoutVars>
      </dgm:prSet>
      <dgm:spPr/>
    </dgm:pt>
    <dgm:pt modelId="{C02A1F61-63EA-46E2-82CE-F12C1169B9A3}" type="pres">
      <dgm:prSet presAssocID="{036C7A85-80EF-4FE4-BAC7-D9E531632E46}" presName="root1" presStyleCnt="0"/>
      <dgm:spPr/>
    </dgm:pt>
    <dgm:pt modelId="{F3551E4B-891E-476B-B9FD-2E524A2E8205}" type="pres">
      <dgm:prSet presAssocID="{036C7A85-80EF-4FE4-BAC7-D9E531632E46}" presName="LevelOneTextNode" presStyleLbl="node0" presStyleIdx="0" presStyleCnt="1" custLinFactNeighborX="-86221" custLinFactNeighborY="-6462">
        <dgm:presLayoutVars>
          <dgm:chPref val="3"/>
        </dgm:presLayoutVars>
      </dgm:prSet>
      <dgm:spPr/>
    </dgm:pt>
    <dgm:pt modelId="{657847B4-9374-45D5-AAD7-1359BF935553}" type="pres">
      <dgm:prSet presAssocID="{036C7A85-80EF-4FE4-BAC7-D9E531632E46}" presName="level2hierChild" presStyleCnt="0"/>
      <dgm:spPr/>
    </dgm:pt>
    <dgm:pt modelId="{D009C874-46C7-4197-9DED-31EBAB8ECCFC}" type="pres">
      <dgm:prSet presAssocID="{B263AF06-BB2B-486D-990B-004FF3F3E465}" presName="conn2-1" presStyleLbl="parChTrans1D2" presStyleIdx="0" presStyleCnt="2"/>
      <dgm:spPr/>
    </dgm:pt>
    <dgm:pt modelId="{D32A619F-72A0-495D-8A01-20D766940F0D}" type="pres">
      <dgm:prSet presAssocID="{B263AF06-BB2B-486D-990B-004FF3F3E465}" presName="connTx" presStyleLbl="parChTrans1D2" presStyleIdx="0" presStyleCnt="2"/>
      <dgm:spPr/>
    </dgm:pt>
    <dgm:pt modelId="{9E9737A8-A7FF-4D62-A4C1-2AA2BCD8894E}" type="pres">
      <dgm:prSet presAssocID="{B9FA2164-6EEB-464D-9C42-2B3644EC653C}" presName="root2" presStyleCnt="0"/>
      <dgm:spPr/>
    </dgm:pt>
    <dgm:pt modelId="{C4D39FC6-1033-40E2-8247-0E87D5B18F50}" type="pres">
      <dgm:prSet presAssocID="{B9FA2164-6EEB-464D-9C42-2B3644EC653C}" presName="LevelTwoTextNode" presStyleLbl="node2" presStyleIdx="0" presStyleCnt="2" custScaleX="256955" custLinFactNeighborX="-11665" custLinFactNeighborY="8536">
        <dgm:presLayoutVars>
          <dgm:chPref val="3"/>
        </dgm:presLayoutVars>
      </dgm:prSet>
      <dgm:spPr/>
    </dgm:pt>
    <dgm:pt modelId="{1020632F-8A01-4624-AF36-87F4EC7ECFF6}" type="pres">
      <dgm:prSet presAssocID="{B9FA2164-6EEB-464D-9C42-2B3644EC653C}" presName="level3hierChild" presStyleCnt="0"/>
      <dgm:spPr/>
    </dgm:pt>
    <dgm:pt modelId="{C803F903-9371-4297-B7C0-947B0C8902F8}" type="pres">
      <dgm:prSet presAssocID="{CDA42664-0B29-42EF-ADC1-001BB65C5D3E}" presName="conn2-1" presStyleLbl="parChTrans1D2" presStyleIdx="1" presStyleCnt="2"/>
      <dgm:spPr/>
    </dgm:pt>
    <dgm:pt modelId="{F08B78D4-7F06-4EAE-8B65-4DDFCC554B90}" type="pres">
      <dgm:prSet presAssocID="{CDA42664-0B29-42EF-ADC1-001BB65C5D3E}" presName="connTx" presStyleLbl="parChTrans1D2" presStyleIdx="1" presStyleCnt="2"/>
      <dgm:spPr/>
    </dgm:pt>
    <dgm:pt modelId="{FA79BD67-1AA9-4FEA-92D4-376799AC83C2}" type="pres">
      <dgm:prSet presAssocID="{DBC5B8AE-09D9-43A8-A5C9-84CF3D42E2A1}" presName="root2" presStyleCnt="0"/>
      <dgm:spPr/>
    </dgm:pt>
    <dgm:pt modelId="{A2842D82-B252-472A-83C9-A404F17619AB}" type="pres">
      <dgm:prSet presAssocID="{DBC5B8AE-09D9-43A8-A5C9-84CF3D42E2A1}" presName="LevelTwoTextNode" presStyleLbl="node2" presStyleIdx="1" presStyleCnt="2" custScaleX="256955" custLinFactNeighborX="-11665" custLinFactNeighborY="63">
        <dgm:presLayoutVars>
          <dgm:chPref val="3"/>
        </dgm:presLayoutVars>
      </dgm:prSet>
      <dgm:spPr/>
    </dgm:pt>
    <dgm:pt modelId="{451E390F-EED9-49B0-9577-C42D6A2027AD}" type="pres">
      <dgm:prSet presAssocID="{DBC5B8AE-09D9-43A8-A5C9-84CF3D42E2A1}" presName="level3hierChild" presStyleCnt="0"/>
      <dgm:spPr/>
    </dgm:pt>
  </dgm:ptLst>
  <dgm:cxnLst>
    <dgm:cxn modelId="{58EFD517-0E67-4699-B196-8BA661BF626D}" type="presOf" srcId="{B9FA2164-6EEB-464D-9C42-2B3644EC653C}" destId="{C4D39FC6-1033-40E2-8247-0E87D5B18F50}" srcOrd="0" destOrd="0" presId="urn:microsoft.com/office/officeart/2005/8/layout/hierarchy2"/>
    <dgm:cxn modelId="{735CCB24-EC13-4B33-ABCC-C13B1960DB87}" type="presOf" srcId="{DBC5B8AE-09D9-43A8-A5C9-84CF3D42E2A1}" destId="{A2842D82-B252-472A-83C9-A404F17619AB}" srcOrd="0" destOrd="0" presId="urn:microsoft.com/office/officeart/2005/8/layout/hierarchy2"/>
    <dgm:cxn modelId="{DAE01C2D-159C-41FE-B336-F54D84CA6182}" type="presOf" srcId="{B263AF06-BB2B-486D-990B-004FF3F3E465}" destId="{D32A619F-72A0-495D-8A01-20D766940F0D}" srcOrd="1" destOrd="0" presId="urn:microsoft.com/office/officeart/2005/8/layout/hierarchy2"/>
    <dgm:cxn modelId="{90292033-D881-4B51-843F-15E1D2B85C6B}" srcId="{F1D71E41-FC3A-459B-92CF-0E1287A33338}" destId="{036C7A85-80EF-4FE4-BAC7-D9E531632E46}" srcOrd="0" destOrd="0" parTransId="{BAE96901-211F-477C-BF70-4360E90102C9}" sibTransId="{464BA8D7-5017-4A13-AE3B-4492F7898753}"/>
    <dgm:cxn modelId="{57DFC162-2F89-4572-9A6F-580B4B08EC6C}" type="presOf" srcId="{CDA42664-0B29-42EF-ADC1-001BB65C5D3E}" destId="{F08B78D4-7F06-4EAE-8B65-4DDFCC554B90}" srcOrd="1" destOrd="0" presId="urn:microsoft.com/office/officeart/2005/8/layout/hierarchy2"/>
    <dgm:cxn modelId="{05463064-4736-466A-8B19-A2B9CBCCB35E}" type="presOf" srcId="{CDA42664-0B29-42EF-ADC1-001BB65C5D3E}" destId="{C803F903-9371-4297-B7C0-947B0C8902F8}" srcOrd="0" destOrd="0" presId="urn:microsoft.com/office/officeart/2005/8/layout/hierarchy2"/>
    <dgm:cxn modelId="{F98A5DA4-F105-4C83-8315-2E5428D892EA}" type="presOf" srcId="{B263AF06-BB2B-486D-990B-004FF3F3E465}" destId="{D009C874-46C7-4197-9DED-31EBAB8ECCFC}" srcOrd="0" destOrd="0" presId="urn:microsoft.com/office/officeart/2005/8/layout/hierarchy2"/>
    <dgm:cxn modelId="{38C7F5A8-C615-4088-B866-9DB992399B51}" srcId="{036C7A85-80EF-4FE4-BAC7-D9E531632E46}" destId="{DBC5B8AE-09D9-43A8-A5C9-84CF3D42E2A1}" srcOrd="1" destOrd="0" parTransId="{CDA42664-0B29-42EF-ADC1-001BB65C5D3E}" sibTransId="{162C4417-5B57-4E22-9422-666C3A1CCA41}"/>
    <dgm:cxn modelId="{CC777CC5-783D-4CF1-BEE2-45B3E9543BD8}" type="presOf" srcId="{F1D71E41-FC3A-459B-92CF-0E1287A33338}" destId="{45C27427-0A02-4C0F-8AF7-C4C725A95184}" srcOrd="0" destOrd="0" presId="urn:microsoft.com/office/officeart/2005/8/layout/hierarchy2"/>
    <dgm:cxn modelId="{E60074CC-DC0E-4413-A491-C9971F71C3E0}" srcId="{036C7A85-80EF-4FE4-BAC7-D9E531632E46}" destId="{B9FA2164-6EEB-464D-9C42-2B3644EC653C}" srcOrd="0" destOrd="0" parTransId="{B263AF06-BB2B-486D-990B-004FF3F3E465}" sibTransId="{6651B371-20F1-430D-9BE9-227E5CBC0640}"/>
    <dgm:cxn modelId="{41384AFE-0C57-4090-933D-BF125EAC1768}" type="presOf" srcId="{036C7A85-80EF-4FE4-BAC7-D9E531632E46}" destId="{F3551E4B-891E-476B-B9FD-2E524A2E8205}" srcOrd="0" destOrd="0" presId="urn:microsoft.com/office/officeart/2005/8/layout/hierarchy2"/>
    <dgm:cxn modelId="{702D43BE-9B76-4CB5-865A-716BD323E667}" type="presParOf" srcId="{45C27427-0A02-4C0F-8AF7-C4C725A95184}" destId="{C02A1F61-63EA-46E2-82CE-F12C1169B9A3}" srcOrd="0" destOrd="0" presId="urn:microsoft.com/office/officeart/2005/8/layout/hierarchy2"/>
    <dgm:cxn modelId="{44C4487C-E20E-42E2-BACA-C90A5AF3A2B7}" type="presParOf" srcId="{C02A1F61-63EA-46E2-82CE-F12C1169B9A3}" destId="{F3551E4B-891E-476B-B9FD-2E524A2E8205}" srcOrd="0" destOrd="0" presId="urn:microsoft.com/office/officeart/2005/8/layout/hierarchy2"/>
    <dgm:cxn modelId="{B62C9D2A-9170-45EA-8448-8CADD6C347C3}" type="presParOf" srcId="{C02A1F61-63EA-46E2-82CE-F12C1169B9A3}" destId="{657847B4-9374-45D5-AAD7-1359BF935553}" srcOrd="1" destOrd="0" presId="urn:microsoft.com/office/officeart/2005/8/layout/hierarchy2"/>
    <dgm:cxn modelId="{EB2CA849-82EE-430B-B9A8-B4B070F0FBFB}" type="presParOf" srcId="{657847B4-9374-45D5-AAD7-1359BF935553}" destId="{D009C874-46C7-4197-9DED-31EBAB8ECCFC}" srcOrd="0" destOrd="0" presId="urn:microsoft.com/office/officeart/2005/8/layout/hierarchy2"/>
    <dgm:cxn modelId="{069C937A-ADED-41EB-8884-057CCC1C6E47}" type="presParOf" srcId="{D009C874-46C7-4197-9DED-31EBAB8ECCFC}" destId="{D32A619F-72A0-495D-8A01-20D766940F0D}" srcOrd="0" destOrd="0" presId="urn:microsoft.com/office/officeart/2005/8/layout/hierarchy2"/>
    <dgm:cxn modelId="{C87093A0-D636-4302-8703-F4050F029404}" type="presParOf" srcId="{657847B4-9374-45D5-AAD7-1359BF935553}" destId="{9E9737A8-A7FF-4D62-A4C1-2AA2BCD8894E}" srcOrd="1" destOrd="0" presId="urn:microsoft.com/office/officeart/2005/8/layout/hierarchy2"/>
    <dgm:cxn modelId="{402EED8F-941C-43F5-A289-9F562834C6C6}" type="presParOf" srcId="{9E9737A8-A7FF-4D62-A4C1-2AA2BCD8894E}" destId="{C4D39FC6-1033-40E2-8247-0E87D5B18F50}" srcOrd="0" destOrd="0" presId="urn:microsoft.com/office/officeart/2005/8/layout/hierarchy2"/>
    <dgm:cxn modelId="{06853604-EE7F-4DED-872E-AF4AFB4B07FD}" type="presParOf" srcId="{9E9737A8-A7FF-4D62-A4C1-2AA2BCD8894E}" destId="{1020632F-8A01-4624-AF36-87F4EC7ECFF6}" srcOrd="1" destOrd="0" presId="urn:microsoft.com/office/officeart/2005/8/layout/hierarchy2"/>
    <dgm:cxn modelId="{78238C9A-2A45-4082-A520-1DE45697500D}" type="presParOf" srcId="{657847B4-9374-45D5-AAD7-1359BF935553}" destId="{C803F903-9371-4297-B7C0-947B0C8902F8}" srcOrd="2" destOrd="0" presId="urn:microsoft.com/office/officeart/2005/8/layout/hierarchy2"/>
    <dgm:cxn modelId="{3F18D0E3-A990-48BC-82FD-C2DBE7B99E65}" type="presParOf" srcId="{C803F903-9371-4297-B7C0-947B0C8902F8}" destId="{F08B78D4-7F06-4EAE-8B65-4DDFCC554B90}" srcOrd="0" destOrd="0" presId="urn:microsoft.com/office/officeart/2005/8/layout/hierarchy2"/>
    <dgm:cxn modelId="{6C00418C-2B60-4521-957A-FFA5177B9859}" type="presParOf" srcId="{657847B4-9374-45D5-AAD7-1359BF935553}" destId="{FA79BD67-1AA9-4FEA-92D4-376799AC83C2}" srcOrd="3" destOrd="0" presId="urn:microsoft.com/office/officeart/2005/8/layout/hierarchy2"/>
    <dgm:cxn modelId="{E3667131-BE1F-42B1-97F5-54901A2033AF}" type="presParOf" srcId="{FA79BD67-1AA9-4FEA-92D4-376799AC83C2}" destId="{A2842D82-B252-472A-83C9-A404F17619AB}" srcOrd="0" destOrd="0" presId="urn:microsoft.com/office/officeart/2005/8/layout/hierarchy2"/>
    <dgm:cxn modelId="{BFFAB79C-25EB-4D34-AE99-19258B8878C5}" type="presParOf" srcId="{FA79BD67-1AA9-4FEA-92D4-376799AC83C2}" destId="{451E390F-EED9-49B0-9577-C42D6A2027AD}" srcOrd="1" destOrd="0" presId="urn:microsoft.com/office/officeart/2005/8/layout/hierarchy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849CB9-26DB-493F-9BC1-7B3FFAF2D0B0}" type="doc">
      <dgm:prSet loTypeId="urn:microsoft.com/office/officeart/2005/8/layout/cycle6" loCatId="cycle" qsTypeId="urn:microsoft.com/office/officeart/2005/8/quickstyle/simple1" qsCatId="simple" csTypeId="urn:microsoft.com/office/officeart/2005/8/colors/accent0_2" csCatId="mainScheme" phldr="1"/>
      <dgm:spPr/>
      <dgm:t>
        <a:bodyPr/>
        <a:lstStyle/>
        <a:p>
          <a:endParaRPr lang="cs-CZ"/>
        </a:p>
      </dgm:t>
    </dgm:pt>
    <dgm:pt modelId="{8DA66DDC-1E5A-4299-8A0E-881D8E75A2CC}">
      <dgm:prSet phldrT="[Text]" custT="1"/>
      <dgm:spPr>
        <a:solidFill>
          <a:srgbClr val="64BCA9"/>
        </a:solidFill>
        <a:ln>
          <a:noFill/>
        </a:ln>
      </dgm:spPr>
      <dgm:t>
        <a:bodyPr/>
        <a:lstStyle/>
        <a:p>
          <a:r>
            <a:rPr lang="cs-CZ" sz="1000" b="1">
              <a:solidFill>
                <a:schemeClr val="bg1">
                  <a:lumMod val="10000"/>
                </a:schemeClr>
              </a:solidFill>
              <a:latin typeface="Fira Sans" panose="020B0503050000020004" pitchFamily="34" charset="0"/>
            </a:rPr>
            <a:t>Koncentrace EU dotací</a:t>
          </a:r>
        </a:p>
      </dgm:t>
    </dgm:pt>
    <dgm:pt modelId="{45B4CB81-8882-4D22-8D28-F64A5089339A}" type="parTrans" cxnId="{8ABC4EC6-D375-4671-A3A1-D96EFFAC3947}">
      <dgm:prSet/>
      <dgm:spPr/>
      <dgm:t>
        <a:bodyPr/>
        <a:lstStyle/>
        <a:p>
          <a:endParaRPr lang="cs-CZ" sz="1000">
            <a:solidFill>
              <a:schemeClr val="bg1">
                <a:lumMod val="10000"/>
              </a:schemeClr>
            </a:solidFill>
            <a:latin typeface="Fira Sans" panose="020B0503050000020004" pitchFamily="34" charset="0"/>
          </a:endParaRPr>
        </a:p>
      </dgm:t>
    </dgm:pt>
    <dgm:pt modelId="{98560292-C631-40A2-A164-33B1AF7A4306}" type="sibTrans" cxnId="{8ABC4EC6-D375-4671-A3A1-D96EFFAC3947}">
      <dgm:prSet/>
      <dgm:spPr>
        <a:solidFill>
          <a:srgbClr val="64BCA9"/>
        </a:solidFill>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335946D3-CE81-4097-9C35-1E1F6569FA42}">
      <dgm:prSet phldrT="[Text]" custT="1">
        <dgm:style>
          <a:lnRef idx="2">
            <a:schemeClr val="accent5"/>
          </a:lnRef>
          <a:fillRef idx="1">
            <a:schemeClr val="lt1"/>
          </a:fillRef>
          <a:effectRef idx="0">
            <a:schemeClr val="accent5"/>
          </a:effectRef>
          <a:fontRef idx="minor">
            <a:schemeClr val="dk1"/>
          </a:fontRef>
        </dgm:style>
      </dgm:prSet>
      <dgm:spPr>
        <a:solidFill>
          <a:schemeClr val="tx1">
            <a:lumMod val="10000"/>
            <a:lumOff val="90000"/>
          </a:schemeClr>
        </a:solidFill>
        <a:ln w="25400" cap="flat" cmpd="sng" algn="ctr">
          <a:no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cs-CZ" sz="1000" kern="1200">
              <a:solidFill>
                <a:srgbClr val="F59AFF">
                  <a:lumMod val="10000"/>
                </a:srgbClr>
              </a:solidFill>
              <a:latin typeface="Fira Sans" panose="020B0503050000020004" pitchFamily="34" charset="0"/>
              <a:ea typeface="+mn-ea"/>
              <a:cs typeface="+mn-cs"/>
            </a:rPr>
            <a:t>Reforma RUD</a:t>
          </a:r>
        </a:p>
      </dgm:t>
    </dgm:pt>
    <dgm:pt modelId="{BC15C49E-B66A-4EA0-9A6A-9B01BB034923}" type="parTrans" cxnId="{1CBE8DB5-E03A-4256-B4B1-9F28955979DC}">
      <dgm:prSet/>
      <dgm:spPr/>
      <dgm:t>
        <a:bodyPr/>
        <a:lstStyle/>
        <a:p>
          <a:endParaRPr lang="cs-CZ" sz="1000">
            <a:solidFill>
              <a:schemeClr val="bg1">
                <a:lumMod val="10000"/>
              </a:schemeClr>
            </a:solidFill>
            <a:latin typeface="Fira Sans" panose="020B0503050000020004" pitchFamily="34" charset="0"/>
          </a:endParaRPr>
        </a:p>
      </dgm:t>
    </dgm:pt>
    <dgm:pt modelId="{AE500029-4FDD-4F4B-9D2E-CC29E5BC7027}" type="sibTrans" cxnId="{1CBE8DB5-E03A-4256-B4B1-9F28955979DC}">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61C3038A-F8DF-4E92-AD59-B100725A0594}">
      <dgm:prSet phldrT="[Tex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Řízení samospráv</a:t>
          </a:r>
        </a:p>
      </dgm:t>
    </dgm:pt>
    <dgm:pt modelId="{EA7257B8-591F-426F-A471-E340593C1FB1}" type="parTrans" cxnId="{6E0BA1F7-E2CE-4609-B6EB-F3BF636379F8}">
      <dgm:prSet/>
      <dgm:spPr/>
      <dgm:t>
        <a:bodyPr/>
        <a:lstStyle/>
        <a:p>
          <a:endParaRPr lang="cs-CZ" sz="1000">
            <a:solidFill>
              <a:schemeClr val="bg1">
                <a:lumMod val="10000"/>
              </a:schemeClr>
            </a:solidFill>
            <a:latin typeface="Fira Sans" panose="020B0503050000020004" pitchFamily="34" charset="0"/>
          </a:endParaRPr>
        </a:p>
      </dgm:t>
    </dgm:pt>
    <dgm:pt modelId="{79044CD3-DDAA-4003-9891-4C1966070FE0}" type="sibTrans" cxnId="{6E0BA1F7-E2CE-4609-B6EB-F3BF636379F8}">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E25AE9C-AC8C-4D58-8F9A-F62CE0022D5B}">
      <dgm:prSet phldrT="[Tex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Motivace k soukromým investicím</a:t>
          </a:r>
        </a:p>
      </dgm:t>
    </dgm:pt>
    <dgm:pt modelId="{3DF2A404-A472-48AE-B55E-A08A9DE95A8A}" type="parTrans" cxnId="{B5837060-CD0D-454A-80FF-2FF57B65D03E}">
      <dgm:prSet/>
      <dgm:spPr/>
      <dgm:t>
        <a:bodyPr/>
        <a:lstStyle/>
        <a:p>
          <a:endParaRPr lang="cs-CZ" sz="1000">
            <a:solidFill>
              <a:schemeClr val="bg1">
                <a:lumMod val="10000"/>
              </a:schemeClr>
            </a:solidFill>
            <a:latin typeface="Fira Sans" panose="020B0503050000020004" pitchFamily="34" charset="0"/>
          </a:endParaRPr>
        </a:p>
      </dgm:t>
    </dgm:pt>
    <dgm:pt modelId="{3A83D1AE-4CA3-49D1-BED5-DC1B16F79E9E}" type="sibTrans" cxnId="{B5837060-CD0D-454A-80FF-2FF57B65D03E}">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0541C16E-1944-4558-8F91-1E2BFBF2C4D3}">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Chytřejší daně</a:t>
          </a:r>
        </a:p>
      </dgm:t>
    </dgm:pt>
    <dgm:pt modelId="{74B3290C-9CED-4B3B-8D13-53F98AC72B52}" type="parTrans" cxnId="{4E85D2B8-6129-4AA8-8720-C90C2083490A}">
      <dgm:prSet/>
      <dgm:spPr/>
      <dgm:t>
        <a:bodyPr/>
        <a:lstStyle/>
        <a:p>
          <a:endParaRPr lang="cs-CZ" sz="1000">
            <a:solidFill>
              <a:schemeClr val="bg1">
                <a:lumMod val="10000"/>
              </a:schemeClr>
            </a:solidFill>
            <a:latin typeface="Fira Sans" panose="020B0503050000020004" pitchFamily="34" charset="0"/>
          </a:endParaRPr>
        </a:p>
      </dgm:t>
    </dgm:pt>
    <dgm:pt modelId="{79141A15-B5C5-43BE-A996-25475570F7D8}" type="sibTrans" cxnId="{4E85D2B8-6129-4AA8-8720-C90C2083490A}">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5061020-A4FE-457E-B053-4BC20E225ADE}">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Podpora vzdělávání</a:t>
          </a:r>
        </a:p>
      </dgm:t>
    </dgm:pt>
    <dgm:pt modelId="{FB1F3FA9-3E85-4026-B041-C5FCFF660589}" type="parTrans" cxnId="{4E61D12F-FD3A-410A-9DE4-CB514013C5E1}">
      <dgm:prSet/>
      <dgm:spPr/>
      <dgm:t>
        <a:bodyPr/>
        <a:lstStyle/>
        <a:p>
          <a:endParaRPr lang="cs-CZ" sz="1000">
            <a:solidFill>
              <a:schemeClr val="bg1">
                <a:lumMod val="10000"/>
              </a:schemeClr>
            </a:solidFill>
            <a:latin typeface="Fira Sans" panose="020B0503050000020004" pitchFamily="34" charset="0"/>
          </a:endParaRPr>
        </a:p>
      </dgm:t>
    </dgm:pt>
    <dgm:pt modelId="{901714CC-5810-4859-B458-EA66EAEE3E1A}" type="sibTrans" cxnId="{4E61D12F-FD3A-410A-9DE4-CB514013C5E1}">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C74EAB3-BCAB-476B-BAA7-0ECD8C020F1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Omezení šedé ekonomiky</a:t>
          </a:r>
        </a:p>
      </dgm:t>
    </dgm:pt>
    <dgm:pt modelId="{770663B0-B946-4505-BC7D-A73C703B55D6}" type="parTrans" cxnId="{AF8D667C-EA3E-4B0F-906D-CF8BB7814FCF}">
      <dgm:prSet/>
      <dgm:spPr/>
      <dgm:t>
        <a:bodyPr/>
        <a:lstStyle/>
        <a:p>
          <a:endParaRPr lang="cs-CZ" sz="1000">
            <a:solidFill>
              <a:schemeClr val="bg1">
                <a:lumMod val="10000"/>
              </a:schemeClr>
            </a:solidFill>
            <a:latin typeface="Fira Sans" panose="020B0503050000020004" pitchFamily="34" charset="0"/>
          </a:endParaRPr>
        </a:p>
      </dgm:t>
    </dgm:pt>
    <dgm:pt modelId="{1A1DE00F-F739-4D74-8165-4F41AA21E618}" type="sibTrans" cxnId="{AF8D667C-EA3E-4B0F-906D-CF8BB7814FCF}">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B2DAD1D-8172-415E-B516-6F72DF2C87E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Stabilizující bytová politika</a:t>
          </a:r>
        </a:p>
      </dgm:t>
    </dgm:pt>
    <dgm:pt modelId="{C8035952-8E3A-4BD6-A7F5-4E4E4BAC17BA}" type="parTrans" cxnId="{E394623A-8816-44FD-B1F9-E62C259667D6}">
      <dgm:prSet/>
      <dgm:spPr/>
      <dgm:t>
        <a:bodyPr/>
        <a:lstStyle/>
        <a:p>
          <a:endParaRPr lang="cs-CZ" sz="1000">
            <a:solidFill>
              <a:schemeClr val="bg1">
                <a:lumMod val="10000"/>
              </a:schemeClr>
            </a:solidFill>
            <a:latin typeface="Fira Sans" panose="020B0503050000020004" pitchFamily="34" charset="0"/>
          </a:endParaRPr>
        </a:p>
      </dgm:t>
    </dgm:pt>
    <dgm:pt modelId="{F0EC7CBB-5484-4BD6-A634-1E2C9CA1721C}" type="sibTrans" cxnId="{E394623A-8816-44FD-B1F9-E62C259667D6}">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D2B1CED-857B-4605-BB9A-FF6630D0A73A}">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Lepší regionální plánování</a:t>
          </a:r>
        </a:p>
      </dgm:t>
    </dgm:pt>
    <dgm:pt modelId="{80441468-4CC4-4758-BD74-5DCBE6E35490}" type="parTrans" cxnId="{17CB0FD6-A918-4B4A-BEB5-50F70517E213}">
      <dgm:prSet/>
      <dgm:spPr/>
      <dgm:t>
        <a:bodyPr/>
        <a:lstStyle/>
        <a:p>
          <a:endParaRPr lang="cs-CZ" sz="1000">
            <a:solidFill>
              <a:schemeClr val="bg1">
                <a:lumMod val="10000"/>
              </a:schemeClr>
            </a:solidFill>
            <a:latin typeface="Fira Sans" panose="020B0503050000020004" pitchFamily="34" charset="0"/>
          </a:endParaRPr>
        </a:p>
      </dgm:t>
    </dgm:pt>
    <dgm:pt modelId="{9FCD6D6B-256A-42C0-827A-5A1755FC9CD4}" type="sibTrans" cxnId="{17CB0FD6-A918-4B4A-BEB5-50F70517E213}">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48110C4-7D65-489B-A701-83D0DC5AE8EC}" type="pres">
      <dgm:prSet presAssocID="{DB849CB9-26DB-493F-9BC1-7B3FFAF2D0B0}" presName="cycle" presStyleCnt="0">
        <dgm:presLayoutVars>
          <dgm:dir/>
          <dgm:resizeHandles val="exact"/>
        </dgm:presLayoutVars>
      </dgm:prSet>
      <dgm:spPr/>
    </dgm:pt>
    <dgm:pt modelId="{1AF6340D-53D1-41C5-8C0B-08EA9545C9CA}" type="pres">
      <dgm:prSet presAssocID="{8DA66DDC-1E5A-4299-8A0E-881D8E75A2CC}" presName="node" presStyleLbl="node1" presStyleIdx="0" presStyleCnt="9" custScaleX="139153" custScaleY="202948" custRadScaleRad="99673" custRadScaleInc="-5788">
        <dgm:presLayoutVars>
          <dgm:bulletEnabled val="1"/>
        </dgm:presLayoutVars>
      </dgm:prSet>
      <dgm:spPr/>
    </dgm:pt>
    <dgm:pt modelId="{DA17744F-7756-497E-9D79-4C7A05934046}" type="pres">
      <dgm:prSet presAssocID="{8DA66DDC-1E5A-4299-8A0E-881D8E75A2CC}" presName="spNode" presStyleCnt="0"/>
      <dgm:spPr/>
    </dgm:pt>
    <dgm:pt modelId="{E9DE802E-AA1C-47D2-B31C-D706D532217F}" type="pres">
      <dgm:prSet presAssocID="{98560292-C631-40A2-A164-33B1AF7A4306}" presName="sibTrans" presStyleLbl="sibTrans1D1" presStyleIdx="0" presStyleCnt="9"/>
      <dgm:spPr/>
    </dgm:pt>
    <dgm:pt modelId="{60C3DCEE-F136-4943-9423-34ABC7ECBA28}" type="pres">
      <dgm:prSet presAssocID="{335946D3-CE81-4097-9C35-1E1F6569FA42}" presName="node" presStyleLbl="node1" presStyleIdx="1" presStyleCnt="9" custScaleX="131916" custScaleY="202948" custRadScaleRad="98998" custRadScaleInc="19231">
        <dgm:presLayoutVars>
          <dgm:bulletEnabled val="1"/>
        </dgm:presLayoutVars>
      </dgm:prSet>
      <dgm:spPr>
        <a:xfrm>
          <a:off x="4085154" y="261999"/>
          <a:ext cx="1007997" cy="1007999"/>
        </a:xfrm>
        <a:prstGeom prst="roundRect">
          <a:avLst/>
        </a:prstGeom>
      </dgm:spPr>
    </dgm:pt>
    <dgm:pt modelId="{B9476E57-7CE0-47CE-B6E4-5CAE7027C874}" type="pres">
      <dgm:prSet presAssocID="{335946D3-CE81-4097-9C35-1E1F6569FA42}" presName="spNode" presStyleCnt="0"/>
      <dgm:spPr/>
    </dgm:pt>
    <dgm:pt modelId="{9CAB07AB-CE92-410C-B67B-5C4D8E902D2A}" type="pres">
      <dgm:prSet presAssocID="{AE500029-4FDD-4F4B-9D2E-CC29E5BC7027}" presName="sibTrans" presStyleLbl="sibTrans1D1" presStyleIdx="1" presStyleCnt="9"/>
      <dgm:spPr/>
    </dgm:pt>
    <dgm:pt modelId="{4892BA54-D813-4A68-B3E7-D96A4C75350B}" type="pres">
      <dgm:prSet presAssocID="{61C3038A-F8DF-4E92-AD59-B100725A0594}" presName="node" presStyleLbl="node1" presStyleIdx="2" presStyleCnt="9" custScaleX="131916" custScaleY="202948" custRadScaleRad="99169" custRadScaleInc="24360">
        <dgm:presLayoutVars>
          <dgm:bulletEnabled val="1"/>
        </dgm:presLayoutVars>
      </dgm:prSet>
      <dgm:spPr/>
    </dgm:pt>
    <dgm:pt modelId="{E5E16593-B9D1-4553-AFA1-64DE3FE97FB1}" type="pres">
      <dgm:prSet presAssocID="{61C3038A-F8DF-4E92-AD59-B100725A0594}" presName="spNode" presStyleCnt="0"/>
      <dgm:spPr/>
    </dgm:pt>
    <dgm:pt modelId="{9A59F23A-A123-44F1-AA94-485DEFC35334}" type="pres">
      <dgm:prSet presAssocID="{79044CD3-DDAA-4003-9891-4C1966070FE0}" presName="sibTrans" presStyleLbl="sibTrans1D1" presStyleIdx="2" presStyleCnt="9"/>
      <dgm:spPr/>
    </dgm:pt>
    <dgm:pt modelId="{7F0EF2DB-CA93-47D2-9888-0F64D5429897}" type="pres">
      <dgm:prSet presAssocID="{FE25AE9C-AC8C-4D58-8F9A-F62CE0022D5B}" presName="node" presStyleLbl="node1" presStyleIdx="3" presStyleCnt="9" custScaleX="131916" custScaleY="202948">
        <dgm:presLayoutVars>
          <dgm:bulletEnabled val="1"/>
        </dgm:presLayoutVars>
      </dgm:prSet>
      <dgm:spPr/>
    </dgm:pt>
    <dgm:pt modelId="{0FF3A428-76C3-4980-A906-0D3407BA83D6}" type="pres">
      <dgm:prSet presAssocID="{FE25AE9C-AC8C-4D58-8F9A-F62CE0022D5B}" presName="spNode" presStyleCnt="0"/>
      <dgm:spPr/>
    </dgm:pt>
    <dgm:pt modelId="{5FED0FA7-BC7F-41E0-8CAF-C97921FF36FC}" type="pres">
      <dgm:prSet presAssocID="{3A83D1AE-4CA3-49D1-BED5-DC1B16F79E9E}" presName="sibTrans" presStyleLbl="sibTrans1D1" presStyleIdx="3" presStyleCnt="9"/>
      <dgm:spPr/>
    </dgm:pt>
    <dgm:pt modelId="{4D19C0EA-C762-4CE8-913E-EABD0E5484DC}" type="pres">
      <dgm:prSet presAssocID="{0541C16E-1944-4558-8F91-1E2BFBF2C4D3}" presName="node" presStyleLbl="node1" presStyleIdx="4" presStyleCnt="9" custScaleX="131916" custScaleY="202948" custRadScaleRad="98172" custRadScaleInc="18830">
        <dgm:presLayoutVars>
          <dgm:bulletEnabled val="1"/>
        </dgm:presLayoutVars>
      </dgm:prSet>
      <dgm:spPr/>
    </dgm:pt>
    <dgm:pt modelId="{33BAD236-73A4-4723-A81B-B9F75E7D7030}" type="pres">
      <dgm:prSet presAssocID="{0541C16E-1944-4558-8F91-1E2BFBF2C4D3}" presName="spNode" presStyleCnt="0"/>
      <dgm:spPr/>
    </dgm:pt>
    <dgm:pt modelId="{3D6F80AD-6340-4645-9BCC-9CC839122757}" type="pres">
      <dgm:prSet presAssocID="{79141A15-B5C5-43BE-A996-25475570F7D8}" presName="sibTrans" presStyleLbl="sibTrans1D1" presStyleIdx="4" presStyleCnt="9"/>
      <dgm:spPr/>
    </dgm:pt>
    <dgm:pt modelId="{528AFA7E-4BAB-480B-A44C-BB6650F77F5D}" type="pres">
      <dgm:prSet presAssocID="{45061020-A4FE-457E-B053-4BC20E225ADE}" presName="node" presStyleLbl="node1" presStyleIdx="5" presStyleCnt="9" custScaleX="131916" custScaleY="202948" custRadScaleRad="98713" custRadScaleInc="-21101">
        <dgm:presLayoutVars>
          <dgm:bulletEnabled val="1"/>
        </dgm:presLayoutVars>
      </dgm:prSet>
      <dgm:spPr/>
    </dgm:pt>
    <dgm:pt modelId="{B462E8CE-E696-4236-905E-97099BC38008}" type="pres">
      <dgm:prSet presAssocID="{45061020-A4FE-457E-B053-4BC20E225ADE}" presName="spNode" presStyleCnt="0"/>
      <dgm:spPr/>
    </dgm:pt>
    <dgm:pt modelId="{1343E8DF-26C2-49CF-9606-81DA3D5CDE84}" type="pres">
      <dgm:prSet presAssocID="{901714CC-5810-4859-B458-EA66EAEE3E1A}" presName="sibTrans" presStyleLbl="sibTrans1D1" presStyleIdx="5" presStyleCnt="9"/>
      <dgm:spPr/>
    </dgm:pt>
    <dgm:pt modelId="{8A8AB859-16A8-4B90-86A5-A979887A79EE}" type="pres">
      <dgm:prSet presAssocID="{4C74EAB3-BCAB-476B-BAA7-0ECD8C020F1D}" presName="node" presStyleLbl="node1" presStyleIdx="6" presStyleCnt="9" custScaleX="131916" custScaleY="202948">
        <dgm:presLayoutVars>
          <dgm:bulletEnabled val="1"/>
        </dgm:presLayoutVars>
      </dgm:prSet>
      <dgm:spPr/>
    </dgm:pt>
    <dgm:pt modelId="{4317596B-D96B-4E75-AD8B-9CC507AEB411}" type="pres">
      <dgm:prSet presAssocID="{4C74EAB3-BCAB-476B-BAA7-0ECD8C020F1D}" presName="spNode" presStyleCnt="0"/>
      <dgm:spPr/>
    </dgm:pt>
    <dgm:pt modelId="{8B833E3F-CBA5-496B-A09F-2E54FBEE637D}" type="pres">
      <dgm:prSet presAssocID="{1A1DE00F-F739-4D74-8165-4F41AA21E618}" presName="sibTrans" presStyleLbl="sibTrans1D1" presStyleIdx="6" presStyleCnt="9"/>
      <dgm:spPr/>
    </dgm:pt>
    <dgm:pt modelId="{82B9AEF2-7358-4ACD-B5D1-32CFCBB75FA8}" type="pres">
      <dgm:prSet presAssocID="{CB2DAD1D-8172-415E-B516-6F72DF2C87ED}" presName="node" presStyleLbl="node1" presStyleIdx="7" presStyleCnt="9" custScaleX="132582" custScaleY="203221" custRadScaleRad="99668" custRadScaleInc="-18782">
        <dgm:presLayoutVars>
          <dgm:bulletEnabled val="1"/>
        </dgm:presLayoutVars>
      </dgm:prSet>
      <dgm:spPr/>
    </dgm:pt>
    <dgm:pt modelId="{54C2FF6B-FAAC-4F5C-A4CA-B470EF3C66FC}" type="pres">
      <dgm:prSet presAssocID="{CB2DAD1D-8172-415E-B516-6F72DF2C87ED}" presName="spNode" presStyleCnt="0"/>
      <dgm:spPr/>
    </dgm:pt>
    <dgm:pt modelId="{2409D813-50DC-430D-9DC4-D4F889473FBF}" type="pres">
      <dgm:prSet presAssocID="{F0EC7CBB-5484-4BD6-A634-1E2C9CA1721C}" presName="sibTrans" presStyleLbl="sibTrans1D1" presStyleIdx="7" presStyleCnt="9"/>
      <dgm:spPr/>
    </dgm:pt>
    <dgm:pt modelId="{9E632469-FD25-49F8-A3BA-3185905D2710}" type="pres">
      <dgm:prSet presAssocID="{CD2B1CED-857B-4605-BB9A-FF6630D0A73A}" presName="node" presStyleLbl="node1" presStyleIdx="8" presStyleCnt="9" custScaleX="131916" custScaleY="202948" custRadScaleRad="97871" custRadScaleInc="-13804">
        <dgm:presLayoutVars>
          <dgm:bulletEnabled val="1"/>
        </dgm:presLayoutVars>
      </dgm:prSet>
      <dgm:spPr/>
    </dgm:pt>
    <dgm:pt modelId="{8FEB6B7F-1726-4EE0-BBCF-EC54C40EE5A0}" type="pres">
      <dgm:prSet presAssocID="{CD2B1CED-857B-4605-BB9A-FF6630D0A73A}" presName="spNode" presStyleCnt="0"/>
      <dgm:spPr/>
    </dgm:pt>
    <dgm:pt modelId="{E93F9C88-6935-4B51-BEC8-146655D1ACB5}" type="pres">
      <dgm:prSet presAssocID="{9FCD6D6B-256A-42C0-827A-5A1755FC9CD4}" presName="sibTrans" presStyleLbl="sibTrans1D1" presStyleIdx="8" presStyleCnt="9"/>
      <dgm:spPr/>
    </dgm:pt>
  </dgm:ptLst>
  <dgm:cxnLst>
    <dgm:cxn modelId="{19D95308-0553-4600-8CCD-6936C10B4B14}" type="presOf" srcId="{9FCD6D6B-256A-42C0-827A-5A1755FC9CD4}" destId="{E93F9C88-6935-4B51-BEC8-146655D1ACB5}" srcOrd="0" destOrd="0" presId="urn:microsoft.com/office/officeart/2005/8/layout/cycle6"/>
    <dgm:cxn modelId="{9892B912-B6A4-4A97-BBF4-556EB7C4185C}" type="presOf" srcId="{79141A15-B5C5-43BE-A996-25475570F7D8}" destId="{3D6F80AD-6340-4645-9BCC-9CC839122757}" srcOrd="0" destOrd="0" presId="urn:microsoft.com/office/officeart/2005/8/layout/cycle6"/>
    <dgm:cxn modelId="{1C8CA215-762A-4415-8E6D-D991EE0C98C2}" type="presOf" srcId="{CD2B1CED-857B-4605-BB9A-FF6630D0A73A}" destId="{9E632469-FD25-49F8-A3BA-3185905D2710}" srcOrd="0" destOrd="0" presId="urn:microsoft.com/office/officeart/2005/8/layout/cycle6"/>
    <dgm:cxn modelId="{4E61D12F-FD3A-410A-9DE4-CB514013C5E1}" srcId="{DB849CB9-26DB-493F-9BC1-7B3FFAF2D0B0}" destId="{45061020-A4FE-457E-B053-4BC20E225ADE}" srcOrd="5" destOrd="0" parTransId="{FB1F3FA9-3E85-4026-B041-C5FCFF660589}" sibTransId="{901714CC-5810-4859-B458-EA66EAEE3E1A}"/>
    <dgm:cxn modelId="{2C34A433-6607-45EE-B7C2-CB11C72D1220}" type="presOf" srcId="{79044CD3-DDAA-4003-9891-4C1966070FE0}" destId="{9A59F23A-A123-44F1-AA94-485DEFC35334}" srcOrd="0" destOrd="0" presId="urn:microsoft.com/office/officeart/2005/8/layout/cycle6"/>
    <dgm:cxn modelId="{373ACE34-BA8F-48EF-9D20-600D8F367550}" type="presOf" srcId="{0541C16E-1944-4558-8F91-1E2BFBF2C4D3}" destId="{4D19C0EA-C762-4CE8-913E-EABD0E5484DC}" srcOrd="0" destOrd="0" presId="urn:microsoft.com/office/officeart/2005/8/layout/cycle6"/>
    <dgm:cxn modelId="{E394623A-8816-44FD-B1F9-E62C259667D6}" srcId="{DB849CB9-26DB-493F-9BC1-7B3FFAF2D0B0}" destId="{CB2DAD1D-8172-415E-B516-6F72DF2C87ED}" srcOrd="7" destOrd="0" parTransId="{C8035952-8E3A-4BD6-A7F5-4E4E4BAC17BA}" sibTransId="{F0EC7CBB-5484-4BD6-A634-1E2C9CA1721C}"/>
    <dgm:cxn modelId="{DD77F83D-8C8D-4CAF-AADD-4CA7A26FB3C0}" type="presOf" srcId="{3A83D1AE-4CA3-49D1-BED5-DC1B16F79E9E}" destId="{5FED0FA7-BC7F-41E0-8CAF-C97921FF36FC}" srcOrd="0" destOrd="0" presId="urn:microsoft.com/office/officeart/2005/8/layout/cycle6"/>
    <dgm:cxn modelId="{B5837060-CD0D-454A-80FF-2FF57B65D03E}" srcId="{DB849CB9-26DB-493F-9BC1-7B3FFAF2D0B0}" destId="{FE25AE9C-AC8C-4D58-8F9A-F62CE0022D5B}" srcOrd="3" destOrd="0" parTransId="{3DF2A404-A472-48AE-B55E-A08A9DE95A8A}" sibTransId="{3A83D1AE-4CA3-49D1-BED5-DC1B16F79E9E}"/>
    <dgm:cxn modelId="{2566F96C-F373-4362-A34E-2367EABB4789}" type="presOf" srcId="{FE25AE9C-AC8C-4D58-8F9A-F62CE0022D5B}" destId="{7F0EF2DB-CA93-47D2-9888-0F64D5429897}" srcOrd="0" destOrd="0" presId="urn:microsoft.com/office/officeart/2005/8/layout/cycle6"/>
    <dgm:cxn modelId="{E6E9BB6E-B5CE-4603-BDA4-4AE1356356EF}" type="presOf" srcId="{8DA66DDC-1E5A-4299-8A0E-881D8E75A2CC}" destId="{1AF6340D-53D1-41C5-8C0B-08EA9545C9CA}" srcOrd="0" destOrd="0" presId="urn:microsoft.com/office/officeart/2005/8/layout/cycle6"/>
    <dgm:cxn modelId="{17A4B057-35C8-41F1-9648-864A5C9B578D}" type="presOf" srcId="{CB2DAD1D-8172-415E-B516-6F72DF2C87ED}" destId="{82B9AEF2-7358-4ACD-B5D1-32CFCBB75FA8}" srcOrd="0" destOrd="0" presId="urn:microsoft.com/office/officeart/2005/8/layout/cycle6"/>
    <dgm:cxn modelId="{378F9878-6035-4F48-89E1-BFD8A4F16BDB}" type="presOf" srcId="{61C3038A-F8DF-4E92-AD59-B100725A0594}" destId="{4892BA54-D813-4A68-B3E7-D96A4C75350B}" srcOrd="0" destOrd="0" presId="urn:microsoft.com/office/officeart/2005/8/layout/cycle6"/>
    <dgm:cxn modelId="{94F8827A-900A-4D58-A084-AE208E3CFEB5}" type="presOf" srcId="{1A1DE00F-F739-4D74-8165-4F41AA21E618}" destId="{8B833E3F-CBA5-496B-A09F-2E54FBEE637D}" srcOrd="0" destOrd="0" presId="urn:microsoft.com/office/officeart/2005/8/layout/cycle6"/>
    <dgm:cxn modelId="{AF8D667C-EA3E-4B0F-906D-CF8BB7814FCF}" srcId="{DB849CB9-26DB-493F-9BC1-7B3FFAF2D0B0}" destId="{4C74EAB3-BCAB-476B-BAA7-0ECD8C020F1D}" srcOrd="6" destOrd="0" parTransId="{770663B0-B946-4505-BC7D-A73C703B55D6}" sibTransId="{1A1DE00F-F739-4D74-8165-4F41AA21E618}"/>
    <dgm:cxn modelId="{4CE94693-C180-4EC4-9FCF-513C240B9E67}" type="presOf" srcId="{98560292-C631-40A2-A164-33B1AF7A4306}" destId="{E9DE802E-AA1C-47D2-B31C-D706D532217F}" srcOrd="0" destOrd="0" presId="urn:microsoft.com/office/officeart/2005/8/layout/cycle6"/>
    <dgm:cxn modelId="{C3F4569C-0137-47FF-9FCA-D223C87684A5}" type="presOf" srcId="{45061020-A4FE-457E-B053-4BC20E225ADE}" destId="{528AFA7E-4BAB-480B-A44C-BB6650F77F5D}" srcOrd="0" destOrd="0" presId="urn:microsoft.com/office/officeart/2005/8/layout/cycle6"/>
    <dgm:cxn modelId="{B9952EB2-29F7-4765-B9B8-7D6F2CDFB527}" type="presOf" srcId="{F0EC7CBB-5484-4BD6-A634-1E2C9CA1721C}" destId="{2409D813-50DC-430D-9DC4-D4F889473FBF}" srcOrd="0" destOrd="0" presId="urn:microsoft.com/office/officeart/2005/8/layout/cycle6"/>
    <dgm:cxn modelId="{1CBE8DB5-E03A-4256-B4B1-9F28955979DC}" srcId="{DB849CB9-26DB-493F-9BC1-7B3FFAF2D0B0}" destId="{335946D3-CE81-4097-9C35-1E1F6569FA42}" srcOrd="1" destOrd="0" parTransId="{BC15C49E-B66A-4EA0-9A6A-9B01BB034923}" sibTransId="{AE500029-4FDD-4F4B-9D2E-CC29E5BC7027}"/>
    <dgm:cxn modelId="{4E85D2B8-6129-4AA8-8720-C90C2083490A}" srcId="{DB849CB9-26DB-493F-9BC1-7B3FFAF2D0B0}" destId="{0541C16E-1944-4558-8F91-1E2BFBF2C4D3}" srcOrd="4" destOrd="0" parTransId="{74B3290C-9CED-4B3B-8D13-53F98AC72B52}" sibTransId="{79141A15-B5C5-43BE-A996-25475570F7D8}"/>
    <dgm:cxn modelId="{DABF91B9-8897-4255-84DD-793AC22AF8DB}" type="presOf" srcId="{4C74EAB3-BCAB-476B-BAA7-0ECD8C020F1D}" destId="{8A8AB859-16A8-4B90-86A5-A979887A79EE}" srcOrd="0" destOrd="0" presId="urn:microsoft.com/office/officeart/2005/8/layout/cycle6"/>
    <dgm:cxn modelId="{34D9E2BA-6362-4232-A9F8-921720D860C4}" type="presOf" srcId="{335946D3-CE81-4097-9C35-1E1F6569FA42}" destId="{60C3DCEE-F136-4943-9423-34ABC7ECBA28}" srcOrd="0" destOrd="0" presId="urn:microsoft.com/office/officeart/2005/8/layout/cycle6"/>
    <dgm:cxn modelId="{0455ABBC-94C4-469B-966A-38C9C019DBBE}" type="presOf" srcId="{901714CC-5810-4859-B458-EA66EAEE3E1A}" destId="{1343E8DF-26C2-49CF-9606-81DA3D5CDE84}" srcOrd="0" destOrd="0" presId="urn:microsoft.com/office/officeart/2005/8/layout/cycle6"/>
    <dgm:cxn modelId="{8ABC4EC6-D375-4671-A3A1-D96EFFAC3947}" srcId="{DB849CB9-26DB-493F-9BC1-7B3FFAF2D0B0}" destId="{8DA66DDC-1E5A-4299-8A0E-881D8E75A2CC}" srcOrd="0" destOrd="0" parTransId="{45B4CB81-8882-4D22-8D28-F64A5089339A}" sibTransId="{98560292-C631-40A2-A164-33B1AF7A4306}"/>
    <dgm:cxn modelId="{17CB0FD6-A918-4B4A-BEB5-50F70517E213}" srcId="{DB849CB9-26DB-493F-9BC1-7B3FFAF2D0B0}" destId="{CD2B1CED-857B-4605-BB9A-FF6630D0A73A}" srcOrd="8" destOrd="0" parTransId="{80441468-4CC4-4758-BD74-5DCBE6E35490}" sibTransId="{9FCD6D6B-256A-42C0-827A-5A1755FC9CD4}"/>
    <dgm:cxn modelId="{6E0BA1F7-E2CE-4609-B6EB-F3BF636379F8}" srcId="{DB849CB9-26DB-493F-9BC1-7B3FFAF2D0B0}" destId="{61C3038A-F8DF-4E92-AD59-B100725A0594}" srcOrd="2" destOrd="0" parTransId="{EA7257B8-591F-426F-A471-E340593C1FB1}" sibTransId="{79044CD3-DDAA-4003-9891-4C1966070FE0}"/>
    <dgm:cxn modelId="{F48028FA-CB7B-43CB-B087-075AC66BF1ED}" type="presOf" srcId="{AE500029-4FDD-4F4B-9D2E-CC29E5BC7027}" destId="{9CAB07AB-CE92-410C-B67B-5C4D8E902D2A}" srcOrd="0" destOrd="0" presId="urn:microsoft.com/office/officeart/2005/8/layout/cycle6"/>
    <dgm:cxn modelId="{A92EA1FF-8CCE-4E66-8BD5-56439B95DEF7}" type="presOf" srcId="{DB849CB9-26DB-493F-9BC1-7B3FFAF2D0B0}" destId="{F48110C4-7D65-489B-A701-83D0DC5AE8EC}" srcOrd="0" destOrd="0" presId="urn:microsoft.com/office/officeart/2005/8/layout/cycle6"/>
    <dgm:cxn modelId="{6F69C911-369B-44F7-9C97-F7F96E2FA293}" type="presParOf" srcId="{F48110C4-7D65-489B-A701-83D0DC5AE8EC}" destId="{1AF6340D-53D1-41C5-8C0B-08EA9545C9CA}" srcOrd="0" destOrd="0" presId="urn:microsoft.com/office/officeart/2005/8/layout/cycle6"/>
    <dgm:cxn modelId="{FF3FE373-4B26-4B59-9FD0-3D77BE766A15}" type="presParOf" srcId="{F48110C4-7D65-489B-A701-83D0DC5AE8EC}" destId="{DA17744F-7756-497E-9D79-4C7A05934046}" srcOrd="1" destOrd="0" presId="urn:microsoft.com/office/officeart/2005/8/layout/cycle6"/>
    <dgm:cxn modelId="{2C38A5EC-FF65-48A7-B427-8CBB4B1BC020}" type="presParOf" srcId="{F48110C4-7D65-489B-A701-83D0DC5AE8EC}" destId="{E9DE802E-AA1C-47D2-B31C-D706D532217F}" srcOrd="2" destOrd="0" presId="urn:microsoft.com/office/officeart/2005/8/layout/cycle6"/>
    <dgm:cxn modelId="{1D0BAE15-8F1F-40DD-B9D0-5A09FBE8146E}" type="presParOf" srcId="{F48110C4-7D65-489B-A701-83D0DC5AE8EC}" destId="{60C3DCEE-F136-4943-9423-34ABC7ECBA28}" srcOrd="3" destOrd="0" presId="urn:microsoft.com/office/officeart/2005/8/layout/cycle6"/>
    <dgm:cxn modelId="{2D9FB7EC-788F-4DCA-BA96-45271BD1C68E}" type="presParOf" srcId="{F48110C4-7D65-489B-A701-83D0DC5AE8EC}" destId="{B9476E57-7CE0-47CE-B6E4-5CAE7027C874}" srcOrd="4" destOrd="0" presId="urn:microsoft.com/office/officeart/2005/8/layout/cycle6"/>
    <dgm:cxn modelId="{4E62C4DF-0E30-4715-A0EF-D03E8C33B00E}" type="presParOf" srcId="{F48110C4-7D65-489B-A701-83D0DC5AE8EC}" destId="{9CAB07AB-CE92-410C-B67B-5C4D8E902D2A}" srcOrd="5" destOrd="0" presId="urn:microsoft.com/office/officeart/2005/8/layout/cycle6"/>
    <dgm:cxn modelId="{F7247D54-048D-4324-8C84-61B8EFEEB6AB}" type="presParOf" srcId="{F48110C4-7D65-489B-A701-83D0DC5AE8EC}" destId="{4892BA54-D813-4A68-B3E7-D96A4C75350B}" srcOrd="6" destOrd="0" presId="urn:microsoft.com/office/officeart/2005/8/layout/cycle6"/>
    <dgm:cxn modelId="{ED5D1DC8-1B6D-4A34-9E7D-33811ED85649}" type="presParOf" srcId="{F48110C4-7D65-489B-A701-83D0DC5AE8EC}" destId="{E5E16593-B9D1-4553-AFA1-64DE3FE97FB1}" srcOrd="7" destOrd="0" presId="urn:microsoft.com/office/officeart/2005/8/layout/cycle6"/>
    <dgm:cxn modelId="{075ED98B-21A7-47D6-9095-04237B95C8EC}" type="presParOf" srcId="{F48110C4-7D65-489B-A701-83D0DC5AE8EC}" destId="{9A59F23A-A123-44F1-AA94-485DEFC35334}" srcOrd="8" destOrd="0" presId="urn:microsoft.com/office/officeart/2005/8/layout/cycle6"/>
    <dgm:cxn modelId="{4ECD8D6A-5EDE-42AA-924B-A68B7C1D51C7}" type="presParOf" srcId="{F48110C4-7D65-489B-A701-83D0DC5AE8EC}" destId="{7F0EF2DB-CA93-47D2-9888-0F64D5429897}" srcOrd="9" destOrd="0" presId="urn:microsoft.com/office/officeart/2005/8/layout/cycle6"/>
    <dgm:cxn modelId="{86FE4081-6567-4167-9855-402ECA65C4AC}" type="presParOf" srcId="{F48110C4-7D65-489B-A701-83D0DC5AE8EC}" destId="{0FF3A428-76C3-4980-A906-0D3407BA83D6}" srcOrd="10" destOrd="0" presId="urn:microsoft.com/office/officeart/2005/8/layout/cycle6"/>
    <dgm:cxn modelId="{4AC041CF-C7BF-49D7-AE79-B0C535073F35}" type="presParOf" srcId="{F48110C4-7D65-489B-A701-83D0DC5AE8EC}" destId="{5FED0FA7-BC7F-41E0-8CAF-C97921FF36FC}" srcOrd="11" destOrd="0" presId="urn:microsoft.com/office/officeart/2005/8/layout/cycle6"/>
    <dgm:cxn modelId="{86ABD50E-8C44-461B-87D1-1AED602DE47E}" type="presParOf" srcId="{F48110C4-7D65-489B-A701-83D0DC5AE8EC}" destId="{4D19C0EA-C762-4CE8-913E-EABD0E5484DC}" srcOrd="12" destOrd="0" presId="urn:microsoft.com/office/officeart/2005/8/layout/cycle6"/>
    <dgm:cxn modelId="{A785583F-D040-4DB0-93B3-C34FBABCDE40}" type="presParOf" srcId="{F48110C4-7D65-489B-A701-83D0DC5AE8EC}" destId="{33BAD236-73A4-4723-A81B-B9F75E7D7030}" srcOrd="13" destOrd="0" presId="urn:microsoft.com/office/officeart/2005/8/layout/cycle6"/>
    <dgm:cxn modelId="{FF371412-DFB4-473F-AD52-EA26610A5BA1}" type="presParOf" srcId="{F48110C4-7D65-489B-A701-83D0DC5AE8EC}" destId="{3D6F80AD-6340-4645-9BCC-9CC839122757}" srcOrd="14" destOrd="0" presId="urn:microsoft.com/office/officeart/2005/8/layout/cycle6"/>
    <dgm:cxn modelId="{8B55A0B9-CE7B-4B21-93A8-006205FAB1C2}" type="presParOf" srcId="{F48110C4-7D65-489B-A701-83D0DC5AE8EC}" destId="{528AFA7E-4BAB-480B-A44C-BB6650F77F5D}" srcOrd="15" destOrd="0" presId="urn:microsoft.com/office/officeart/2005/8/layout/cycle6"/>
    <dgm:cxn modelId="{52347E4E-2D2A-458C-B241-355721D39386}" type="presParOf" srcId="{F48110C4-7D65-489B-A701-83D0DC5AE8EC}" destId="{B462E8CE-E696-4236-905E-97099BC38008}" srcOrd="16" destOrd="0" presId="urn:microsoft.com/office/officeart/2005/8/layout/cycle6"/>
    <dgm:cxn modelId="{111C3A2C-9D96-4C5D-9F94-6C75A666D432}" type="presParOf" srcId="{F48110C4-7D65-489B-A701-83D0DC5AE8EC}" destId="{1343E8DF-26C2-49CF-9606-81DA3D5CDE84}" srcOrd="17" destOrd="0" presId="urn:microsoft.com/office/officeart/2005/8/layout/cycle6"/>
    <dgm:cxn modelId="{74E6F29E-599F-4E84-8E06-89870DFE3330}" type="presParOf" srcId="{F48110C4-7D65-489B-A701-83D0DC5AE8EC}" destId="{8A8AB859-16A8-4B90-86A5-A979887A79EE}" srcOrd="18" destOrd="0" presId="urn:microsoft.com/office/officeart/2005/8/layout/cycle6"/>
    <dgm:cxn modelId="{8113408E-2983-4DF6-A3FD-D6432B49C07E}" type="presParOf" srcId="{F48110C4-7D65-489B-A701-83D0DC5AE8EC}" destId="{4317596B-D96B-4E75-AD8B-9CC507AEB411}" srcOrd="19" destOrd="0" presId="urn:microsoft.com/office/officeart/2005/8/layout/cycle6"/>
    <dgm:cxn modelId="{0B9B6AF8-B137-45C5-B53C-C5D6315E1F73}" type="presParOf" srcId="{F48110C4-7D65-489B-A701-83D0DC5AE8EC}" destId="{8B833E3F-CBA5-496B-A09F-2E54FBEE637D}" srcOrd="20" destOrd="0" presId="urn:microsoft.com/office/officeart/2005/8/layout/cycle6"/>
    <dgm:cxn modelId="{F7B135A9-DF18-425B-AFE9-0820BC4D0593}" type="presParOf" srcId="{F48110C4-7D65-489B-A701-83D0DC5AE8EC}" destId="{82B9AEF2-7358-4ACD-B5D1-32CFCBB75FA8}" srcOrd="21" destOrd="0" presId="urn:microsoft.com/office/officeart/2005/8/layout/cycle6"/>
    <dgm:cxn modelId="{A90536E3-CC11-4FB0-9102-234743CD9930}" type="presParOf" srcId="{F48110C4-7D65-489B-A701-83D0DC5AE8EC}" destId="{54C2FF6B-FAAC-4F5C-A4CA-B470EF3C66FC}" srcOrd="22" destOrd="0" presId="urn:microsoft.com/office/officeart/2005/8/layout/cycle6"/>
    <dgm:cxn modelId="{A5DFFA52-BA24-46C0-9890-53F516869EDF}" type="presParOf" srcId="{F48110C4-7D65-489B-A701-83D0DC5AE8EC}" destId="{2409D813-50DC-430D-9DC4-D4F889473FBF}" srcOrd="23" destOrd="0" presId="urn:microsoft.com/office/officeart/2005/8/layout/cycle6"/>
    <dgm:cxn modelId="{508CF65A-A4D7-41F1-9883-465C3B74EB04}" type="presParOf" srcId="{F48110C4-7D65-489B-A701-83D0DC5AE8EC}" destId="{9E632469-FD25-49F8-A3BA-3185905D2710}" srcOrd="24" destOrd="0" presId="urn:microsoft.com/office/officeart/2005/8/layout/cycle6"/>
    <dgm:cxn modelId="{AE5722DA-57CD-4A38-8F30-94DEDEA66C45}" type="presParOf" srcId="{F48110C4-7D65-489B-A701-83D0DC5AE8EC}" destId="{8FEB6B7F-1726-4EE0-BBCF-EC54C40EE5A0}" srcOrd="25" destOrd="0" presId="urn:microsoft.com/office/officeart/2005/8/layout/cycle6"/>
    <dgm:cxn modelId="{DAB34BD0-6F99-4A49-BE6B-D2A9CA1E8461}" type="presParOf" srcId="{F48110C4-7D65-489B-A701-83D0DC5AE8EC}" destId="{E93F9C88-6935-4B51-BEC8-146655D1ACB5}" srcOrd="26"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849CB9-26DB-493F-9BC1-7B3FFAF2D0B0}" type="doc">
      <dgm:prSet loTypeId="urn:microsoft.com/office/officeart/2005/8/layout/cycle6" loCatId="cycle" qsTypeId="urn:microsoft.com/office/officeart/2005/8/quickstyle/simple1" qsCatId="simple" csTypeId="urn:microsoft.com/office/officeart/2005/8/colors/accent0_2" csCatId="mainScheme" phldr="1"/>
      <dgm:spPr/>
      <dgm:t>
        <a:bodyPr/>
        <a:lstStyle/>
        <a:p>
          <a:endParaRPr lang="cs-CZ"/>
        </a:p>
      </dgm:t>
    </dgm:pt>
    <dgm:pt modelId="{8DA66DDC-1E5A-4299-8A0E-881D8E75A2CC}">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Koncentrace EU dotací</a:t>
          </a:r>
        </a:p>
      </dgm:t>
    </dgm:pt>
    <dgm:pt modelId="{45B4CB81-8882-4D22-8D28-F64A5089339A}" type="parTrans" cxnId="{8ABC4EC6-D375-4671-A3A1-D96EFFAC3947}">
      <dgm:prSet/>
      <dgm:spPr/>
      <dgm:t>
        <a:bodyPr/>
        <a:lstStyle/>
        <a:p>
          <a:endParaRPr lang="cs-CZ" sz="1000">
            <a:solidFill>
              <a:schemeClr val="bg1">
                <a:lumMod val="10000"/>
              </a:schemeClr>
            </a:solidFill>
            <a:latin typeface="Fira Sans" panose="020B0503050000020004" pitchFamily="34" charset="0"/>
          </a:endParaRPr>
        </a:p>
      </dgm:t>
    </dgm:pt>
    <dgm:pt modelId="{98560292-C631-40A2-A164-33B1AF7A4306}" type="sibTrans" cxnId="{8ABC4EC6-D375-4671-A3A1-D96EFFAC3947}">
      <dgm:prSet/>
      <dgm:spPr>
        <a:solidFill>
          <a:srgbClr val="64BCA9"/>
        </a:solidFill>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335946D3-CE81-4097-9C35-1E1F6569FA42}">
      <dgm:prSet phldrT="[Text]" custT="1">
        <dgm:style>
          <a:lnRef idx="2">
            <a:schemeClr val="accent5"/>
          </a:lnRef>
          <a:fillRef idx="1">
            <a:schemeClr val="lt1"/>
          </a:fillRef>
          <a:effectRef idx="0">
            <a:schemeClr val="accent5"/>
          </a:effectRef>
          <a:fontRef idx="minor">
            <a:schemeClr val="dk1"/>
          </a:fontRef>
        </dgm:style>
      </dgm:prSet>
      <dgm:spPr>
        <a:solidFill>
          <a:srgbClr val="64BCA9"/>
        </a:solidFill>
        <a:ln w="25400" cap="flat" cmpd="sng" algn="ctr">
          <a:no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cs-CZ" sz="1000" b="1" kern="1200">
              <a:solidFill>
                <a:srgbClr val="F59AFF">
                  <a:lumMod val="10000"/>
                </a:srgbClr>
              </a:solidFill>
              <a:latin typeface="Fira Sans" panose="020B0503050000020004" pitchFamily="34" charset="0"/>
              <a:ea typeface="+mn-ea"/>
              <a:cs typeface="+mn-cs"/>
            </a:rPr>
            <a:t>Reforma RUD</a:t>
          </a:r>
        </a:p>
      </dgm:t>
    </dgm:pt>
    <dgm:pt modelId="{BC15C49E-B66A-4EA0-9A6A-9B01BB034923}" type="parTrans" cxnId="{1CBE8DB5-E03A-4256-B4B1-9F28955979DC}">
      <dgm:prSet/>
      <dgm:spPr/>
      <dgm:t>
        <a:bodyPr/>
        <a:lstStyle/>
        <a:p>
          <a:endParaRPr lang="cs-CZ" sz="1000">
            <a:solidFill>
              <a:schemeClr val="bg1">
                <a:lumMod val="10000"/>
              </a:schemeClr>
            </a:solidFill>
            <a:latin typeface="Fira Sans" panose="020B0503050000020004" pitchFamily="34" charset="0"/>
          </a:endParaRPr>
        </a:p>
      </dgm:t>
    </dgm:pt>
    <dgm:pt modelId="{AE500029-4FDD-4F4B-9D2E-CC29E5BC7027}" type="sibTrans" cxnId="{1CBE8DB5-E03A-4256-B4B1-9F28955979DC}">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61C3038A-F8DF-4E92-AD59-B100725A0594}">
      <dgm:prSet phldrT="[Tex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Řízení samospráv</a:t>
          </a:r>
        </a:p>
      </dgm:t>
    </dgm:pt>
    <dgm:pt modelId="{EA7257B8-591F-426F-A471-E340593C1FB1}" type="parTrans" cxnId="{6E0BA1F7-E2CE-4609-B6EB-F3BF636379F8}">
      <dgm:prSet/>
      <dgm:spPr/>
      <dgm:t>
        <a:bodyPr/>
        <a:lstStyle/>
        <a:p>
          <a:endParaRPr lang="cs-CZ" sz="1000">
            <a:solidFill>
              <a:schemeClr val="bg1">
                <a:lumMod val="10000"/>
              </a:schemeClr>
            </a:solidFill>
            <a:latin typeface="Fira Sans" panose="020B0503050000020004" pitchFamily="34" charset="0"/>
          </a:endParaRPr>
        </a:p>
      </dgm:t>
    </dgm:pt>
    <dgm:pt modelId="{79044CD3-DDAA-4003-9891-4C1966070FE0}" type="sibTrans" cxnId="{6E0BA1F7-E2CE-4609-B6EB-F3BF636379F8}">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E25AE9C-AC8C-4D58-8F9A-F62CE0022D5B}">
      <dgm:prSet phldrT="[Tex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Motivace k soukromým investicím</a:t>
          </a:r>
        </a:p>
      </dgm:t>
    </dgm:pt>
    <dgm:pt modelId="{3DF2A404-A472-48AE-B55E-A08A9DE95A8A}" type="parTrans" cxnId="{B5837060-CD0D-454A-80FF-2FF57B65D03E}">
      <dgm:prSet/>
      <dgm:spPr/>
      <dgm:t>
        <a:bodyPr/>
        <a:lstStyle/>
        <a:p>
          <a:endParaRPr lang="cs-CZ" sz="1000">
            <a:solidFill>
              <a:schemeClr val="bg1">
                <a:lumMod val="10000"/>
              </a:schemeClr>
            </a:solidFill>
            <a:latin typeface="Fira Sans" panose="020B0503050000020004" pitchFamily="34" charset="0"/>
          </a:endParaRPr>
        </a:p>
      </dgm:t>
    </dgm:pt>
    <dgm:pt modelId="{3A83D1AE-4CA3-49D1-BED5-DC1B16F79E9E}" type="sibTrans" cxnId="{B5837060-CD0D-454A-80FF-2FF57B65D03E}">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0541C16E-1944-4558-8F91-1E2BFBF2C4D3}">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Chytřejší daně</a:t>
          </a:r>
        </a:p>
      </dgm:t>
    </dgm:pt>
    <dgm:pt modelId="{74B3290C-9CED-4B3B-8D13-53F98AC72B52}" type="parTrans" cxnId="{4E85D2B8-6129-4AA8-8720-C90C2083490A}">
      <dgm:prSet/>
      <dgm:spPr/>
      <dgm:t>
        <a:bodyPr/>
        <a:lstStyle/>
        <a:p>
          <a:endParaRPr lang="cs-CZ" sz="1000">
            <a:solidFill>
              <a:schemeClr val="bg1">
                <a:lumMod val="10000"/>
              </a:schemeClr>
            </a:solidFill>
            <a:latin typeface="Fira Sans" panose="020B0503050000020004" pitchFamily="34" charset="0"/>
          </a:endParaRPr>
        </a:p>
      </dgm:t>
    </dgm:pt>
    <dgm:pt modelId="{79141A15-B5C5-43BE-A996-25475570F7D8}" type="sibTrans" cxnId="{4E85D2B8-6129-4AA8-8720-C90C2083490A}">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5061020-A4FE-457E-B053-4BC20E225ADE}">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Podpora vzdělávání</a:t>
          </a:r>
        </a:p>
      </dgm:t>
    </dgm:pt>
    <dgm:pt modelId="{FB1F3FA9-3E85-4026-B041-C5FCFF660589}" type="parTrans" cxnId="{4E61D12F-FD3A-410A-9DE4-CB514013C5E1}">
      <dgm:prSet/>
      <dgm:spPr/>
      <dgm:t>
        <a:bodyPr/>
        <a:lstStyle/>
        <a:p>
          <a:endParaRPr lang="cs-CZ" sz="1000">
            <a:solidFill>
              <a:schemeClr val="bg1">
                <a:lumMod val="10000"/>
              </a:schemeClr>
            </a:solidFill>
            <a:latin typeface="Fira Sans" panose="020B0503050000020004" pitchFamily="34" charset="0"/>
          </a:endParaRPr>
        </a:p>
      </dgm:t>
    </dgm:pt>
    <dgm:pt modelId="{901714CC-5810-4859-B458-EA66EAEE3E1A}" type="sibTrans" cxnId="{4E61D12F-FD3A-410A-9DE4-CB514013C5E1}">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C74EAB3-BCAB-476B-BAA7-0ECD8C020F1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Omezení šedé ekonomiky</a:t>
          </a:r>
        </a:p>
      </dgm:t>
    </dgm:pt>
    <dgm:pt modelId="{770663B0-B946-4505-BC7D-A73C703B55D6}" type="parTrans" cxnId="{AF8D667C-EA3E-4B0F-906D-CF8BB7814FCF}">
      <dgm:prSet/>
      <dgm:spPr/>
      <dgm:t>
        <a:bodyPr/>
        <a:lstStyle/>
        <a:p>
          <a:endParaRPr lang="cs-CZ" sz="1000">
            <a:solidFill>
              <a:schemeClr val="bg1">
                <a:lumMod val="10000"/>
              </a:schemeClr>
            </a:solidFill>
            <a:latin typeface="Fira Sans" panose="020B0503050000020004" pitchFamily="34" charset="0"/>
          </a:endParaRPr>
        </a:p>
      </dgm:t>
    </dgm:pt>
    <dgm:pt modelId="{1A1DE00F-F739-4D74-8165-4F41AA21E618}" type="sibTrans" cxnId="{AF8D667C-EA3E-4B0F-906D-CF8BB7814FCF}">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B2DAD1D-8172-415E-B516-6F72DF2C87E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Stabilizující bytová politika</a:t>
          </a:r>
        </a:p>
      </dgm:t>
    </dgm:pt>
    <dgm:pt modelId="{C8035952-8E3A-4BD6-A7F5-4E4E4BAC17BA}" type="parTrans" cxnId="{E394623A-8816-44FD-B1F9-E62C259667D6}">
      <dgm:prSet/>
      <dgm:spPr/>
      <dgm:t>
        <a:bodyPr/>
        <a:lstStyle/>
        <a:p>
          <a:endParaRPr lang="cs-CZ" sz="1000">
            <a:solidFill>
              <a:schemeClr val="bg1">
                <a:lumMod val="10000"/>
              </a:schemeClr>
            </a:solidFill>
            <a:latin typeface="Fira Sans" panose="020B0503050000020004" pitchFamily="34" charset="0"/>
          </a:endParaRPr>
        </a:p>
      </dgm:t>
    </dgm:pt>
    <dgm:pt modelId="{F0EC7CBB-5484-4BD6-A634-1E2C9CA1721C}" type="sibTrans" cxnId="{E394623A-8816-44FD-B1F9-E62C259667D6}">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D2B1CED-857B-4605-BB9A-FF6630D0A73A}">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Lepší regionální plánování</a:t>
          </a:r>
        </a:p>
      </dgm:t>
    </dgm:pt>
    <dgm:pt modelId="{80441468-4CC4-4758-BD74-5DCBE6E35490}" type="parTrans" cxnId="{17CB0FD6-A918-4B4A-BEB5-50F70517E213}">
      <dgm:prSet/>
      <dgm:spPr/>
      <dgm:t>
        <a:bodyPr/>
        <a:lstStyle/>
        <a:p>
          <a:endParaRPr lang="cs-CZ" sz="1000">
            <a:solidFill>
              <a:schemeClr val="bg1">
                <a:lumMod val="10000"/>
              </a:schemeClr>
            </a:solidFill>
            <a:latin typeface="Fira Sans" panose="020B0503050000020004" pitchFamily="34" charset="0"/>
          </a:endParaRPr>
        </a:p>
      </dgm:t>
    </dgm:pt>
    <dgm:pt modelId="{9FCD6D6B-256A-42C0-827A-5A1755FC9CD4}" type="sibTrans" cxnId="{17CB0FD6-A918-4B4A-BEB5-50F70517E213}">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48110C4-7D65-489B-A701-83D0DC5AE8EC}" type="pres">
      <dgm:prSet presAssocID="{DB849CB9-26DB-493F-9BC1-7B3FFAF2D0B0}" presName="cycle" presStyleCnt="0">
        <dgm:presLayoutVars>
          <dgm:dir/>
          <dgm:resizeHandles val="exact"/>
        </dgm:presLayoutVars>
      </dgm:prSet>
      <dgm:spPr/>
    </dgm:pt>
    <dgm:pt modelId="{1AF6340D-53D1-41C5-8C0B-08EA9545C9CA}" type="pres">
      <dgm:prSet presAssocID="{8DA66DDC-1E5A-4299-8A0E-881D8E75A2CC}" presName="node" presStyleLbl="node1" presStyleIdx="0" presStyleCnt="9" custScaleX="139153" custScaleY="202948" custRadScaleRad="99673" custRadScaleInc="-5788">
        <dgm:presLayoutVars>
          <dgm:bulletEnabled val="1"/>
        </dgm:presLayoutVars>
      </dgm:prSet>
      <dgm:spPr/>
    </dgm:pt>
    <dgm:pt modelId="{DA17744F-7756-497E-9D79-4C7A05934046}" type="pres">
      <dgm:prSet presAssocID="{8DA66DDC-1E5A-4299-8A0E-881D8E75A2CC}" presName="spNode" presStyleCnt="0"/>
      <dgm:spPr/>
    </dgm:pt>
    <dgm:pt modelId="{E9DE802E-AA1C-47D2-B31C-D706D532217F}" type="pres">
      <dgm:prSet presAssocID="{98560292-C631-40A2-A164-33B1AF7A4306}" presName="sibTrans" presStyleLbl="sibTrans1D1" presStyleIdx="0" presStyleCnt="9"/>
      <dgm:spPr/>
    </dgm:pt>
    <dgm:pt modelId="{60C3DCEE-F136-4943-9423-34ABC7ECBA28}" type="pres">
      <dgm:prSet presAssocID="{335946D3-CE81-4097-9C35-1E1F6569FA42}" presName="node" presStyleLbl="node1" presStyleIdx="1" presStyleCnt="9" custScaleX="131916" custScaleY="202948" custRadScaleRad="98998" custRadScaleInc="19231">
        <dgm:presLayoutVars>
          <dgm:bulletEnabled val="1"/>
        </dgm:presLayoutVars>
      </dgm:prSet>
      <dgm:spPr>
        <a:xfrm>
          <a:off x="4085154" y="261999"/>
          <a:ext cx="1007997" cy="1007999"/>
        </a:xfrm>
        <a:prstGeom prst="roundRect">
          <a:avLst/>
        </a:prstGeom>
      </dgm:spPr>
    </dgm:pt>
    <dgm:pt modelId="{B9476E57-7CE0-47CE-B6E4-5CAE7027C874}" type="pres">
      <dgm:prSet presAssocID="{335946D3-CE81-4097-9C35-1E1F6569FA42}" presName="spNode" presStyleCnt="0"/>
      <dgm:spPr/>
    </dgm:pt>
    <dgm:pt modelId="{9CAB07AB-CE92-410C-B67B-5C4D8E902D2A}" type="pres">
      <dgm:prSet presAssocID="{AE500029-4FDD-4F4B-9D2E-CC29E5BC7027}" presName="sibTrans" presStyleLbl="sibTrans1D1" presStyleIdx="1" presStyleCnt="9"/>
      <dgm:spPr/>
    </dgm:pt>
    <dgm:pt modelId="{4892BA54-D813-4A68-B3E7-D96A4C75350B}" type="pres">
      <dgm:prSet presAssocID="{61C3038A-F8DF-4E92-AD59-B100725A0594}" presName="node" presStyleLbl="node1" presStyleIdx="2" presStyleCnt="9" custScaleX="131916" custScaleY="202948" custRadScaleRad="99169" custRadScaleInc="24360">
        <dgm:presLayoutVars>
          <dgm:bulletEnabled val="1"/>
        </dgm:presLayoutVars>
      </dgm:prSet>
      <dgm:spPr/>
    </dgm:pt>
    <dgm:pt modelId="{E5E16593-B9D1-4553-AFA1-64DE3FE97FB1}" type="pres">
      <dgm:prSet presAssocID="{61C3038A-F8DF-4E92-AD59-B100725A0594}" presName="spNode" presStyleCnt="0"/>
      <dgm:spPr/>
    </dgm:pt>
    <dgm:pt modelId="{9A59F23A-A123-44F1-AA94-485DEFC35334}" type="pres">
      <dgm:prSet presAssocID="{79044CD3-DDAA-4003-9891-4C1966070FE0}" presName="sibTrans" presStyleLbl="sibTrans1D1" presStyleIdx="2" presStyleCnt="9"/>
      <dgm:spPr/>
    </dgm:pt>
    <dgm:pt modelId="{7F0EF2DB-CA93-47D2-9888-0F64D5429897}" type="pres">
      <dgm:prSet presAssocID="{FE25AE9C-AC8C-4D58-8F9A-F62CE0022D5B}" presName="node" presStyleLbl="node1" presStyleIdx="3" presStyleCnt="9" custScaleX="131916" custScaleY="202948">
        <dgm:presLayoutVars>
          <dgm:bulletEnabled val="1"/>
        </dgm:presLayoutVars>
      </dgm:prSet>
      <dgm:spPr/>
    </dgm:pt>
    <dgm:pt modelId="{0FF3A428-76C3-4980-A906-0D3407BA83D6}" type="pres">
      <dgm:prSet presAssocID="{FE25AE9C-AC8C-4D58-8F9A-F62CE0022D5B}" presName="spNode" presStyleCnt="0"/>
      <dgm:spPr/>
    </dgm:pt>
    <dgm:pt modelId="{5FED0FA7-BC7F-41E0-8CAF-C97921FF36FC}" type="pres">
      <dgm:prSet presAssocID="{3A83D1AE-4CA3-49D1-BED5-DC1B16F79E9E}" presName="sibTrans" presStyleLbl="sibTrans1D1" presStyleIdx="3" presStyleCnt="9"/>
      <dgm:spPr/>
    </dgm:pt>
    <dgm:pt modelId="{4D19C0EA-C762-4CE8-913E-EABD0E5484DC}" type="pres">
      <dgm:prSet presAssocID="{0541C16E-1944-4558-8F91-1E2BFBF2C4D3}" presName="node" presStyleLbl="node1" presStyleIdx="4" presStyleCnt="9" custScaleX="131916" custScaleY="202948" custRadScaleRad="98172" custRadScaleInc="18830">
        <dgm:presLayoutVars>
          <dgm:bulletEnabled val="1"/>
        </dgm:presLayoutVars>
      </dgm:prSet>
      <dgm:spPr/>
    </dgm:pt>
    <dgm:pt modelId="{33BAD236-73A4-4723-A81B-B9F75E7D7030}" type="pres">
      <dgm:prSet presAssocID="{0541C16E-1944-4558-8F91-1E2BFBF2C4D3}" presName="spNode" presStyleCnt="0"/>
      <dgm:spPr/>
    </dgm:pt>
    <dgm:pt modelId="{3D6F80AD-6340-4645-9BCC-9CC839122757}" type="pres">
      <dgm:prSet presAssocID="{79141A15-B5C5-43BE-A996-25475570F7D8}" presName="sibTrans" presStyleLbl="sibTrans1D1" presStyleIdx="4" presStyleCnt="9"/>
      <dgm:spPr/>
    </dgm:pt>
    <dgm:pt modelId="{528AFA7E-4BAB-480B-A44C-BB6650F77F5D}" type="pres">
      <dgm:prSet presAssocID="{45061020-A4FE-457E-B053-4BC20E225ADE}" presName="node" presStyleLbl="node1" presStyleIdx="5" presStyleCnt="9" custScaleX="131916" custScaleY="202948" custRadScaleRad="98713" custRadScaleInc="-21101">
        <dgm:presLayoutVars>
          <dgm:bulletEnabled val="1"/>
        </dgm:presLayoutVars>
      </dgm:prSet>
      <dgm:spPr/>
    </dgm:pt>
    <dgm:pt modelId="{B462E8CE-E696-4236-905E-97099BC38008}" type="pres">
      <dgm:prSet presAssocID="{45061020-A4FE-457E-B053-4BC20E225ADE}" presName="spNode" presStyleCnt="0"/>
      <dgm:spPr/>
    </dgm:pt>
    <dgm:pt modelId="{1343E8DF-26C2-49CF-9606-81DA3D5CDE84}" type="pres">
      <dgm:prSet presAssocID="{901714CC-5810-4859-B458-EA66EAEE3E1A}" presName="sibTrans" presStyleLbl="sibTrans1D1" presStyleIdx="5" presStyleCnt="9"/>
      <dgm:spPr/>
    </dgm:pt>
    <dgm:pt modelId="{8A8AB859-16A8-4B90-86A5-A979887A79EE}" type="pres">
      <dgm:prSet presAssocID="{4C74EAB3-BCAB-476B-BAA7-0ECD8C020F1D}" presName="node" presStyleLbl="node1" presStyleIdx="6" presStyleCnt="9" custScaleX="131916" custScaleY="202948">
        <dgm:presLayoutVars>
          <dgm:bulletEnabled val="1"/>
        </dgm:presLayoutVars>
      </dgm:prSet>
      <dgm:spPr/>
    </dgm:pt>
    <dgm:pt modelId="{4317596B-D96B-4E75-AD8B-9CC507AEB411}" type="pres">
      <dgm:prSet presAssocID="{4C74EAB3-BCAB-476B-BAA7-0ECD8C020F1D}" presName="spNode" presStyleCnt="0"/>
      <dgm:spPr/>
    </dgm:pt>
    <dgm:pt modelId="{8B833E3F-CBA5-496B-A09F-2E54FBEE637D}" type="pres">
      <dgm:prSet presAssocID="{1A1DE00F-F739-4D74-8165-4F41AA21E618}" presName="sibTrans" presStyleLbl="sibTrans1D1" presStyleIdx="6" presStyleCnt="9"/>
      <dgm:spPr/>
    </dgm:pt>
    <dgm:pt modelId="{82B9AEF2-7358-4ACD-B5D1-32CFCBB75FA8}" type="pres">
      <dgm:prSet presAssocID="{CB2DAD1D-8172-415E-B516-6F72DF2C87ED}" presName="node" presStyleLbl="node1" presStyleIdx="7" presStyleCnt="9" custScaleX="132582" custScaleY="203221" custRadScaleRad="99668" custRadScaleInc="-18782">
        <dgm:presLayoutVars>
          <dgm:bulletEnabled val="1"/>
        </dgm:presLayoutVars>
      </dgm:prSet>
      <dgm:spPr/>
    </dgm:pt>
    <dgm:pt modelId="{54C2FF6B-FAAC-4F5C-A4CA-B470EF3C66FC}" type="pres">
      <dgm:prSet presAssocID="{CB2DAD1D-8172-415E-B516-6F72DF2C87ED}" presName="spNode" presStyleCnt="0"/>
      <dgm:spPr/>
    </dgm:pt>
    <dgm:pt modelId="{2409D813-50DC-430D-9DC4-D4F889473FBF}" type="pres">
      <dgm:prSet presAssocID="{F0EC7CBB-5484-4BD6-A634-1E2C9CA1721C}" presName="sibTrans" presStyleLbl="sibTrans1D1" presStyleIdx="7" presStyleCnt="9"/>
      <dgm:spPr/>
    </dgm:pt>
    <dgm:pt modelId="{9E632469-FD25-49F8-A3BA-3185905D2710}" type="pres">
      <dgm:prSet presAssocID="{CD2B1CED-857B-4605-BB9A-FF6630D0A73A}" presName="node" presStyleLbl="node1" presStyleIdx="8" presStyleCnt="9" custScaleX="131916" custScaleY="202948" custRadScaleRad="97871" custRadScaleInc="-13804">
        <dgm:presLayoutVars>
          <dgm:bulletEnabled val="1"/>
        </dgm:presLayoutVars>
      </dgm:prSet>
      <dgm:spPr/>
    </dgm:pt>
    <dgm:pt modelId="{8FEB6B7F-1726-4EE0-BBCF-EC54C40EE5A0}" type="pres">
      <dgm:prSet presAssocID="{CD2B1CED-857B-4605-BB9A-FF6630D0A73A}" presName="spNode" presStyleCnt="0"/>
      <dgm:spPr/>
    </dgm:pt>
    <dgm:pt modelId="{E93F9C88-6935-4B51-BEC8-146655D1ACB5}" type="pres">
      <dgm:prSet presAssocID="{9FCD6D6B-256A-42C0-827A-5A1755FC9CD4}" presName="sibTrans" presStyleLbl="sibTrans1D1" presStyleIdx="8" presStyleCnt="9"/>
      <dgm:spPr/>
    </dgm:pt>
  </dgm:ptLst>
  <dgm:cxnLst>
    <dgm:cxn modelId="{19D95308-0553-4600-8CCD-6936C10B4B14}" type="presOf" srcId="{9FCD6D6B-256A-42C0-827A-5A1755FC9CD4}" destId="{E93F9C88-6935-4B51-BEC8-146655D1ACB5}" srcOrd="0" destOrd="0" presId="urn:microsoft.com/office/officeart/2005/8/layout/cycle6"/>
    <dgm:cxn modelId="{9892B912-B6A4-4A97-BBF4-556EB7C4185C}" type="presOf" srcId="{79141A15-B5C5-43BE-A996-25475570F7D8}" destId="{3D6F80AD-6340-4645-9BCC-9CC839122757}" srcOrd="0" destOrd="0" presId="urn:microsoft.com/office/officeart/2005/8/layout/cycle6"/>
    <dgm:cxn modelId="{1C8CA215-762A-4415-8E6D-D991EE0C98C2}" type="presOf" srcId="{CD2B1CED-857B-4605-BB9A-FF6630D0A73A}" destId="{9E632469-FD25-49F8-A3BA-3185905D2710}" srcOrd="0" destOrd="0" presId="urn:microsoft.com/office/officeart/2005/8/layout/cycle6"/>
    <dgm:cxn modelId="{4E61D12F-FD3A-410A-9DE4-CB514013C5E1}" srcId="{DB849CB9-26DB-493F-9BC1-7B3FFAF2D0B0}" destId="{45061020-A4FE-457E-B053-4BC20E225ADE}" srcOrd="5" destOrd="0" parTransId="{FB1F3FA9-3E85-4026-B041-C5FCFF660589}" sibTransId="{901714CC-5810-4859-B458-EA66EAEE3E1A}"/>
    <dgm:cxn modelId="{2C34A433-6607-45EE-B7C2-CB11C72D1220}" type="presOf" srcId="{79044CD3-DDAA-4003-9891-4C1966070FE0}" destId="{9A59F23A-A123-44F1-AA94-485DEFC35334}" srcOrd="0" destOrd="0" presId="urn:microsoft.com/office/officeart/2005/8/layout/cycle6"/>
    <dgm:cxn modelId="{373ACE34-BA8F-48EF-9D20-600D8F367550}" type="presOf" srcId="{0541C16E-1944-4558-8F91-1E2BFBF2C4D3}" destId="{4D19C0EA-C762-4CE8-913E-EABD0E5484DC}" srcOrd="0" destOrd="0" presId="urn:microsoft.com/office/officeart/2005/8/layout/cycle6"/>
    <dgm:cxn modelId="{E394623A-8816-44FD-B1F9-E62C259667D6}" srcId="{DB849CB9-26DB-493F-9BC1-7B3FFAF2D0B0}" destId="{CB2DAD1D-8172-415E-B516-6F72DF2C87ED}" srcOrd="7" destOrd="0" parTransId="{C8035952-8E3A-4BD6-A7F5-4E4E4BAC17BA}" sibTransId="{F0EC7CBB-5484-4BD6-A634-1E2C9CA1721C}"/>
    <dgm:cxn modelId="{DD77F83D-8C8D-4CAF-AADD-4CA7A26FB3C0}" type="presOf" srcId="{3A83D1AE-4CA3-49D1-BED5-DC1B16F79E9E}" destId="{5FED0FA7-BC7F-41E0-8CAF-C97921FF36FC}" srcOrd="0" destOrd="0" presId="urn:microsoft.com/office/officeart/2005/8/layout/cycle6"/>
    <dgm:cxn modelId="{B5837060-CD0D-454A-80FF-2FF57B65D03E}" srcId="{DB849CB9-26DB-493F-9BC1-7B3FFAF2D0B0}" destId="{FE25AE9C-AC8C-4D58-8F9A-F62CE0022D5B}" srcOrd="3" destOrd="0" parTransId="{3DF2A404-A472-48AE-B55E-A08A9DE95A8A}" sibTransId="{3A83D1AE-4CA3-49D1-BED5-DC1B16F79E9E}"/>
    <dgm:cxn modelId="{2566F96C-F373-4362-A34E-2367EABB4789}" type="presOf" srcId="{FE25AE9C-AC8C-4D58-8F9A-F62CE0022D5B}" destId="{7F0EF2DB-CA93-47D2-9888-0F64D5429897}" srcOrd="0" destOrd="0" presId="urn:microsoft.com/office/officeart/2005/8/layout/cycle6"/>
    <dgm:cxn modelId="{E6E9BB6E-B5CE-4603-BDA4-4AE1356356EF}" type="presOf" srcId="{8DA66DDC-1E5A-4299-8A0E-881D8E75A2CC}" destId="{1AF6340D-53D1-41C5-8C0B-08EA9545C9CA}" srcOrd="0" destOrd="0" presId="urn:microsoft.com/office/officeart/2005/8/layout/cycle6"/>
    <dgm:cxn modelId="{17A4B057-35C8-41F1-9648-864A5C9B578D}" type="presOf" srcId="{CB2DAD1D-8172-415E-B516-6F72DF2C87ED}" destId="{82B9AEF2-7358-4ACD-B5D1-32CFCBB75FA8}" srcOrd="0" destOrd="0" presId="urn:microsoft.com/office/officeart/2005/8/layout/cycle6"/>
    <dgm:cxn modelId="{378F9878-6035-4F48-89E1-BFD8A4F16BDB}" type="presOf" srcId="{61C3038A-F8DF-4E92-AD59-B100725A0594}" destId="{4892BA54-D813-4A68-B3E7-D96A4C75350B}" srcOrd="0" destOrd="0" presId="urn:microsoft.com/office/officeart/2005/8/layout/cycle6"/>
    <dgm:cxn modelId="{94F8827A-900A-4D58-A084-AE208E3CFEB5}" type="presOf" srcId="{1A1DE00F-F739-4D74-8165-4F41AA21E618}" destId="{8B833E3F-CBA5-496B-A09F-2E54FBEE637D}" srcOrd="0" destOrd="0" presId="urn:microsoft.com/office/officeart/2005/8/layout/cycle6"/>
    <dgm:cxn modelId="{AF8D667C-EA3E-4B0F-906D-CF8BB7814FCF}" srcId="{DB849CB9-26DB-493F-9BC1-7B3FFAF2D0B0}" destId="{4C74EAB3-BCAB-476B-BAA7-0ECD8C020F1D}" srcOrd="6" destOrd="0" parTransId="{770663B0-B946-4505-BC7D-A73C703B55D6}" sibTransId="{1A1DE00F-F739-4D74-8165-4F41AA21E618}"/>
    <dgm:cxn modelId="{4CE94693-C180-4EC4-9FCF-513C240B9E67}" type="presOf" srcId="{98560292-C631-40A2-A164-33B1AF7A4306}" destId="{E9DE802E-AA1C-47D2-B31C-D706D532217F}" srcOrd="0" destOrd="0" presId="urn:microsoft.com/office/officeart/2005/8/layout/cycle6"/>
    <dgm:cxn modelId="{C3F4569C-0137-47FF-9FCA-D223C87684A5}" type="presOf" srcId="{45061020-A4FE-457E-B053-4BC20E225ADE}" destId="{528AFA7E-4BAB-480B-A44C-BB6650F77F5D}" srcOrd="0" destOrd="0" presId="urn:microsoft.com/office/officeart/2005/8/layout/cycle6"/>
    <dgm:cxn modelId="{B9952EB2-29F7-4765-B9B8-7D6F2CDFB527}" type="presOf" srcId="{F0EC7CBB-5484-4BD6-A634-1E2C9CA1721C}" destId="{2409D813-50DC-430D-9DC4-D4F889473FBF}" srcOrd="0" destOrd="0" presId="urn:microsoft.com/office/officeart/2005/8/layout/cycle6"/>
    <dgm:cxn modelId="{1CBE8DB5-E03A-4256-B4B1-9F28955979DC}" srcId="{DB849CB9-26DB-493F-9BC1-7B3FFAF2D0B0}" destId="{335946D3-CE81-4097-9C35-1E1F6569FA42}" srcOrd="1" destOrd="0" parTransId="{BC15C49E-B66A-4EA0-9A6A-9B01BB034923}" sibTransId="{AE500029-4FDD-4F4B-9D2E-CC29E5BC7027}"/>
    <dgm:cxn modelId="{4E85D2B8-6129-4AA8-8720-C90C2083490A}" srcId="{DB849CB9-26DB-493F-9BC1-7B3FFAF2D0B0}" destId="{0541C16E-1944-4558-8F91-1E2BFBF2C4D3}" srcOrd="4" destOrd="0" parTransId="{74B3290C-9CED-4B3B-8D13-53F98AC72B52}" sibTransId="{79141A15-B5C5-43BE-A996-25475570F7D8}"/>
    <dgm:cxn modelId="{DABF91B9-8897-4255-84DD-793AC22AF8DB}" type="presOf" srcId="{4C74EAB3-BCAB-476B-BAA7-0ECD8C020F1D}" destId="{8A8AB859-16A8-4B90-86A5-A979887A79EE}" srcOrd="0" destOrd="0" presId="urn:microsoft.com/office/officeart/2005/8/layout/cycle6"/>
    <dgm:cxn modelId="{34D9E2BA-6362-4232-A9F8-921720D860C4}" type="presOf" srcId="{335946D3-CE81-4097-9C35-1E1F6569FA42}" destId="{60C3DCEE-F136-4943-9423-34ABC7ECBA28}" srcOrd="0" destOrd="0" presId="urn:microsoft.com/office/officeart/2005/8/layout/cycle6"/>
    <dgm:cxn modelId="{0455ABBC-94C4-469B-966A-38C9C019DBBE}" type="presOf" srcId="{901714CC-5810-4859-B458-EA66EAEE3E1A}" destId="{1343E8DF-26C2-49CF-9606-81DA3D5CDE84}" srcOrd="0" destOrd="0" presId="urn:microsoft.com/office/officeart/2005/8/layout/cycle6"/>
    <dgm:cxn modelId="{8ABC4EC6-D375-4671-A3A1-D96EFFAC3947}" srcId="{DB849CB9-26DB-493F-9BC1-7B3FFAF2D0B0}" destId="{8DA66DDC-1E5A-4299-8A0E-881D8E75A2CC}" srcOrd="0" destOrd="0" parTransId="{45B4CB81-8882-4D22-8D28-F64A5089339A}" sibTransId="{98560292-C631-40A2-A164-33B1AF7A4306}"/>
    <dgm:cxn modelId="{17CB0FD6-A918-4B4A-BEB5-50F70517E213}" srcId="{DB849CB9-26DB-493F-9BC1-7B3FFAF2D0B0}" destId="{CD2B1CED-857B-4605-BB9A-FF6630D0A73A}" srcOrd="8" destOrd="0" parTransId="{80441468-4CC4-4758-BD74-5DCBE6E35490}" sibTransId="{9FCD6D6B-256A-42C0-827A-5A1755FC9CD4}"/>
    <dgm:cxn modelId="{6E0BA1F7-E2CE-4609-B6EB-F3BF636379F8}" srcId="{DB849CB9-26DB-493F-9BC1-7B3FFAF2D0B0}" destId="{61C3038A-F8DF-4E92-AD59-B100725A0594}" srcOrd="2" destOrd="0" parTransId="{EA7257B8-591F-426F-A471-E340593C1FB1}" sibTransId="{79044CD3-DDAA-4003-9891-4C1966070FE0}"/>
    <dgm:cxn modelId="{F48028FA-CB7B-43CB-B087-075AC66BF1ED}" type="presOf" srcId="{AE500029-4FDD-4F4B-9D2E-CC29E5BC7027}" destId="{9CAB07AB-CE92-410C-B67B-5C4D8E902D2A}" srcOrd="0" destOrd="0" presId="urn:microsoft.com/office/officeart/2005/8/layout/cycle6"/>
    <dgm:cxn modelId="{A92EA1FF-8CCE-4E66-8BD5-56439B95DEF7}" type="presOf" srcId="{DB849CB9-26DB-493F-9BC1-7B3FFAF2D0B0}" destId="{F48110C4-7D65-489B-A701-83D0DC5AE8EC}" srcOrd="0" destOrd="0" presId="urn:microsoft.com/office/officeart/2005/8/layout/cycle6"/>
    <dgm:cxn modelId="{6F69C911-369B-44F7-9C97-F7F96E2FA293}" type="presParOf" srcId="{F48110C4-7D65-489B-A701-83D0DC5AE8EC}" destId="{1AF6340D-53D1-41C5-8C0B-08EA9545C9CA}" srcOrd="0" destOrd="0" presId="urn:microsoft.com/office/officeart/2005/8/layout/cycle6"/>
    <dgm:cxn modelId="{FF3FE373-4B26-4B59-9FD0-3D77BE766A15}" type="presParOf" srcId="{F48110C4-7D65-489B-A701-83D0DC5AE8EC}" destId="{DA17744F-7756-497E-9D79-4C7A05934046}" srcOrd="1" destOrd="0" presId="urn:microsoft.com/office/officeart/2005/8/layout/cycle6"/>
    <dgm:cxn modelId="{2C38A5EC-FF65-48A7-B427-8CBB4B1BC020}" type="presParOf" srcId="{F48110C4-7D65-489B-A701-83D0DC5AE8EC}" destId="{E9DE802E-AA1C-47D2-B31C-D706D532217F}" srcOrd="2" destOrd="0" presId="urn:microsoft.com/office/officeart/2005/8/layout/cycle6"/>
    <dgm:cxn modelId="{1D0BAE15-8F1F-40DD-B9D0-5A09FBE8146E}" type="presParOf" srcId="{F48110C4-7D65-489B-A701-83D0DC5AE8EC}" destId="{60C3DCEE-F136-4943-9423-34ABC7ECBA28}" srcOrd="3" destOrd="0" presId="urn:microsoft.com/office/officeart/2005/8/layout/cycle6"/>
    <dgm:cxn modelId="{2D9FB7EC-788F-4DCA-BA96-45271BD1C68E}" type="presParOf" srcId="{F48110C4-7D65-489B-A701-83D0DC5AE8EC}" destId="{B9476E57-7CE0-47CE-B6E4-5CAE7027C874}" srcOrd="4" destOrd="0" presId="urn:microsoft.com/office/officeart/2005/8/layout/cycle6"/>
    <dgm:cxn modelId="{4E62C4DF-0E30-4715-A0EF-D03E8C33B00E}" type="presParOf" srcId="{F48110C4-7D65-489B-A701-83D0DC5AE8EC}" destId="{9CAB07AB-CE92-410C-B67B-5C4D8E902D2A}" srcOrd="5" destOrd="0" presId="urn:microsoft.com/office/officeart/2005/8/layout/cycle6"/>
    <dgm:cxn modelId="{F7247D54-048D-4324-8C84-61B8EFEEB6AB}" type="presParOf" srcId="{F48110C4-7D65-489B-A701-83D0DC5AE8EC}" destId="{4892BA54-D813-4A68-B3E7-D96A4C75350B}" srcOrd="6" destOrd="0" presId="urn:microsoft.com/office/officeart/2005/8/layout/cycle6"/>
    <dgm:cxn modelId="{ED5D1DC8-1B6D-4A34-9E7D-33811ED85649}" type="presParOf" srcId="{F48110C4-7D65-489B-A701-83D0DC5AE8EC}" destId="{E5E16593-B9D1-4553-AFA1-64DE3FE97FB1}" srcOrd="7" destOrd="0" presId="urn:microsoft.com/office/officeart/2005/8/layout/cycle6"/>
    <dgm:cxn modelId="{075ED98B-21A7-47D6-9095-04237B95C8EC}" type="presParOf" srcId="{F48110C4-7D65-489B-A701-83D0DC5AE8EC}" destId="{9A59F23A-A123-44F1-AA94-485DEFC35334}" srcOrd="8" destOrd="0" presId="urn:microsoft.com/office/officeart/2005/8/layout/cycle6"/>
    <dgm:cxn modelId="{4ECD8D6A-5EDE-42AA-924B-A68B7C1D51C7}" type="presParOf" srcId="{F48110C4-7D65-489B-A701-83D0DC5AE8EC}" destId="{7F0EF2DB-CA93-47D2-9888-0F64D5429897}" srcOrd="9" destOrd="0" presId="urn:microsoft.com/office/officeart/2005/8/layout/cycle6"/>
    <dgm:cxn modelId="{86FE4081-6567-4167-9855-402ECA65C4AC}" type="presParOf" srcId="{F48110C4-7D65-489B-A701-83D0DC5AE8EC}" destId="{0FF3A428-76C3-4980-A906-0D3407BA83D6}" srcOrd="10" destOrd="0" presId="urn:microsoft.com/office/officeart/2005/8/layout/cycle6"/>
    <dgm:cxn modelId="{4AC041CF-C7BF-49D7-AE79-B0C535073F35}" type="presParOf" srcId="{F48110C4-7D65-489B-A701-83D0DC5AE8EC}" destId="{5FED0FA7-BC7F-41E0-8CAF-C97921FF36FC}" srcOrd="11" destOrd="0" presId="urn:microsoft.com/office/officeart/2005/8/layout/cycle6"/>
    <dgm:cxn modelId="{86ABD50E-8C44-461B-87D1-1AED602DE47E}" type="presParOf" srcId="{F48110C4-7D65-489B-A701-83D0DC5AE8EC}" destId="{4D19C0EA-C762-4CE8-913E-EABD0E5484DC}" srcOrd="12" destOrd="0" presId="urn:microsoft.com/office/officeart/2005/8/layout/cycle6"/>
    <dgm:cxn modelId="{A785583F-D040-4DB0-93B3-C34FBABCDE40}" type="presParOf" srcId="{F48110C4-7D65-489B-A701-83D0DC5AE8EC}" destId="{33BAD236-73A4-4723-A81B-B9F75E7D7030}" srcOrd="13" destOrd="0" presId="urn:microsoft.com/office/officeart/2005/8/layout/cycle6"/>
    <dgm:cxn modelId="{FF371412-DFB4-473F-AD52-EA26610A5BA1}" type="presParOf" srcId="{F48110C4-7D65-489B-A701-83D0DC5AE8EC}" destId="{3D6F80AD-6340-4645-9BCC-9CC839122757}" srcOrd="14" destOrd="0" presId="urn:microsoft.com/office/officeart/2005/8/layout/cycle6"/>
    <dgm:cxn modelId="{8B55A0B9-CE7B-4B21-93A8-006205FAB1C2}" type="presParOf" srcId="{F48110C4-7D65-489B-A701-83D0DC5AE8EC}" destId="{528AFA7E-4BAB-480B-A44C-BB6650F77F5D}" srcOrd="15" destOrd="0" presId="urn:microsoft.com/office/officeart/2005/8/layout/cycle6"/>
    <dgm:cxn modelId="{52347E4E-2D2A-458C-B241-355721D39386}" type="presParOf" srcId="{F48110C4-7D65-489B-A701-83D0DC5AE8EC}" destId="{B462E8CE-E696-4236-905E-97099BC38008}" srcOrd="16" destOrd="0" presId="urn:microsoft.com/office/officeart/2005/8/layout/cycle6"/>
    <dgm:cxn modelId="{111C3A2C-9D96-4C5D-9F94-6C75A666D432}" type="presParOf" srcId="{F48110C4-7D65-489B-A701-83D0DC5AE8EC}" destId="{1343E8DF-26C2-49CF-9606-81DA3D5CDE84}" srcOrd="17" destOrd="0" presId="urn:microsoft.com/office/officeart/2005/8/layout/cycle6"/>
    <dgm:cxn modelId="{74E6F29E-599F-4E84-8E06-89870DFE3330}" type="presParOf" srcId="{F48110C4-7D65-489B-A701-83D0DC5AE8EC}" destId="{8A8AB859-16A8-4B90-86A5-A979887A79EE}" srcOrd="18" destOrd="0" presId="urn:microsoft.com/office/officeart/2005/8/layout/cycle6"/>
    <dgm:cxn modelId="{8113408E-2983-4DF6-A3FD-D6432B49C07E}" type="presParOf" srcId="{F48110C4-7D65-489B-A701-83D0DC5AE8EC}" destId="{4317596B-D96B-4E75-AD8B-9CC507AEB411}" srcOrd="19" destOrd="0" presId="urn:microsoft.com/office/officeart/2005/8/layout/cycle6"/>
    <dgm:cxn modelId="{0B9B6AF8-B137-45C5-B53C-C5D6315E1F73}" type="presParOf" srcId="{F48110C4-7D65-489B-A701-83D0DC5AE8EC}" destId="{8B833E3F-CBA5-496B-A09F-2E54FBEE637D}" srcOrd="20" destOrd="0" presId="urn:microsoft.com/office/officeart/2005/8/layout/cycle6"/>
    <dgm:cxn modelId="{F7B135A9-DF18-425B-AFE9-0820BC4D0593}" type="presParOf" srcId="{F48110C4-7D65-489B-A701-83D0DC5AE8EC}" destId="{82B9AEF2-7358-4ACD-B5D1-32CFCBB75FA8}" srcOrd="21" destOrd="0" presId="urn:microsoft.com/office/officeart/2005/8/layout/cycle6"/>
    <dgm:cxn modelId="{A90536E3-CC11-4FB0-9102-234743CD9930}" type="presParOf" srcId="{F48110C4-7D65-489B-A701-83D0DC5AE8EC}" destId="{54C2FF6B-FAAC-4F5C-A4CA-B470EF3C66FC}" srcOrd="22" destOrd="0" presId="urn:microsoft.com/office/officeart/2005/8/layout/cycle6"/>
    <dgm:cxn modelId="{A5DFFA52-BA24-46C0-9890-53F516869EDF}" type="presParOf" srcId="{F48110C4-7D65-489B-A701-83D0DC5AE8EC}" destId="{2409D813-50DC-430D-9DC4-D4F889473FBF}" srcOrd="23" destOrd="0" presId="urn:microsoft.com/office/officeart/2005/8/layout/cycle6"/>
    <dgm:cxn modelId="{508CF65A-A4D7-41F1-9883-465C3B74EB04}" type="presParOf" srcId="{F48110C4-7D65-489B-A701-83D0DC5AE8EC}" destId="{9E632469-FD25-49F8-A3BA-3185905D2710}" srcOrd="24" destOrd="0" presId="urn:microsoft.com/office/officeart/2005/8/layout/cycle6"/>
    <dgm:cxn modelId="{AE5722DA-57CD-4A38-8F30-94DEDEA66C45}" type="presParOf" srcId="{F48110C4-7D65-489B-A701-83D0DC5AE8EC}" destId="{8FEB6B7F-1726-4EE0-BBCF-EC54C40EE5A0}" srcOrd="25" destOrd="0" presId="urn:microsoft.com/office/officeart/2005/8/layout/cycle6"/>
    <dgm:cxn modelId="{DAB34BD0-6F99-4A49-BE6B-D2A9CA1E8461}" type="presParOf" srcId="{F48110C4-7D65-489B-A701-83D0DC5AE8EC}" destId="{E93F9C88-6935-4B51-BEC8-146655D1ACB5}" srcOrd="26"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B849CB9-26DB-493F-9BC1-7B3FFAF2D0B0}" type="doc">
      <dgm:prSet loTypeId="urn:microsoft.com/office/officeart/2005/8/layout/cycle6" loCatId="cycle" qsTypeId="urn:microsoft.com/office/officeart/2005/8/quickstyle/simple1" qsCatId="simple" csTypeId="urn:microsoft.com/office/officeart/2005/8/colors/accent0_2" csCatId="mainScheme" phldr="1"/>
      <dgm:spPr/>
      <dgm:t>
        <a:bodyPr/>
        <a:lstStyle/>
        <a:p>
          <a:endParaRPr lang="cs-CZ"/>
        </a:p>
      </dgm:t>
    </dgm:pt>
    <dgm:pt modelId="{8DA66DDC-1E5A-4299-8A0E-881D8E75A2CC}">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Koncentrace EU dotací</a:t>
          </a:r>
        </a:p>
      </dgm:t>
    </dgm:pt>
    <dgm:pt modelId="{45B4CB81-8882-4D22-8D28-F64A5089339A}" type="parTrans" cxnId="{8ABC4EC6-D375-4671-A3A1-D96EFFAC3947}">
      <dgm:prSet/>
      <dgm:spPr/>
      <dgm:t>
        <a:bodyPr/>
        <a:lstStyle/>
        <a:p>
          <a:endParaRPr lang="cs-CZ" sz="1000">
            <a:solidFill>
              <a:schemeClr val="bg1">
                <a:lumMod val="10000"/>
              </a:schemeClr>
            </a:solidFill>
            <a:latin typeface="Fira Sans" panose="020B0503050000020004" pitchFamily="34" charset="0"/>
          </a:endParaRPr>
        </a:p>
      </dgm:t>
    </dgm:pt>
    <dgm:pt modelId="{98560292-C631-40A2-A164-33B1AF7A4306}" type="sibTrans" cxnId="{8ABC4EC6-D375-4671-A3A1-D96EFFAC3947}">
      <dgm:prSet/>
      <dgm:spPr>
        <a:solidFill>
          <a:srgbClr val="64BCA9"/>
        </a:solidFill>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335946D3-CE81-4097-9C35-1E1F6569FA42}">
      <dgm:prSet phldrT="[Text]" custT="1">
        <dgm:style>
          <a:lnRef idx="2">
            <a:schemeClr val="accent5"/>
          </a:lnRef>
          <a:fillRef idx="1">
            <a:schemeClr val="lt1"/>
          </a:fillRef>
          <a:effectRef idx="0">
            <a:schemeClr val="accent5"/>
          </a:effectRef>
          <a:fontRef idx="minor">
            <a:schemeClr val="dk1"/>
          </a:fontRef>
        </dgm:style>
      </dgm:prSet>
      <dgm:spPr>
        <a:solidFill>
          <a:srgbClr val="EAEAEA"/>
        </a:solidFill>
        <a:ln w="25400" cap="flat" cmpd="sng" algn="ctr">
          <a:no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gm:t>
    </dgm:pt>
    <dgm:pt modelId="{BC15C49E-B66A-4EA0-9A6A-9B01BB034923}" type="parTrans" cxnId="{1CBE8DB5-E03A-4256-B4B1-9F28955979DC}">
      <dgm:prSet/>
      <dgm:spPr/>
      <dgm:t>
        <a:bodyPr/>
        <a:lstStyle/>
        <a:p>
          <a:endParaRPr lang="cs-CZ" sz="1000">
            <a:solidFill>
              <a:schemeClr val="bg1">
                <a:lumMod val="10000"/>
              </a:schemeClr>
            </a:solidFill>
            <a:latin typeface="Fira Sans" panose="020B0503050000020004" pitchFamily="34" charset="0"/>
          </a:endParaRPr>
        </a:p>
      </dgm:t>
    </dgm:pt>
    <dgm:pt modelId="{AE500029-4FDD-4F4B-9D2E-CC29E5BC7027}" type="sibTrans" cxnId="{1CBE8DB5-E03A-4256-B4B1-9F28955979DC}">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61C3038A-F8DF-4E92-AD59-B100725A0594}">
      <dgm:prSet phldrT="[Text]" custT="1"/>
      <dgm:spPr>
        <a:solidFill>
          <a:srgbClr val="64BCA9"/>
        </a:solidFill>
        <a:ln>
          <a:noFill/>
        </a:ln>
      </dgm:spPr>
      <dgm:t>
        <a:bodyPr/>
        <a:lstStyle/>
        <a:p>
          <a:r>
            <a:rPr lang="cs-CZ" sz="1000" b="1">
              <a:solidFill>
                <a:schemeClr val="bg1">
                  <a:lumMod val="10000"/>
                </a:schemeClr>
              </a:solidFill>
              <a:latin typeface="Fira Sans" panose="020B0503050000020004" pitchFamily="34" charset="0"/>
            </a:rPr>
            <a:t>Řízení samospráv</a:t>
          </a:r>
        </a:p>
      </dgm:t>
    </dgm:pt>
    <dgm:pt modelId="{EA7257B8-591F-426F-A471-E340593C1FB1}" type="parTrans" cxnId="{6E0BA1F7-E2CE-4609-B6EB-F3BF636379F8}">
      <dgm:prSet/>
      <dgm:spPr/>
      <dgm:t>
        <a:bodyPr/>
        <a:lstStyle/>
        <a:p>
          <a:endParaRPr lang="cs-CZ" sz="1000">
            <a:solidFill>
              <a:schemeClr val="bg1">
                <a:lumMod val="10000"/>
              </a:schemeClr>
            </a:solidFill>
            <a:latin typeface="Fira Sans" panose="020B0503050000020004" pitchFamily="34" charset="0"/>
          </a:endParaRPr>
        </a:p>
      </dgm:t>
    </dgm:pt>
    <dgm:pt modelId="{79044CD3-DDAA-4003-9891-4C1966070FE0}" type="sibTrans" cxnId="{6E0BA1F7-E2CE-4609-B6EB-F3BF636379F8}">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E25AE9C-AC8C-4D58-8F9A-F62CE0022D5B}">
      <dgm:prSet phldrT="[Tex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Motivace k soukromým investicím</a:t>
          </a:r>
        </a:p>
      </dgm:t>
    </dgm:pt>
    <dgm:pt modelId="{3DF2A404-A472-48AE-B55E-A08A9DE95A8A}" type="parTrans" cxnId="{B5837060-CD0D-454A-80FF-2FF57B65D03E}">
      <dgm:prSet/>
      <dgm:spPr/>
      <dgm:t>
        <a:bodyPr/>
        <a:lstStyle/>
        <a:p>
          <a:endParaRPr lang="cs-CZ" sz="1000">
            <a:solidFill>
              <a:schemeClr val="bg1">
                <a:lumMod val="10000"/>
              </a:schemeClr>
            </a:solidFill>
            <a:latin typeface="Fira Sans" panose="020B0503050000020004" pitchFamily="34" charset="0"/>
          </a:endParaRPr>
        </a:p>
      </dgm:t>
    </dgm:pt>
    <dgm:pt modelId="{3A83D1AE-4CA3-49D1-BED5-DC1B16F79E9E}" type="sibTrans" cxnId="{B5837060-CD0D-454A-80FF-2FF57B65D03E}">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0541C16E-1944-4558-8F91-1E2BFBF2C4D3}">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Chytřejší daně</a:t>
          </a:r>
        </a:p>
      </dgm:t>
    </dgm:pt>
    <dgm:pt modelId="{74B3290C-9CED-4B3B-8D13-53F98AC72B52}" type="parTrans" cxnId="{4E85D2B8-6129-4AA8-8720-C90C2083490A}">
      <dgm:prSet/>
      <dgm:spPr/>
      <dgm:t>
        <a:bodyPr/>
        <a:lstStyle/>
        <a:p>
          <a:endParaRPr lang="cs-CZ" sz="1000">
            <a:solidFill>
              <a:schemeClr val="bg1">
                <a:lumMod val="10000"/>
              </a:schemeClr>
            </a:solidFill>
            <a:latin typeface="Fira Sans" panose="020B0503050000020004" pitchFamily="34" charset="0"/>
          </a:endParaRPr>
        </a:p>
      </dgm:t>
    </dgm:pt>
    <dgm:pt modelId="{79141A15-B5C5-43BE-A996-25475570F7D8}" type="sibTrans" cxnId="{4E85D2B8-6129-4AA8-8720-C90C2083490A}">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5061020-A4FE-457E-B053-4BC20E225ADE}">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Podpora vzdělávání</a:t>
          </a:r>
        </a:p>
      </dgm:t>
    </dgm:pt>
    <dgm:pt modelId="{FB1F3FA9-3E85-4026-B041-C5FCFF660589}" type="parTrans" cxnId="{4E61D12F-FD3A-410A-9DE4-CB514013C5E1}">
      <dgm:prSet/>
      <dgm:spPr/>
      <dgm:t>
        <a:bodyPr/>
        <a:lstStyle/>
        <a:p>
          <a:endParaRPr lang="cs-CZ" sz="1000">
            <a:solidFill>
              <a:schemeClr val="bg1">
                <a:lumMod val="10000"/>
              </a:schemeClr>
            </a:solidFill>
            <a:latin typeface="Fira Sans" panose="020B0503050000020004" pitchFamily="34" charset="0"/>
          </a:endParaRPr>
        </a:p>
      </dgm:t>
    </dgm:pt>
    <dgm:pt modelId="{901714CC-5810-4859-B458-EA66EAEE3E1A}" type="sibTrans" cxnId="{4E61D12F-FD3A-410A-9DE4-CB514013C5E1}">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C74EAB3-BCAB-476B-BAA7-0ECD8C020F1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Omezení šedé ekonomiky</a:t>
          </a:r>
        </a:p>
      </dgm:t>
    </dgm:pt>
    <dgm:pt modelId="{770663B0-B946-4505-BC7D-A73C703B55D6}" type="parTrans" cxnId="{AF8D667C-EA3E-4B0F-906D-CF8BB7814FCF}">
      <dgm:prSet/>
      <dgm:spPr/>
      <dgm:t>
        <a:bodyPr/>
        <a:lstStyle/>
        <a:p>
          <a:endParaRPr lang="cs-CZ" sz="1000">
            <a:solidFill>
              <a:schemeClr val="bg1">
                <a:lumMod val="10000"/>
              </a:schemeClr>
            </a:solidFill>
            <a:latin typeface="Fira Sans" panose="020B0503050000020004" pitchFamily="34" charset="0"/>
          </a:endParaRPr>
        </a:p>
      </dgm:t>
    </dgm:pt>
    <dgm:pt modelId="{1A1DE00F-F739-4D74-8165-4F41AA21E618}" type="sibTrans" cxnId="{AF8D667C-EA3E-4B0F-906D-CF8BB7814FCF}">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B2DAD1D-8172-415E-B516-6F72DF2C87E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Stabilizující bytová politika</a:t>
          </a:r>
        </a:p>
      </dgm:t>
    </dgm:pt>
    <dgm:pt modelId="{C8035952-8E3A-4BD6-A7F5-4E4E4BAC17BA}" type="parTrans" cxnId="{E394623A-8816-44FD-B1F9-E62C259667D6}">
      <dgm:prSet/>
      <dgm:spPr/>
      <dgm:t>
        <a:bodyPr/>
        <a:lstStyle/>
        <a:p>
          <a:endParaRPr lang="cs-CZ" sz="1000">
            <a:solidFill>
              <a:schemeClr val="bg1">
                <a:lumMod val="10000"/>
              </a:schemeClr>
            </a:solidFill>
            <a:latin typeface="Fira Sans" panose="020B0503050000020004" pitchFamily="34" charset="0"/>
          </a:endParaRPr>
        </a:p>
      </dgm:t>
    </dgm:pt>
    <dgm:pt modelId="{F0EC7CBB-5484-4BD6-A634-1E2C9CA1721C}" type="sibTrans" cxnId="{E394623A-8816-44FD-B1F9-E62C259667D6}">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D2B1CED-857B-4605-BB9A-FF6630D0A73A}">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Lepší regionální plánování</a:t>
          </a:r>
        </a:p>
      </dgm:t>
    </dgm:pt>
    <dgm:pt modelId="{80441468-4CC4-4758-BD74-5DCBE6E35490}" type="parTrans" cxnId="{17CB0FD6-A918-4B4A-BEB5-50F70517E213}">
      <dgm:prSet/>
      <dgm:spPr/>
      <dgm:t>
        <a:bodyPr/>
        <a:lstStyle/>
        <a:p>
          <a:endParaRPr lang="cs-CZ" sz="1000">
            <a:solidFill>
              <a:schemeClr val="bg1">
                <a:lumMod val="10000"/>
              </a:schemeClr>
            </a:solidFill>
            <a:latin typeface="Fira Sans" panose="020B0503050000020004" pitchFamily="34" charset="0"/>
          </a:endParaRPr>
        </a:p>
      </dgm:t>
    </dgm:pt>
    <dgm:pt modelId="{9FCD6D6B-256A-42C0-827A-5A1755FC9CD4}" type="sibTrans" cxnId="{17CB0FD6-A918-4B4A-BEB5-50F70517E213}">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48110C4-7D65-489B-A701-83D0DC5AE8EC}" type="pres">
      <dgm:prSet presAssocID="{DB849CB9-26DB-493F-9BC1-7B3FFAF2D0B0}" presName="cycle" presStyleCnt="0">
        <dgm:presLayoutVars>
          <dgm:dir/>
          <dgm:resizeHandles val="exact"/>
        </dgm:presLayoutVars>
      </dgm:prSet>
      <dgm:spPr/>
    </dgm:pt>
    <dgm:pt modelId="{1AF6340D-53D1-41C5-8C0B-08EA9545C9CA}" type="pres">
      <dgm:prSet presAssocID="{8DA66DDC-1E5A-4299-8A0E-881D8E75A2CC}" presName="node" presStyleLbl="node1" presStyleIdx="0" presStyleCnt="9" custScaleX="139153" custScaleY="202948" custRadScaleRad="99673" custRadScaleInc="-5788">
        <dgm:presLayoutVars>
          <dgm:bulletEnabled val="1"/>
        </dgm:presLayoutVars>
      </dgm:prSet>
      <dgm:spPr/>
    </dgm:pt>
    <dgm:pt modelId="{DA17744F-7756-497E-9D79-4C7A05934046}" type="pres">
      <dgm:prSet presAssocID="{8DA66DDC-1E5A-4299-8A0E-881D8E75A2CC}" presName="spNode" presStyleCnt="0"/>
      <dgm:spPr/>
    </dgm:pt>
    <dgm:pt modelId="{E9DE802E-AA1C-47D2-B31C-D706D532217F}" type="pres">
      <dgm:prSet presAssocID="{98560292-C631-40A2-A164-33B1AF7A4306}" presName="sibTrans" presStyleLbl="sibTrans1D1" presStyleIdx="0" presStyleCnt="9"/>
      <dgm:spPr/>
    </dgm:pt>
    <dgm:pt modelId="{60C3DCEE-F136-4943-9423-34ABC7ECBA28}" type="pres">
      <dgm:prSet presAssocID="{335946D3-CE81-4097-9C35-1E1F6569FA42}" presName="node" presStyleLbl="node1" presStyleIdx="1" presStyleCnt="9" custScaleX="131916" custScaleY="202948" custRadScaleRad="98998" custRadScaleInc="19231">
        <dgm:presLayoutVars>
          <dgm:bulletEnabled val="1"/>
        </dgm:presLayoutVars>
      </dgm:prSet>
      <dgm:spPr>
        <a:xfrm>
          <a:off x="4085154" y="261999"/>
          <a:ext cx="1007997" cy="1007999"/>
        </a:xfrm>
        <a:prstGeom prst="roundRect">
          <a:avLst/>
        </a:prstGeom>
      </dgm:spPr>
    </dgm:pt>
    <dgm:pt modelId="{B9476E57-7CE0-47CE-B6E4-5CAE7027C874}" type="pres">
      <dgm:prSet presAssocID="{335946D3-CE81-4097-9C35-1E1F6569FA42}" presName="spNode" presStyleCnt="0"/>
      <dgm:spPr/>
    </dgm:pt>
    <dgm:pt modelId="{9CAB07AB-CE92-410C-B67B-5C4D8E902D2A}" type="pres">
      <dgm:prSet presAssocID="{AE500029-4FDD-4F4B-9D2E-CC29E5BC7027}" presName="sibTrans" presStyleLbl="sibTrans1D1" presStyleIdx="1" presStyleCnt="9"/>
      <dgm:spPr/>
    </dgm:pt>
    <dgm:pt modelId="{4892BA54-D813-4A68-B3E7-D96A4C75350B}" type="pres">
      <dgm:prSet presAssocID="{61C3038A-F8DF-4E92-AD59-B100725A0594}" presName="node" presStyleLbl="node1" presStyleIdx="2" presStyleCnt="9" custScaleX="131916" custScaleY="202948" custRadScaleRad="99169" custRadScaleInc="24360">
        <dgm:presLayoutVars>
          <dgm:bulletEnabled val="1"/>
        </dgm:presLayoutVars>
      </dgm:prSet>
      <dgm:spPr/>
    </dgm:pt>
    <dgm:pt modelId="{E5E16593-B9D1-4553-AFA1-64DE3FE97FB1}" type="pres">
      <dgm:prSet presAssocID="{61C3038A-F8DF-4E92-AD59-B100725A0594}" presName="spNode" presStyleCnt="0"/>
      <dgm:spPr/>
    </dgm:pt>
    <dgm:pt modelId="{9A59F23A-A123-44F1-AA94-485DEFC35334}" type="pres">
      <dgm:prSet presAssocID="{79044CD3-DDAA-4003-9891-4C1966070FE0}" presName="sibTrans" presStyleLbl="sibTrans1D1" presStyleIdx="2" presStyleCnt="9"/>
      <dgm:spPr/>
    </dgm:pt>
    <dgm:pt modelId="{7F0EF2DB-CA93-47D2-9888-0F64D5429897}" type="pres">
      <dgm:prSet presAssocID="{FE25AE9C-AC8C-4D58-8F9A-F62CE0022D5B}" presName="node" presStyleLbl="node1" presStyleIdx="3" presStyleCnt="9" custScaleX="131916" custScaleY="202948">
        <dgm:presLayoutVars>
          <dgm:bulletEnabled val="1"/>
        </dgm:presLayoutVars>
      </dgm:prSet>
      <dgm:spPr/>
    </dgm:pt>
    <dgm:pt modelId="{0FF3A428-76C3-4980-A906-0D3407BA83D6}" type="pres">
      <dgm:prSet presAssocID="{FE25AE9C-AC8C-4D58-8F9A-F62CE0022D5B}" presName="spNode" presStyleCnt="0"/>
      <dgm:spPr/>
    </dgm:pt>
    <dgm:pt modelId="{5FED0FA7-BC7F-41E0-8CAF-C97921FF36FC}" type="pres">
      <dgm:prSet presAssocID="{3A83D1AE-4CA3-49D1-BED5-DC1B16F79E9E}" presName="sibTrans" presStyleLbl="sibTrans1D1" presStyleIdx="3" presStyleCnt="9"/>
      <dgm:spPr/>
    </dgm:pt>
    <dgm:pt modelId="{4D19C0EA-C762-4CE8-913E-EABD0E5484DC}" type="pres">
      <dgm:prSet presAssocID="{0541C16E-1944-4558-8F91-1E2BFBF2C4D3}" presName="node" presStyleLbl="node1" presStyleIdx="4" presStyleCnt="9" custScaleX="131916" custScaleY="202948" custRadScaleRad="98172" custRadScaleInc="18830">
        <dgm:presLayoutVars>
          <dgm:bulletEnabled val="1"/>
        </dgm:presLayoutVars>
      </dgm:prSet>
      <dgm:spPr/>
    </dgm:pt>
    <dgm:pt modelId="{33BAD236-73A4-4723-A81B-B9F75E7D7030}" type="pres">
      <dgm:prSet presAssocID="{0541C16E-1944-4558-8F91-1E2BFBF2C4D3}" presName="spNode" presStyleCnt="0"/>
      <dgm:spPr/>
    </dgm:pt>
    <dgm:pt modelId="{3D6F80AD-6340-4645-9BCC-9CC839122757}" type="pres">
      <dgm:prSet presAssocID="{79141A15-B5C5-43BE-A996-25475570F7D8}" presName="sibTrans" presStyleLbl="sibTrans1D1" presStyleIdx="4" presStyleCnt="9"/>
      <dgm:spPr/>
    </dgm:pt>
    <dgm:pt modelId="{528AFA7E-4BAB-480B-A44C-BB6650F77F5D}" type="pres">
      <dgm:prSet presAssocID="{45061020-A4FE-457E-B053-4BC20E225ADE}" presName="node" presStyleLbl="node1" presStyleIdx="5" presStyleCnt="9" custScaleX="131916" custScaleY="202948" custRadScaleRad="98713" custRadScaleInc="-21101">
        <dgm:presLayoutVars>
          <dgm:bulletEnabled val="1"/>
        </dgm:presLayoutVars>
      </dgm:prSet>
      <dgm:spPr/>
    </dgm:pt>
    <dgm:pt modelId="{B462E8CE-E696-4236-905E-97099BC38008}" type="pres">
      <dgm:prSet presAssocID="{45061020-A4FE-457E-B053-4BC20E225ADE}" presName="spNode" presStyleCnt="0"/>
      <dgm:spPr/>
    </dgm:pt>
    <dgm:pt modelId="{1343E8DF-26C2-49CF-9606-81DA3D5CDE84}" type="pres">
      <dgm:prSet presAssocID="{901714CC-5810-4859-B458-EA66EAEE3E1A}" presName="sibTrans" presStyleLbl="sibTrans1D1" presStyleIdx="5" presStyleCnt="9"/>
      <dgm:spPr/>
    </dgm:pt>
    <dgm:pt modelId="{8A8AB859-16A8-4B90-86A5-A979887A79EE}" type="pres">
      <dgm:prSet presAssocID="{4C74EAB3-BCAB-476B-BAA7-0ECD8C020F1D}" presName="node" presStyleLbl="node1" presStyleIdx="6" presStyleCnt="9" custScaleX="131916" custScaleY="202948">
        <dgm:presLayoutVars>
          <dgm:bulletEnabled val="1"/>
        </dgm:presLayoutVars>
      </dgm:prSet>
      <dgm:spPr/>
    </dgm:pt>
    <dgm:pt modelId="{4317596B-D96B-4E75-AD8B-9CC507AEB411}" type="pres">
      <dgm:prSet presAssocID="{4C74EAB3-BCAB-476B-BAA7-0ECD8C020F1D}" presName="spNode" presStyleCnt="0"/>
      <dgm:spPr/>
    </dgm:pt>
    <dgm:pt modelId="{8B833E3F-CBA5-496B-A09F-2E54FBEE637D}" type="pres">
      <dgm:prSet presAssocID="{1A1DE00F-F739-4D74-8165-4F41AA21E618}" presName="sibTrans" presStyleLbl="sibTrans1D1" presStyleIdx="6" presStyleCnt="9"/>
      <dgm:spPr/>
    </dgm:pt>
    <dgm:pt modelId="{82B9AEF2-7358-4ACD-B5D1-32CFCBB75FA8}" type="pres">
      <dgm:prSet presAssocID="{CB2DAD1D-8172-415E-B516-6F72DF2C87ED}" presName="node" presStyleLbl="node1" presStyleIdx="7" presStyleCnt="9" custScaleX="132582" custScaleY="203221" custRadScaleRad="99668" custRadScaleInc="-18782">
        <dgm:presLayoutVars>
          <dgm:bulletEnabled val="1"/>
        </dgm:presLayoutVars>
      </dgm:prSet>
      <dgm:spPr/>
    </dgm:pt>
    <dgm:pt modelId="{54C2FF6B-FAAC-4F5C-A4CA-B470EF3C66FC}" type="pres">
      <dgm:prSet presAssocID="{CB2DAD1D-8172-415E-B516-6F72DF2C87ED}" presName="spNode" presStyleCnt="0"/>
      <dgm:spPr/>
    </dgm:pt>
    <dgm:pt modelId="{2409D813-50DC-430D-9DC4-D4F889473FBF}" type="pres">
      <dgm:prSet presAssocID="{F0EC7CBB-5484-4BD6-A634-1E2C9CA1721C}" presName="sibTrans" presStyleLbl="sibTrans1D1" presStyleIdx="7" presStyleCnt="9"/>
      <dgm:spPr/>
    </dgm:pt>
    <dgm:pt modelId="{9E632469-FD25-49F8-A3BA-3185905D2710}" type="pres">
      <dgm:prSet presAssocID="{CD2B1CED-857B-4605-BB9A-FF6630D0A73A}" presName="node" presStyleLbl="node1" presStyleIdx="8" presStyleCnt="9" custScaleX="131916" custScaleY="202948" custRadScaleRad="97871" custRadScaleInc="-13804">
        <dgm:presLayoutVars>
          <dgm:bulletEnabled val="1"/>
        </dgm:presLayoutVars>
      </dgm:prSet>
      <dgm:spPr/>
    </dgm:pt>
    <dgm:pt modelId="{8FEB6B7F-1726-4EE0-BBCF-EC54C40EE5A0}" type="pres">
      <dgm:prSet presAssocID="{CD2B1CED-857B-4605-BB9A-FF6630D0A73A}" presName="spNode" presStyleCnt="0"/>
      <dgm:spPr/>
    </dgm:pt>
    <dgm:pt modelId="{E93F9C88-6935-4B51-BEC8-146655D1ACB5}" type="pres">
      <dgm:prSet presAssocID="{9FCD6D6B-256A-42C0-827A-5A1755FC9CD4}" presName="sibTrans" presStyleLbl="sibTrans1D1" presStyleIdx="8" presStyleCnt="9"/>
      <dgm:spPr/>
    </dgm:pt>
  </dgm:ptLst>
  <dgm:cxnLst>
    <dgm:cxn modelId="{19D95308-0553-4600-8CCD-6936C10B4B14}" type="presOf" srcId="{9FCD6D6B-256A-42C0-827A-5A1755FC9CD4}" destId="{E93F9C88-6935-4B51-BEC8-146655D1ACB5}" srcOrd="0" destOrd="0" presId="urn:microsoft.com/office/officeart/2005/8/layout/cycle6"/>
    <dgm:cxn modelId="{9892B912-B6A4-4A97-BBF4-556EB7C4185C}" type="presOf" srcId="{79141A15-B5C5-43BE-A996-25475570F7D8}" destId="{3D6F80AD-6340-4645-9BCC-9CC839122757}" srcOrd="0" destOrd="0" presId="urn:microsoft.com/office/officeart/2005/8/layout/cycle6"/>
    <dgm:cxn modelId="{1C8CA215-762A-4415-8E6D-D991EE0C98C2}" type="presOf" srcId="{CD2B1CED-857B-4605-BB9A-FF6630D0A73A}" destId="{9E632469-FD25-49F8-A3BA-3185905D2710}" srcOrd="0" destOrd="0" presId="urn:microsoft.com/office/officeart/2005/8/layout/cycle6"/>
    <dgm:cxn modelId="{4E61D12F-FD3A-410A-9DE4-CB514013C5E1}" srcId="{DB849CB9-26DB-493F-9BC1-7B3FFAF2D0B0}" destId="{45061020-A4FE-457E-B053-4BC20E225ADE}" srcOrd="5" destOrd="0" parTransId="{FB1F3FA9-3E85-4026-B041-C5FCFF660589}" sibTransId="{901714CC-5810-4859-B458-EA66EAEE3E1A}"/>
    <dgm:cxn modelId="{2C34A433-6607-45EE-B7C2-CB11C72D1220}" type="presOf" srcId="{79044CD3-DDAA-4003-9891-4C1966070FE0}" destId="{9A59F23A-A123-44F1-AA94-485DEFC35334}" srcOrd="0" destOrd="0" presId="urn:microsoft.com/office/officeart/2005/8/layout/cycle6"/>
    <dgm:cxn modelId="{373ACE34-BA8F-48EF-9D20-600D8F367550}" type="presOf" srcId="{0541C16E-1944-4558-8F91-1E2BFBF2C4D3}" destId="{4D19C0EA-C762-4CE8-913E-EABD0E5484DC}" srcOrd="0" destOrd="0" presId="urn:microsoft.com/office/officeart/2005/8/layout/cycle6"/>
    <dgm:cxn modelId="{E394623A-8816-44FD-B1F9-E62C259667D6}" srcId="{DB849CB9-26DB-493F-9BC1-7B3FFAF2D0B0}" destId="{CB2DAD1D-8172-415E-B516-6F72DF2C87ED}" srcOrd="7" destOrd="0" parTransId="{C8035952-8E3A-4BD6-A7F5-4E4E4BAC17BA}" sibTransId="{F0EC7CBB-5484-4BD6-A634-1E2C9CA1721C}"/>
    <dgm:cxn modelId="{DD77F83D-8C8D-4CAF-AADD-4CA7A26FB3C0}" type="presOf" srcId="{3A83D1AE-4CA3-49D1-BED5-DC1B16F79E9E}" destId="{5FED0FA7-BC7F-41E0-8CAF-C97921FF36FC}" srcOrd="0" destOrd="0" presId="urn:microsoft.com/office/officeart/2005/8/layout/cycle6"/>
    <dgm:cxn modelId="{B5837060-CD0D-454A-80FF-2FF57B65D03E}" srcId="{DB849CB9-26DB-493F-9BC1-7B3FFAF2D0B0}" destId="{FE25AE9C-AC8C-4D58-8F9A-F62CE0022D5B}" srcOrd="3" destOrd="0" parTransId="{3DF2A404-A472-48AE-B55E-A08A9DE95A8A}" sibTransId="{3A83D1AE-4CA3-49D1-BED5-DC1B16F79E9E}"/>
    <dgm:cxn modelId="{2566F96C-F373-4362-A34E-2367EABB4789}" type="presOf" srcId="{FE25AE9C-AC8C-4D58-8F9A-F62CE0022D5B}" destId="{7F0EF2DB-CA93-47D2-9888-0F64D5429897}" srcOrd="0" destOrd="0" presId="urn:microsoft.com/office/officeart/2005/8/layout/cycle6"/>
    <dgm:cxn modelId="{E6E9BB6E-B5CE-4603-BDA4-4AE1356356EF}" type="presOf" srcId="{8DA66DDC-1E5A-4299-8A0E-881D8E75A2CC}" destId="{1AF6340D-53D1-41C5-8C0B-08EA9545C9CA}" srcOrd="0" destOrd="0" presId="urn:microsoft.com/office/officeart/2005/8/layout/cycle6"/>
    <dgm:cxn modelId="{17A4B057-35C8-41F1-9648-864A5C9B578D}" type="presOf" srcId="{CB2DAD1D-8172-415E-B516-6F72DF2C87ED}" destId="{82B9AEF2-7358-4ACD-B5D1-32CFCBB75FA8}" srcOrd="0" destOrd="0" presId="urn:microsoft.com/office/officeart/2005/8/layout/cycle6"/>
    <dgm:cxn modelId="{378F9878-6035-4F48-89E1-BFD8A4F16BDB}" type="presOf" srcId="{61C3038A-F8DF-4E92-AD59-B100725A0594}" destId="{4892BA54-D813-4A68-B3E7-D96A4C75350B}" srcOrd="0" destOrd="0" presId="urn:microsoft.com/office/officeart/2005/8/layout/cycle6"/>
    <dgm:cxn modelId="{94F8827A-900A-4D58-A084-AE208E3CFEB5}" type="presOf" srcId="{1A1DE00F-F739-4D74-8165-4F41AA21E618}" destId="{8B833E3F-CBA5-496B-A09F-2E54FBEE637D}" srcOrd="0" destOrd="0" presId="urn:microsoft.com/office/officeart/2005/8/layout/cycle6"/>
    <dgm:cxn modelId="{AF8D667C-EA3E-4B0F-906D-CF8BB7814FCF}" srcId="{DB849CB9-26DB-493F-9BC1-7B3FFAF2D0B0}" destId="{4C74EAB3-BCAB-476B-BAA7-0ECD8C020F1D}" srcOrd="6" destOrd="0" parTransId="{770663B0-B946-4505-BC7D-A73C703B55D6}" sibTransId="{1A1DE00F-F739-4D74-8165-4F41AA21E618}"/>
    <dgm:cxn modelId="{4CE94693-C180-4EC4-9FCF-513C240B9E67}" type="presOf" srcId="{98560292-C631-40A2-A164-33B1AF7A4306}" destId="{E9DE802E-AA1C-47D2-B31C-D706D532217F}" srcOrd="0" destOrd="0" presId="urn:microsoft.com/office/officeart/2005/8/layout/cycle6"/>
    <dgm:cxn modelId="{C3F4569C-0137-47FF-9FCA-D223C87684A5}" type="presOf" srcId="{45061020-A4FE-457E-B053-4BC20E225ADE}" destId="{528AFA7E-4BAB-480B-A44C-BB6650F77F5D}" srcOrd="0" destOrd="0" presId="urn:microsoft.com/office/officeart/2005/8/layout/cycle6"/>
    <dgm:cxn modelId="{B9952EB2-29F7-4765-B9B8-7D6F2CDFB527}" type="presOf" srcId="{F0EC7CBB-5484-4BD6-A634-1E2C9CA1721C}" destId="{2409D813-50DC-430D-9DC4-D4F889473FBF}" srcOrd="0" destOrd="0" presId="urn:microsoft.com/office/officeart/2005/8/layout/cycle6"/>
    <dgm:cxn modelId="{1CBE8DB5-E03A-4256-B4B1-9F28955979DC}" srcId="{DB849CB9-26DB-493F-9BC1-7B3FFAF2D0B0}" destId="{335946D3-CE81-4097-9C35-1E1F6569FA42}" srcOrd="1" destOrd="0" parTransId="{BC15C49E-B66A-4EA0-9A6A-9B01BB034923}" sibTransId="{AE500029-4FDD-4F4B-9D2E-CC29E5BC7027}"/>
    <dgm:cxn modelId="{4E85D2B8-6129-4AA8-8720-C90C2083490A}" srcId="{DB849CB9-26DB-493F-9BC1-7B3FFAF2D0B0}" destId="{0541C16E-1944-4558-8F91-1E2BFBF2C4D3}" srcOrd="4" destOrd="0" parTransId="{74B3290C-9CED-4B3B-8D13-53F98AC72B52}" sibTransId="{79141A15-B5C5-43BE-A996-25475570F7D8}"/>
    <dgm:cxn modelId="{DABF91B9-8897-4255-84DD-793AC22AF8DB}" type="presOf" srcId="{4C74EAB3-BCAB-476B-BAA7-0ECD8C020F1D}" destId="{8A8AB859-16A8-4B90-86A5-A979887A79EE}" srcOrd="0" destOrd="0" presId="urn:microsoft.com/office/officeart/2005/8/layout/cycle6"/>
    <dgm:cxn modelId="{34D9E2BA-6362-4232-A9F8-921720D860C4}" type="presOf" srcId="{335946D3-CE81-4097-9C35-1E1F6569FA42}" destId="{60C3DCEE-F136-4943-9423-34ABC7ECBA28}" srcOrd="0" destOrd="0" presId="urn:microsoft.com/office/officeart/2005/8/layout/cycle6"/>
    <dgm:cxn modelId="{0455ABBC-94C4-469B-966A-38C9C019DBBE}" type="presOf" srcId="{901714CC-5810-4859-B458-EA66EAEE3E1A}" destId="{1343E8DF-26C2-49CF-9606-81DA3D5CDE84}" srcOrd="0" destOrd="0" presId="urn:microsoft.com/office/officeart/2005/8/layout/cycle6"/>
    <dgm:cxn modelId="{8ABC4EC6-D375-4671-A3A1-D96EFFAC3947}" srcId="{DB849CB9-26DB-493F-9BC1-7B3FFAF2D0B0}" destId="{8DA66DDC-1E5A-4299-8A0E-881D8E75A2CC}" srcOrd="0" destOrd="0" parTransId="{45B4CB81-8882-4D22-8D28-F64A5089339A}" sibTransId="{98560292-C631-40A2-A164-33B1AF7A4306}"/>
    <dgm:cxn modelId="{17CB0FD6-A918-4B4A-BEB5-50F70517E213}" srcId="{DB849CB9-26DB-493F-9BC1-7B3FFAF2D0B0}" destId="{CD2B1CED-857B-4605-BB9A-FF6630D0A73A}" srcOrd="8" destOrd="0" parTransId="{80441468-4CC4-4758-BD74-5DCBE6E35490}" sibTransId="{9FCD6D6B-256A-42C0-827A-5A1755FC9CD4}"/>
    <dgm:cxn modelId="{6E0BA1F7-E2CE-4609-B6EB-F3BF636379F8}" srcId="{DB849CB9-26DB-493F-9BC1-7B3FFAF2D0B0}" destId="{61C3038A-F8DF-4E92-AD59-B100725A0594}" srcOrd="2" destOrd="0" parTransId="{EA7257B8-591F-426F-A471-E340593C1FB1}" sibTransId="{79044CD3-DDAA-4003-9891-4C1966070FE0}"/>
    <dgm:cxn modelId="{F48028FA-CB7B-43CB-B087-075AC66BF1ED}" type="presOf" srcId="{AE500029-4FDD-4F4B-9D2E-CC29E5BC7027}" destId="{9CAB07AB-CE92-410C-B67B-5C4D8E902D2A}" srcOrd="0" destOrd="0" presId="urn:microsoft.com/office/officeart/2005/8/layout/cycle6"/>
    <dgm:cxn modelId="{A92EA1FF-8CCE-4E66-8BD5-56439B95DEF7}" type="presOf" srcId="{DB849CB9-26DB-493F-9BC1-7B3FFAF2D0B0}" destId="{F48110C4-7D65-489B-A701-83D0DC5AE8EC}" srcOrd="0" destOrd="0" presId="urn:microsoft.com/office/officeart/2005/8/layout/cycle6"/>
    <dgm:cxn modelId="{6F69C911-369B-44F7-9C97-F7F96E2FA293}" type="presParOf" srcId="{F48110C4-7D65-489B-A701-83D0DC5AE8EC}" destId="{1AF6340D-53D1-41C5-8C0B-08EA9545C9CA}" srcOrd="0" destOrd="0" presId="urn:microsoft.com/office/officeart/2005/8/layout/cycle6"/>
    <dgm:cxn modelId="{FF3FE373-4B26-4B59-9FD0-3D77BE766A15}" type="presParOf" srcId="{F48110C4-7D65-489B-A701-83D0DC5AE8EC}" destId="{DA17744F-7756-497E-9D79-4C7A05934046}" srcOrd="1" destOrd="0" presId="urn:microsoft.com/office/officeart/2005/8/layout/cycle6"/>
    <dgm:cxn modelId="{2C38A5EC-FF65-48A7-B427-8CBB4B1BC020}" type="presParOf" srcId="{F48110C4-7D65-489B-A701-83D0DC5AE8EC}" destId="{E9DE802E-AA1C-47D2-B31C-D706D532217F}" srcOrd="2" destOrd="0" presId="urn:microsoft.com/office/officeart/2005/8/layout/cycle6"/>
    <dgm:cxn modelId="{1D0BAE15-8F1F-40DD-B9D0-5A09FBE8146E}" type="presParOf" srcId="{F48110C4-7D65-489B-A701-83D0DC5AE8EC}" destId="{60C3DCEE-F136-4943-9423-34ABC7ECBA28}" srcOrd="3" destOrd="0" presId="urn:microsoft.com/office/officeart/2005/8/layout/cycle6"/>
    <dgm:cxn modelId="{2D9FB7EC-788F-4DCA-BA96-45271BD1C68E}" type="presParOf" srcId="{F48110C4-7D65-489B-A701-83D0DC5AE8EC}" destId="{B9476E57-7CE0-47CE-B6E4-5CAE7027C874}" srcOrd="4" destOrd="0" presId="urn:microsoft.com/office/officeart/2005/8/layout/cycle6"/>
    <dgm:cxn modelId="{4E62C4DF-0E30-4715-A0EF-D03E8C33B00E}" type="presParOf" srcId="{F48110C4-7D65-489B-A701-83D0DC5AE8EC}" destId="{9CAB07AB-CE92-410C-B67B-5C4D8E902D2A}" srcOrd="5" destOrd="0" presId="urn:microsoft.com/office/officeart/2005/8/layout/cycle6"/>
    <dgm:cxn modelId="{F7247D54-048D-4324-8C84-61B8EFEEB6AB}" type="presParOf" srcId="{F48110C4-7D65-489B-A701-83D0DC5AE8EC}" destId="{4892BA54-D813-4A68-B3E7-D96A4C75350B}" srcOrd="6" destOrd="0" presId="urn:microsoft.com/office/officeart/2005/8/layout/cycle6"/>
    <dgm:cxn modelId="{ED5D1DC8-1B6D-4A34-9E7D-33811ED85649}" type="presParOf" srcId="{F48110C4-7D65-489B-A701-83D0DC5AE8EC}" destId="{E5E16593-B9D1-4553-AFA1-64DE3FE97FB1}" srcOrd="7" destOrd="0" presId="urn:microsoft.com/office/officeart/2005/8/layout/cycle6"/>
    <dgm:cxn modelId="{075ED98B-21A7-47D6-9095-04237B95C8EC}" type="presParOf" srcId="{F48110C4-7D65-489B-A701-83D0DC5AE8EC}" destId="{9A59F23A-A123-44F1-AA94-485DEFC35334}" srcOrd="8" destOrd="0" presId="urn:microsoft.com/office/officeart/2005/8/layout/cycle6"/>
    <dgm:cxn modelId="{4ECD8D6A-5EDE-42AA-924B-A68B7C1D51C7}" type="presParOf" srcId="{F48110C4-7D65-489B-A701-83D0DC5AE8EC}" destId="{7F0EF2DB-CA93-47D2-9888-0F64D5429897}" srcOrd="9" destOrd="0" presId="urn:microsoft.com/office/officeart/2005/8/layout/cycle6"/>
    <dgm:cxn modelId="{86FE4081-6567-4167-9855-402ECA65C4AC}" type="presParOf" srcId="{F48110C4-7D65-489B-A701-83D0DC5AE8EC}" destId="{0FF3A428-76C3-4980-A906-0D3407BA83D6}" srcOrd="10" destOrd="0" presId="urn:microsoft.com/office/officeart/2005/8/layout/cycle6"/>
    <dgm:cxn modelId="{4AC041CF-C7BF-49D7-AE79-B0C535073F35}" type="presParOf" srcId="{F48110C4-7D65-489B-A701-83D0DC5AE8EC}" destId="{5FED0FA7-BC7F-41E0-8CAF-C97921FF36FC}" srcOrd="11" destOrd="0" presId="urn:microsoft.com/office/officeart/2005/8/layout/cycle6"/>
    <dgm:cxn modelId="{86ABD50E-8C44-461B-87D1-1AED602DE47E}" type="presParOf" srcId="{F48110C4-7D65-489B-A701-83D0DC5AE8EC}" destId="{4D19C0EA-C762-4CE8-913E-EABD0E5484DC}" srcOrd="12" destOrd="0" presId="urn:microsoft.com/office/officeart/2005/8/layout/cycle6"/>
    <dgm:cxn modelId="{A785583F-D040-4DB0-93B3-C34FBABCDE40}" type="presParOf" srcId="{F48110C4-7D65-489B-A701-83D0DC5AE8EC}" destId="{33BAD236-73A4-4723-A81B-B9F75E7D7030}" srcOrd="13" destOrd="0" presId="urn:microsoft.com/office/officeart/2005/8/layout/cycle6"/>
    <dgm:cxn modelId="{FF371412-DFB4-473F-AD52-EA26610A5BA1}" type="presParOf" srcId="{F48110C4-7D65-489B-A701-83D0DC5AE8EC}" destId="{3D6F80AD-6340-4645-9BCC-9CC839122757}" srcOrd="14" destOrd="0" presId="urn:microsoft.com/office/officeart/2005/8/layout/cycle6"/>
    <dgm:cxn modelId="{8B55A0B9-CE7B-4B21-93A8-006205FAB1C2}" type="presParOf" srcId="{F48110C4-7D65-489B-A701-83D0DC5AE8EC}" destId="{528AFA7E-4BAB-480B-A44C-BB6650F77F5D}" srcOrd="15" destOrd="0" presId="urn:microsoft.com/office/officeart/2005/8/layout/cycle6"/>
    <dgm:cxn modelId="{52347E4E-2D2A-458C-B241-355721D39386}" type="presParOf" srcId="{F48110C4-7D65-489B-A701-83D0DC5AE8EC}" destId="{B462E8CE-E696-4236-905E-97099BC38008}" srcOrd="16" destOrd="0" presId="urn:microsoft.com/office/officeart/2005/8/layout/cycle6"/>
    <dgm:cxn modelId="{111C3A2C-9D96-4C5D-9F94-6C75A666D432}" type="presParOf" srcId="{F48110C4-7D65-489B-A701-83D0DC5AE8EC}" destId="{1343E8DF-26C2-49CF-9606-81DA3D5CDE84}" srcOrd="17" destOrd="0" presId="urn:microsoft.com/office/officeart/2005/8/layout/cycle6"/>
    <dgm:cxn modelId="{74E6F29E-599F-4E84-8E06-89870DFE3330}" type="presParOf" srcId="{F48110C4-7D65-489B-A701-83D0DC5AE8EC}" destId="{8A8AB859-16A8-4B90-86A5-A979887A79EE}" srcOrd="18" destOrd="0" presId="urn:microsoft.com/office/officeart/2005/8/layout/cycle6"/>
    <dgm:cxn modelId="{8113408E-2983-4DF6-A3FD-D6432B49C07E}" type="presParOf" srcId="{F48110C4-7D65-489B-A701-83D0DC5AE8EC}" destId="{4317596B-D96B-4E75-AD8B-9CC507AEB411}" srcOrd="19" destOrd="0" presId="urn:microsoft.com/office/officeart/2005/8/layout/cycle6"/>
    <dgm:cxn modelId="{0B9B6AF8-B137-45C5-B53C-C5D6315E1F73}" type="presParOf" srcId="{F48110C4-7D65-489B-A701-83D0DC5AE8EC}" destId="{8B833E3F-CBA5-496B-A09F-2E54FBEE637D}" srcOrd="20" destOrd="0" presId="urn:microsoft.com/office/officeart/2005/8/layout/cycle6"/>
    <dgm:cxn modelId="{F7B135A9-DF18-425B-AFE9-0820BC4D0593}" type="presParOf" srcId="{F48110C4-7D65-489B-A701-83D0DC5AE8EC}" destId="{82B9AEF2-7358-4ACD-B5D1-32CFCBB75FA8}" srcOrd="21" destOrd="0" presId="urn:microsoft.com/office/officeart/2005/8/layout/cycle6"/>
    <dgm:cxn modelId="{A90536E3-CC11-4FB0-9102-234743CD9930}" type="presParOf" srcId="{F48110C4-7D65-489B-A701-83D0DC5AE8EC}" destId="{54C2FF6B-FAAC-4F5C-A4CA-B470EF3C66FC}" srcOrd="22" destOrd="0" presId="urn:microsoft.com/office/officeart/2005/8/layout/cycle6"/>
    <dgm:cxn modelId="{A5DFFA52-BA24-46C0-9890-53F516869EDF}" type="presParOf" srcId="{F48110C4-7D65-489B-A701-83D0DC5AE8EC}" destId="{2409D813-50DC-430D-9DC4-D4F889473FBF}" srcOrd="23" destOrd="0" presId="urn:microsoft.com/office/officeart/2005/8/layout/cycle6"/>
    <dgm:cxn modelId="{508CF65A-A4D7-41F1-9883-465C3B74EB04}" type="presParOf" srcId="{F48110C4-7D65-489B-A701-83D0DC5AE8EC}" destId="{9E632469-FD25-49F8-A3BA-3185905D2710}" srcOrd="24" destOrd="0" presId="urn:microsoft.com/office/officeart/2005/8/layout/cycle6"/>
    <dgm:cxn modelId="{AE5722DA-57CD-4A38-8F30-94DEDEA66C45}" type="presParOf" srcId="{F48110C4-7D65-489B-A701-83D0DC5AE8EC}" destId="{8FEB6B7F-1726-4EE0-BBCF-EC54C40EE5A0}" srcOrd="25" destOrd="0" presId="urn:microsoft.com/office/officeart/2005/8/layout/cycle6"/>
    <dgm:cxn modelId="{DAB34BD0-6F99-4A49-BE6B-D2A9CA1E8461}" type="presParOf" srcId="{F48110C4-7D65-489B-A701-83D0DC5AE8EC}" destId="{E93F9C88-6935-4B51-BEC8-146655D1ACB5}" srcOrd="26"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B849CB9-26DB-493F-9BC1-7B3FFAF2D0B0}" type="doc">
      <dgm:prSet loTypeId="urn:microsoft.com/office/officeart/2005/8/layout/cycle6" loCatId="cycle" qsTypeId="urn:microsoft.com/office/officeart/2005/8/quickstyle/simple1" qsCatId="simple" csTypeId="urn:microsoft.com/office/officeart/2005/8/colors/accent0_2" csCatId="mainScheme" phldr="1"/>
      <dgm:spPr/>
      <dgm:t>
        <a:bodyPr/>
        <a:lstStyle/>
        <a:p>
          <a:endParaRPr lang="cs-CZ"/>
        </a:p>
      </dgm:t>
    </dgm:pt>
    <dgm:pt modelId="{8DA66DDC-1E5A-4299-8A0E-881D8E75A2CC}">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Koncentrace EU dotací</a:t>
          </a:r>
        </a:p>
      </dgm:t>
    </dgm:pt>
    <dgm:pt modelId="{45B4CB81-8882-4D22-8D28-F64A5089339A}" type="parTrans" cxnId="{8ABC4EC6-D375-4671-A3A1-D96EFFAC3947}">
      <dgm:prSet/>
      <dgm:spPr/>
      <dgm:t>
        <a:bodyPr/>
        <a:lstStyle/>
        <a:p>
          <a:endParaRPr lang="cs-CZ" sz="1000">
            <a:solidFill>
              <a:schemeClr val="bg1">
                <a:lumMod val="10000"/>
              </a:schemeClr>
            </a:solidFill>
            <a:latin typeface="Fira Sans" panose="020B0503050000020004" pitchFamily="34" charset="0"/>
          </a:endParaRPr>
        </a:p>
      </dgm:t>
    </dgm:pt>
    <dgm:pt modelId="{98560292-C631-40A2-A164-33B1AF7A4306}" type="sibTrans" cxnId="{8ABC4EC6-D375-4671-A3A1-D96EFFAC3947}">
      <dgm:prSet/>
      <dgm:spPr>
        <a:solidFill>
          <a:srgbClr val="64BCA9"/>
        </a:solidFill>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335946D3-CE81-4097-9C35-1E1F6569FA42}">
      <dgm:prSet phldrT="[Text]" custT="1">
        <dgm:style>
          <a:lnRef idx="2">
            <a:schemeClr val="accent5"/>
          </a:lnRef>
          <a:fillRef idx="1">
            <a:schemeClr val="lt1"/>
          </a:fillRef>
          <a:effectRef idx="0">
            <a:schemeClr val="accent5"/>
          </a:effectRef>
          <a:fontRef idx="minor">
            <a:schemeClr val="dk1"/>
          </a:fontRef>
        </dgm:style>
      </dgm:prSet>
      <dgm:spPr>
        <a:solidFill>
          <a:srgbClr val="EAEAEA"/>
        </a:solidFill>
        <a:ln w="25400" cap="flat" cmpd="sng" algn="ctr">
          <a:no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gm:t>
    </dgm:pt>
    <dgm:pt modelId="{BC15C49E-B66A-4EA0-9A6A-9B01BB034923}" type="parTrans" cxnId="{1CBE8DB5-E03A-4256-B4B1-9F28955979DC}">
      <dgm:prSet/>
      <dgm:spPr/>
      <dgm:t>
        <a:bodyPr/>
        <a:lstStyle/>
        <a:p>
          <a:endParaRPr lang="cs-CZ" sz="1000">
            <a:solidFill>
              <a:schemeClr val="bg1">
                <a:lumMod val="10000"/>
              </a:schemeClr>
            </a:solidFill>
            <a:latin typeface="Fira Sans" panose="020B0503050000020004" pitchFamily="34" charset="0"/>
          </a:endParaRPr>
        </a:p>
      </dgm:t>
    </dgm:pt>
    <dgm:pt modelId="{AE500029-4FDD-4F4B-9D2E-CC29E5BC7027}" type="sibTrans" cxnId="{1CBE8DB5-E03A-4256-B4B1-9F28955979DC}">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61C3038A-F8DF-4E92-AD59-B100725A0594}">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Řízení samospráv</a:t>
          </a:r>
        </a:p>
      </dgm:t>
    </dgm:pt>
    <dgm:pt modelId="{EA7257B8-591F-426F-A471-E340593C1FB1}" type="parTrans" cxnId="{6E0BA1F7-E2CE-4609-B6EB-F3BF636379F8}">
      <dgm:prSet/>
      <dgm:spPr/>
      <dgm:t>
        <a:bodyPr/>
        <a:lstStyle/>
        <a:p>
          <a:endParaRPr lang="cs-CZ" sz="1000">
            <a:solidFill>
              <a:schemeClr val="bg1">
                <a:lumMod val="10000"/>
              </a:schemeClr>
            </a:solidFill>
            <a:latin typeface="Fira Sans" panose="020B0503050000020004" pitchFamily="34" charset="0"/>
          </a:endParaRPr>
        </a:p>
      </dgm:t>
    </dgm:pt>
    <dgm:pt modelId="{79044CD3-DDAA-4003-9891-4C1966070FE0}" type="sibTrans" cxnId="{6E0BA1F7-E2CE-4609-B6EB-F3BF636379F8}">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E25AE9C-AC8C-4D58-8F9A-F62CE0022D5B}">
      <dgm:prSet phldrT="[Text]" custT="1"/>
      <dgm:spPr>
        <a:solidFill>
          <a:srgbClr val="64BCA9"/>
        </a:solidFill>
        <a:ln>
          <a:noFill/>
        </a:ln>
      </dgm:spPr>
      <dgm:t>
        <a:bodyPr/>
        <a:lstStyle/>
        <a:p>
          <a:r>
            <a:rPr lang="cs-CZ" sz="1000" b="1">
              <a:solidFill>
                <a:schemeClr val="bg1">
                  <a:lumMod val="10000"/>
                </a:schemeClr>
              </a:solidFill>
              <a:latin typeface="Fira Sans" panose="020B0503050000020004" pitchFamily="34" charset="0"/>
            </a:rPr>
            <a:t>Motivace k soukromým investicím</a:t>
          </a:r>
        </a:p>
      </dgm:t>
    </dgm:pt>
    <dgm:pt modelId="{3DF2A404-A472-48AE-B55E-A08A9DE95A8A}" type="parTrans" cxnId="{B5837060-CD0D-454A-80FF-2FF57B65D03E}">
      <dgm:prSet/>
      <dgm:spPr/>
      <dgm:t>
        <a:bodyPr/>
        <a:lstStyle/>
        <a:p>
          <a:endParaRPr lang="cs-CZ" sz="1000">
            <a:solidFill>
              <a:schemeClr val="bg1">
                <a:lumMod val="10000"/>
              </a:schemeClr>
            </a:solidFill>
            <a:latin typeface="Fira Sans" panose="020B0503050000020004" pitchFamily="34" charset="0"/>
          </a:endParaRPr>
        </a:p>
      </dgm:t>
    </dgm:pt>
    <dgm:pt modelId="{3A83D1AE-4CA3-49D1-BED5-DC1B16F79E9E}" type="sibTrans" cxnId="{B5837060-CD0D-454A-80FF-2FF57B65D03E}">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0541C16E-1944-4558-8F91-1E2BFBF2C4D3}">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Chytřejší daně</a:t>
          </a:r>
        </a:p>
      </dgm:t>
    </dgm:pt>
    <dgm:pt modelId="{74B3290C-9CED-4B3B-8D13-53F98AC72B52}" type="parTrans" cxnId="{4E85D2B8-6129-4AA8-8720-C90C2083490A}">
      <dgm:prSet/>
      <dgm:spPr/>
      <dgm:t>
        <a:bodyPr/>
        <a:lstStyle/>
        <a:p>
          <a:endParaRPr lang="cs-CZ" sz="1000">
            <a:solidFill>
              <a:schemeClr val="bg1">
                <a:lumMod val="10000"/>
              </a:schemeClr>
            </a:solidFill>
            <a:latin typeface="Fira Sans" panose="020B0503050000020004" pitchFamily="34" charset="0"/>
          </a:endParaRPr>
        </a:p>
      </dgm:t>
    </dgm:pt>
    <dgm:pt modelId="{79141A15-B5C5-43BE-A996-25475570F7D8}" type="sibTrans" cxnId="{4E85D2B8-6129-4AA8-8720-C90C2083490A}">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5061020-A4FE-457E-B053-4BC20E225ADE}">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Podpora vzdělávání</a:t>
          </a:r>
        </a:p>
      </dgm:t>
    </dgm:pt>
    <dgm:pt modelId="{FB1F3FA9-3E85-4026-B041-C5FCFF660589}" type="parTrans" cxnId="{4E61D12F-FD3A-410A-9DE4-CB514013C5E1}">
      <dgm:prSet/>
      <dgm:spPr/>
      <dgm:t>
        <a:bodyPr/>
        <a:lstStyle/>
        <a:p>
          <a:endParaRPr lang="cs-CZ" sz="1000">
            <a:solidFill>
              <a:schemeClr val="bg1">
                <a:lumMod val="10000"/>
              </a:schemeClr>
            </a:solidFill>
            <a:latin typeface="Fira Sans" panose="020B0503050000020004" pitchFamily="34" charset="0"/>
          </a:endParaRPr>
        </a:p>
      </dgm:t>
    </dgm:pt>
    <dgm:pt modelId="{901714CC-5810-4859-B458-EA66EAEE3E1A}" type="sibTrans" cxnId="{4E61D12F-FD3A-410A-9DE4-CB514013C5E1}">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C74EAB3-BCAB-476B-BAA7-0ECD8C020F1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Omezení šedé ekonomiky</a:t>
          </a:r>
        </a:p>
      </dgm:t>
    </dgm:pt>
    <dgm:pt modelId="{770663B0-B946-4505-BC7D-A73C703B55D6}" type="parTrans" cxnId="{AF8D667C-EA3E-4B0F-906D-CF8BB7814FCF}">
      <dgm:prSet/>
      <dgm:spPr/>
      <dgm:t>
        <a:bodyPr/>
        <a:lstStyle/>
        <a:p>
          <a:endParaRPr lang="cs-CZ" sz="1000">
            <a:solidFill>
              <a:schemeClr val="bg1">
                <a:lumMod val="10000"/>
              </a:schemeClr>
            </a:solidFill>
            <a:latin typeface="Fira Sans" panose="020B0503050000020004" pitchFamily="34" charset="0"/>
          </a:endParaRPr>
        </a:p>
      </dgm:t>
    </dgm:pt>
    <dgm:pt modelId="{1A1DE00F-F739-4D74-8165-4F41AA21E618}" type="sibTrans" cxnId="{AF8D667C-EA3E-4B0F-906D-CF8BB7814FCF}">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B2DAD1D-8172-415E-B516-6F72DF2C87E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Stabilizující bytová politika</a:t>
          </a:r>
        </a:p>
      </dgm:t>
    </dgm:pt>
    <dgm:pt modelId="{C8035952-8E3A-4BD6-A7F5-4E4E4BAC17BA}" type="parTrans" cxnId="{E394623A-8816-44FD-B1F9-E62C259667D6}">
      <dgm:prSet/>
      <dgm:spPr/>
      <dgm:t>
        <a:bodyPr/>
        <a:lstStyle/>
        <a:p>
          <a:endParaRPr lang="cs-CZ" sz="1000">
            <a:solidFill>
              <a:schemeClr val="bg1">
                <a:lumMod val="10000"/>
              </a:schemeClr>
            </a:solidFill>
            <a:latin typeface="Fira Sans" panose="020B0503050000020004" pitchFamily="34" charset="0"/>
          </a:endParaRPr>
        </a:p>
      </dgm:t>
    </dgm:pt>
    <dgm:pt modelId="{F0EC7CBB-5484-4BD6-A634-1E2C9CA1721C}" type="sibTrans" cxnId="{E394623A-8816-44FD-B1F9-E62C259667D6}">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D2B1CED-857B-4605-BB9A-FF6630D0A73A}">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Lepší regionální plánování</a:t>
          </a:r>
        </a:p>
      </dgm:t>
    </dgm:pt>
    <dgm:pt modelId="{80441468-4CC4-4758-BD74-5DCBE6E35490}" type="parTrans" cxnId="{17CB0FD6-A918-4B4A-BEB5-50F70517E213}">
      <dgm:prSet/>
      <dgm:spPr/>
      <dgm:t>
        <a:bodyPr/>
        <a:lstStyle/>
        <a:p>
          <a:endParaRPr lang="cs-CZ" sz="1000">
            <a:solidFill>
              <a:schemeClr val="bg1">
                <a:lumMod val="10000"/>
              </a:schemeClr>
            </a:solidFill>
            <a:latin typeface="Fira Sans" panose="020B0503050000020004" pitchFamily="34" charset="0"/>
          </a:endParaRPr>
        </a:p>
      </dgm:t>
    </dgm:pt>
    <dgm:pt modelId="{9FCD6D6B-256A-42C0-827A-5A1755FC9CD4}" type="sibTrans" cxnId="{17CB0FD6-A918-4B4A-BEB5-50F70517E213}">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48110C4-7D65-489B-A701-83D0DC5AE8EC}" type="pres">
      <dgm:prSet presAssocID="{DB849CB9-26DB-493F-9BC1-7B3FFAF2D0B0}" presName="cycle" presStyleCnt="0">
        <dgm:presLayoutVars>
          <dgm:dir/>
          <dgm:resizeHandles val="exact"/>
        </dgm:presLayoutVars>
      </dgm:prSet>
      <dgm:spPr/>
    </dgm:pt>
    <dgm:pt modelId="{1AF6340D-53D1-41C5-8C0B-08EA9545C9CA}" type="pres">
      <dgm:prSet presAssocID="{8DA66DDC-1E5A-4299-8A0E-881D8E75A2CC}" presName="node" presStyleLbl="node1" presStyleIdx="0" presStyleCnt="9" custScaleX="139153" custScaleY="202948" custRadScaleRad="99673" custRadScaleInc="-5788">
        <dgm:presLayoutVars>
          <dgm:bulletEnabled val="1"/>
        </dgm:presLayoutVars>
      </dgm:prSet>
      <dgm:spPr/>
    </dgm:pt>
    <dgm:pt modelId="{DA17744F-7756-497E-9D79-4C7A05934046}" type="pres">
      <dgm:prSet presAssocID="{8DA66DDC-1E5A-4299-8A0E-881D8E75A2CC}" presName="spNode" presStyleCnt="0"/>
      <dgm:spPr/>
    </dgm:pt>
    <dgm:pt modelId="{E9DE802E-AA1C-47D2-B31C-D706D532217F}" type="pres">
      <dgm:prSet presAssocID="{98560292-C631-40A2-A164-33B1AF7A4306}" presName="sibTrans" presStyleLbl="sibTrans1D1" presStyleIdx="0" presStyleCnt="9"/>
      <dgm:spPr/>
    </dgm:pt>
    <dgm:pt modelId="{60C3DCEE-F136-4943-9423-34ABC7ECBA28}" type="pres">
      <dgm:prSet presAssocID="{335946D3-CE81-4097-9C35-1E1F6569FA42}" presName="node" presStyleLbl="node1" presStyleIdx="1" presStyleCnt="9" custScaleX="131916" custScaleY="202948" custRadScaleRad="98998" custRadScaleInc="19231">
        <dgm:presLayoutVars>
          <dgm:bulletEnabled val="1"/>
        </dgm:presLayoutVars>
      </dgm:prSet>
      <dgm:spPr>
        <a:xfrm>
          <a:off x="4085154" y="261999"/>
          <a:ext cx="1007997" cy="1007999"/>
        </a:xfrm>
        <a:prstGeom prst="roundRect">
          <a:avLst/>
        </a:prstGeom>
      </dgm:spPr>
    </dgm:pt>
    <dgm:pt modelId="{B9476E57-7CE0-47CE-B6E4-5CAE7027C874}" type="pres">
      <dgm:prSet presAssocID="{335946D3-CE81-4097-9C35-1E1F6569FA42}" presName="spNode" presStyleCnt="0"/>
      <dgm:spPr/>
    </dgm:pt>
    <dgm:pt modelId="{9CAB07AB-CE92-410C-B67B-5C4D8E902D2A}" type="pres">
      <dgm:prSet presAssocID="{AE500029-4FDD-4F4B-9D2E-CC29E5BC7027}" presName="sibTrans" presStyleLbl="sibTrans1D1" presStyleIdx="1" presStyleCnt="9"/>
      <dgm:spPr/>
    </dgm:pt>
    <dgm:pt modelId="{4892BA54-D813-4A68-B3E7-D96A4C75350B}" type="pres">
      <dgm:prSet presAssocID="{61C3038A-F8DF-4E92-AD59-B100725A0594}" presName="node" presStyleLbl="node1" presStyleIdx="2" presStyleCnt="9" custScaleX="131916" custScaleY="202948" custRadScaleRad="99169" custRadScaleInc="24360">
        <dgm:presLayoutVars>
          <dgm:bulletEnabled val="1"/>
        </dgm:presLayoutVars>
      </dgm:prSet>
      <dgm:spPr/>
    </dgm:pt>
    <dgm:pt modelId="{E5E16593-B9D1-4553-AFA1-64DE3FE97FB1}" type="pres">
      <dgm:prSet presAssocID="{61C3038A-F8DF-4E92-AD59-B100725A0594}" presName="spNode" presStyleCnt="0"/>
      <dgm:spPr/>
    </dgm:pt>
    <dgm:pt modelId="{9A59F23A-A123-44F1-AA94-485DEFC35334}" type="pres">
      <dgm:prSet presAssocID="{79044CD3-DDAA-4003-9891-4C1966070FE0}" presName="sibTrans" presStyleLbl="sibTrans1D1" presStyleIdx="2" presStyleCnt="9"/>
      <dgm:spPr/>
    </dgm:pt>
    <dgm:pt modelId="{7F0EF2DB-CA93-47D2-9888-0F64D5429897}" type="pres">
      <dgm:prSet presAssocID="{FE25AE9C-AC8C-4D58-8F9A-F62CE0022D5B}" presName="node" presStyleLbl="node1" presStyleIdx="3" presStyleCnt="9" custScaleX="131916" custScaleY="202948">
        <dgm:presLayoutVars>
          <dgm:bulletEnabled val="1"/>
        </dgm:presLayoutVars>
      </dgm:prSet>
      <dgm:spPr/>
    </dgm:pt>
    <dgm:pt modelId="{0FF3A428-76C3-4980-A906-0D3407BA83D6}" type="pres">
      <dgm:prSet presAssocID="{FE25AE9C-AC8C-4D58-8F9A-F62CE0022D5B}" presName="spNode" presStyleCnt="0"/>
      <dgm:spPr/>
    </dgm:pt>
    <dgm:pt modelId="{5FED0FA7-BC7F-41E0-8CAF-C97921FF36FC}" type="pres">
      <dgm:prSet presAssocID="{3A83D1AE-4CA3-49D1-BED5-DC1B16F79E9E}" presName="sibTrans" presStyleLbl="sibTrans1D1" presStyleIdx="3" presStyleCnt="9"/>
      <dgm:spPr/>
    </dgm:pt>
    <dgm:pt modelId="{4D19C0EA-C762-4CE8-913E-EABD0E5484DC}" type="pres">
      <dgm:prSet presAssocID="{0541C16E-1944-4558-8F91-1E2BFBF2C4D3}" presName="node" presStyleLbl="node1" presStyleIdx="4" presStyleCnt="9" custScaleX="131916" custScaleY="202948" custRadScaleRad="98172" custRadScaleInc="18830">
        <dgm:presLayoutVars>
          <dgm:bulletEnabled val="1"/>
        </dgm:presLayoutVars>
      </dgm:prSet>
      <dgm:spPr/>
    </dgm:pt>
    <dgm:pt modelId="{33BAD236-73A4-4723-A81B-B9F75E7D7030}" type="pres">
      <dgm:prSet presAssocID="{0541C16E-1944-4558-8F91-1E2BFBF2C4D3}" presName="spNode" presStyleCnt="0"/>
      <dgm:spPr/>
    </dgm:pt>
    <dgm:pt modelId="{3D6F80AD-6340-4645-9BCC-9CC839122757}" type="pres">
      <dgm:prSet presAssocID="{79141A15-B5C5-43BE-A996-25475570F7D8}" presName="sibTrans" presStyleLbl="sibTrans1D1" presStyleIdx="4" presStyleCnt="9"/>
      <dgm:spPr/>
    </dgm:pt>
    <dgm:pt modelId="{528AFA7E-4BAB-480B-A44C-BB6650F77F5D}" type="pres">
      <dgm:prSet presAssocID="{45061020-A4FE-457E-B053-4BC20E225ADE}" presName="node" presStyleLbl="node1" presStyleIdx="5" presStyleCnt="9" custScaleX="131916" custScaleY="202948" custRadScaleRad="98713" custRadScaleInc="-21101">
        <dgm:presLayoutVars>
          <dgm:bulletEnabled val="1"/>
        </dgm:presLayoutVars>
      </dgm:prSet>
      <dgm:spPr/>
    </dgm:pt>
    <dgm:pt modelId="{B462E8CE-E696-4236-905E-97099BC38008}" type="pres">
      <dgm:prSet presAssocID="{45061020-A4FE-457E-B053-4BC20E225ADE}" presName="spNode" presStyleCnt="0"/>
      <dgm:spPr/>
    </dgm:pt>
    <dgm:pt modelId="{1343E8DF-26C2-49CF-9606-81DA3D5CDE84}" type="pres">
      <dgm:prSet presAssocID="{901714CC-5810-4859-B458-EA66EAEE3E1A}" presName="sibTrans" presStyleLbl="sibTrans1D1" presStyleIdx="5" presStyleCnt="9"/>
      <dgm:spPr/>
    </dgm:pt>
    <dgm:pt modelId="{8A8AB859-16A8-4B90-86A5-A979887A79EE}" type="pres">
      <dgm:prSet presAssocID="{4C74EAB3-BCAB-476B-BAA7-0ECD8C020F1D}" presName="node" presStyleLbl="node1" presStyleIdx="6" presStyleCnt="9" custScaleX="131916" custScaleY="202948">
        <dgm:presLayoutVars>
          <dgm:bulletEnabled val="1"/>
        </dgm:presLayoutVars>
      </dgm:prSet>
      <dgm:spPr/>
    </dgm:pt>
    <dgm:pt modelId="{4317596B-D96B-4E75-AD8B-9CC507AEB411}" type="pres">
      <dgm:prSet presAssocID="{4C74EAB3-BCAB-476B-BAA7-0ECD8C020F1D}" presName="spNode" presStyleCnt="0"/>
      <dgm:spPr/>
    </dgm:pt>
    <dgm:pt modelId="{8B833E3F-CBA5-496B-A09F-2E54FBEE637D}" type="pres">
      <dgm:prSet presAssocID="{1A1DE00F-F739-4D74-8165-4F41AA21E618}" presName="sibTrans" presStyleLbl="sibTrans1D1" presStyleIdx="6" presStyleCnt="9"/>
      <dgm:spPr/>
    </dgm:pt>
    <dgm:pt modelId="{82B9AEF2-7358-4ACD-B5D1-32CFCBB75FA8}" type="pres">
      <dgm:prSet presAssocID="{CB2DAD1D-8172-415E-B516-6F72DF2C87ED}" presName="node" presStyleLbl="node1" presStyleIdx="7" presStyleCnt="9" custScaleX="132582" custScaleY="203221" custRadScaleRad="99668" custRadScaleInc="-18782">
        <dgm:presLayoutVars>
          <dgm:bulletEnabled val="1"/>
        </dgm:presLayoutVars>
      </dgm:prSet>
      <dgm:spPr/>
    </dgm:pt>
    <dgm:pt modelId="{54C2FF6B-FAAC-4F5C-A4CA-B470EF3C66FC}" type="pres">
      <dgm:prSet presAssocID="{CB2DAD1D-8172-415E-B516-6F72DF2C87ED}" presName="spNode" presStyleCnt="0"/>
      <dgm:spPr/>
    </dgm:pt>
    <dgm:pt modelId="{2409D813-50DC-430D-9DC4-D4F889473FBF}" type="pres">
      <dgm:prSet presAssocID="{F0EC7CBB-5484-4BD6-A634-1E2C9CA1721C}" presName="sibTrans" presStyleLbl="sibTrans1D1" presStyleIdx="7" presStyleCnt="9"/>
      <dgm:spPr/>
    </dgm:pt>
    <dgm:pt modelId="{9E632469-FD25-49F8-A3BA-3185905D2710}" type="pres">
      <dgm:prSet presAssocID="{CD2B1CED-857B-4605-BB9A-FF6630D0A73A}" presName="node" presStyleLbl="node1" presStyleIdx="8" presStyleCnt="9" custScaleX="131916" custScaleY="202948" custRadScaleRad="97871" custRadScaleInc="-13804">
        <dgm:presLayoutVars>
          <dgm:bulletEnabled val="1"/>
        </dgm:presLayoutVars>
      </dgm:prSet>
      <dgm:spPr/>
    </dgm:pt>
    <dgm:pt modelId="{8FEB6B7F-1726-4EE0-BBCF-EC54C40EE5A0}" type="pres">
      <dgm:prSet presAssocID="{CD2B1CED-857B-4605-BB9A-FF6630D0A73A}" presName="spNode" presStyleCnt="0"/>
      <dgm:spPr/>
    </dgm:pt>
    <dgm:pt modelId="{E93F9C88-6935-4B51-BEC8-146655D1ACB5}" type="pres">
      <dgm:prSet presAssocID="{9FCD6D6B-256A-42C0-827A-5A1755FC9CD4}" presName="sibTrans" presStyleLbl="sibTrans1D1" presStyleIdx="8" presStyleCnt="9"/>
      <dgm:spPr/>
    </dgm:pt>
  </dgm:ptLst>
  <dgm:cxnLst>
    <dgm:cxn modelId="{19D95308-0553-4600-8CCD-6936C10B4B14}" type="presOf" srcId="{9FCD6D6B-256A-42C0-827A-5A1755FC9CD4}" destId="{E93F9C88-6935-4B51-BEC8-146655D1ACB5}" srcOrd="0" destOrd="0" presId="urn:microsoft.com/office/officeart/2005/8/layout/cycle6"/>
    <dgm:cxn modelId="{9892B912-B6A4-4A97-BBF4-556EB7C4185C}" type="presOf" srcId="{79141A15-B5C5-43BE-A996-25475570F7D8}" destId="{3D6F80AD-6340-4645-9BCC-9CC839122757}" srcOrd="0" destOrd="0" presId="urn:microsoft.com/office/officeart/2005/8/layout/cycle6"/>
    <dgm:cxn modelId="{1C8CA215-762A-4415-8E6D-D991EE0C98C2}" type="presOf" srcId="{CD2B1CED-857B-4605-BB9A-FF6630D0A73A}" destId="{9E632469-FD25-49F8-A3BA-3185905D2710}" srcOrd="0" destOrd="0" presId="urn:microsoft.com/office/officeart/2005/8/layout/cycle6"/>
    <dgm:cxn modelId="{4E61D12F-FD3A-410A-9DE4-CB514013C5E1}" srcId="{DB849CB9-26DB-493F-9BC1-7B3FFAF2D0B0}" destId="{45061020-A4FE-457E-B053-4BC20E225ADE}" srcOrd="5" destOrd="0" parTransId="{FB1F3FA9-3E85-4026-B041-C5FCFF660589}" sibTransId="{901714CC-5810-4859-B458-EA66EAEE3E1A}"/>
    <dgm:cxn modelId="{2C34A433-6607-45EE-B7C2-CB11C72D1220}" type="presOf" srcId="{79044CD3-DDAA-4003-9891-4C1966070FE0}" destId="{9A59F23A-A123-44F1-AA94-485DEFC35334}" srcOrd="0" destOrd="0" presId="urn:microsoft.com/office/officeart/2005/8/layout/cycle6"/>
    <dgm:cxn modelId="{373ACE34-BA8F-48EF-9D20-600D8F367550}" type="presOf" srcId="{0541C16E-1944-4558-8F91-1E2BFBF2C4D3}" destId="{4D19C0EA-C762-4CE8-913E-EABD0E5484DC}" srcOrd="0" destOrd="0" presId="urn:microsoft.com/office/officeart/2005/8/layout/cycle6"/>
    <dgm:cxn modelId="{E394623A-8816-44FD-B1F9-E62C259667D6}" srcId="{DB849CB9-26DB-493F-9BC1-7B3FFAF2D0B0}" destId="{CB2DAD1D-8172-415E-B516-6F72DF2C87ED}" srcOrd="7" destOrd="0" parTransId="{C8035952-8E3A-4BD6-A7F5-4E4E4BAC17BA}" sibTransId="{F0EC7CBB-5484-4BD6-A634-1E2C9CA1721C}"/>
    <dgm:cxn modelId="{DD77F83D-8C8D-4CAF-AADD-4CA7A26FB3C0}" type="presOf" srcId="{3A83D1AE-4CA3-49D1-BED5-DC1B16F79E9E}" destId="{5FED0FA7-BC7F-41E0-8CAF-C97921FF36FC}" srcOrd="0" destOrd="0" presId="urn:microsoft.com/office/officeart/2005/8/layout/cycle6"/>
    <dgm:cxn modelId="{B5837060-CD0D-454A-80FF-2FF57B65D03E}" srcId="{DB849CB9-26DB-493F-9BC1-7B3FFAF2D0B0}" destId="{FE25AE9C-AC8C-4D58-8F9A-F62CE0022D5B}" srcOrd="3" destOrd="0" parTransId="{3DF2A404-A472-48AE-B55E-A08A9DE95A8A}" sibTransId="{3A83D1AE-4CA3-49D1-BED5-DC1B16F79E9E}"/>
    <dgm:cxn modelId="{2566F96C-F373-4362-A34E-2367EABB4789}" type="presOf" srcId="{FE25AE9C-AC8C-4D58-8F9A-F62CE0022D5B}" destId="{7F0EF2DB-CA93-47D2-9888-0F64D5429897}" srcOrd="0" destOrd="0" presId="urn:microsoft.com/office/officeart/2005/8/layout/cycle6"/>
    <dgm:cxn modelId="{E6E9BB6E-B5CE-4603-BDA4-4AE1356356EF}" type="presOf" srcId="{8DA66DDC-1E5A-4299-8A0E-881D8E75A2CC}" destId="{1AF6340D-53D1-41C5-8C0B-08EA9545C9CA}" srcOrd="0" destOrd="0" presId="urn:microsoft.com/office/officeart/2005/8/layout/cycle6"/>
    <dgm:cxn modelId="{17A4B057-35C8-41F1-9648-864A5C9B578D}" type="presOf" srcId="{CB2DAD1D-8172-415E-B516-6F72DF2C87ED}" destId="{82B9AEF2-7358-4ACD-B5D1-32CFCBB75FA8}" srcOrd="0" destOrd="0" presId="urn:microsoft.com/office/officeart/2005/8/layout/cycle6"/>
    <dgm:cxn modelId="{378F9878-6035-4F48-89E1-BFD8A4F16BDB}" type="presOf" srcId="{61C3038A-F8DF-4E92-AD59-B100725A0594}" destId="{4892BA54-D813-4A68-B3E7-D96A4C75350B}" srcOrd="0" destOrd="0" presId="urn:microsoft.com/office/officeart/2005/8/layout/cycle6"/>
    <dgm:cxn modelId="{94F8827A-900A-4D58-A084-AE208E3CFEB5}" type="presOf" srcId="{1A1DE00F-F739-4D74-8165-4F41AA21E618}" destId="{8B833E3F-CBA5-496B-A09F-2E54FBEE637D}" srcOrd="0" destOrd="0" presId="urn:microsoft.com/office/officeart/2005/8/layout/cycle6"/>
    <dgm:cxn modelId="{AF8D667C-EA3E-4B0F-906D-CF8BB7814FCF}" srcId="{DB849CB9-26DB-493F-9BC1-7B3FFAF2D0B0}" destId="{4C74EAB3-BCAB-476B-BAA7-0ECD8C020F1D}" srcOrd="6" destOrd="0" parTransId="{770663B0-B946-4505-BC7D-A73C703B55D6}" sibTransId="{1A1DE00F-F739-4D74-8165-4F41AA21E618}"/>
    <dgm:cxn modelId="{4CE94693-C180-4EC4-9FCF-513C240B9E67}" type="presOf" srcId="{98560292-C631-40A2-A164-33B1AF7A4306}" destId="{E9DE802E-AA1C-47D2-B31C-D706D532217F}" srcOrd="0" destOrd="0" presId="urn:microsoft.com/office/officeart/2005/8/layout/cycle6"/>
    <dgm:cxn modelId="{C3F4569C-0137-47FF-9FCA-D223C87684A5}" type="presOf" srcId="{45061020-A4FE-457E-B053-4BC20E225ADE}" destId="{528AFA7E-4BAB-480B-A44C-BB6650F77F5D}" srcOrd="0" destOrd="0" presId="urn:microsoft.com/office/officeart/2005/8/layout/cycle6"/>
    <dgm:cxn modelId="{B9952EB2-29F7-4765-B9B8-7D6F2CDFB527}" type="presOf" srcId="{F0EC7CBB-5484-4BD6-A634-1E2C9CA1721C}" destId="{2409D813-50DC-430D-9DC4-D4F889473FBF}" srcOrd="0" destOrd="0" presId="urn:microsoft.com/office/officeart/2005/8/layout/cycle6"/>
    <dgm:cxn modelId="{1CBE8DB5-E03A-4256-B4B1-9F28955979DC}" srcId="{DB849CB9-26DB-493F-9BC1-7B3FFAF2D0B0}" destId="{335946D3-CE81-4097-9C35-1E1F6569FA42}" srcOrd="1" destOrd="0" parTransId="{BC15C49E-B66A-4EA0-9A6A-9B01BB034923}" sibTransId="{AE500029-4FDD-4F4B-9D2E-CC29E5BC7027}"/>
    <dgm:cxn modelId="{4E85D2B8-6129-4AA8-8720-C90C2083490A}" srcId="{DB849CB9-26DB-493F-9BC1-7B3FFAF2D0B0}" destId="{0541C16E-1944-4558-8F91-1E2BFBF2C4D3}" srcOrd="4" destOrd="0" parTransId="{74B3290C-9CED-4B3B-8D13-53F98AC72B52}" sibTransId="{79141A15-B5C5-43BE-A996-25475570F7D8}"/>
    <dgm:cxn modelId="{DABF91B9-8897-4255-84DD-793AC22AF8DB}" type="presOf" srcId="{4C74EAB3-BCAB-476B-BAA7-0ECD8C020F1D}" destId="{8A8AB859-16A8-4B90-86A5-A979887A79EE}" srcOrd="0" destOrd="0" presId="urn:microsoft.com/office/officeart/2005/8/layout/cycle6"/>
    <dgm:cxn modelId="{34D9E2BA-6362-4232-A9F8-921720D860C4}" type="presOf" srcId="{335946D3-CE81-4097-9C35-1E1F6569FA42}" destId="{60C3DCEE-F136-4943-9423-34ABC7ECBA28}" srcOrd="0" destOrd="0" presId="urn:microsoft.com/office/officeart/2005/8/layout/cycle6"/>
    <dgm:cxn modelId="{0455ABBC-94C4-469B-966A-38C9C019DBBE}" type="presOf" srcId="{901714CC-5810-4859-B458-EA66EAEE3E1A}" destId="{1343E8DF-26C2-49CF-9606-81DA3D5CDE84}" srcOrd="0" destOrd="0" presId="urn:microsoft.com/office/officeart/2005/8/layout/cycle6"/>
    <dgm:cxn modelId="{8ABC4EC6-D375-4671-A3A1-D96EFFAC3947}" srcId="{DB849CB9-26DB-493F-9BC1-7B3FFAF2D0B0}" destId="{8DA66DDC-1E5A-4299-8A0E-881D8E75A2CC}" srcOrd="0" destOrd="0" parTransId="{45B4CB81-8882-4D22-8D28-F64A5089339A}" sibTransId="{98560292-C631-40A2-A164-33B1AF7A4306}"/>
    <dgm:cxn modelId="{17CB0FD6-A918-4B4A-BEB5-50F70517E213}" srcId="{DB849CB9-26DB-493F-9BC1-7B3FFAF2D0B0}" destId="{CD2B1CED-857B-4605-BB9A-FF6630D0A73A}" srcOrd="8" destOrd="0" parTransId="{80441468-4CC4-4758-BD74-5DCBE6E35490}" sibTransId="{9FCD6D6B-256A-42C0-827A-5A1755FC9CD4}"/>
    <dgm:cxn modelId="{6E0BA1F7-E2CE-4609-B6EB-F3BF636379F8}" srcId="{DB849CB9-26DB-493F-9BC1-7B3FFAF2D0B0}" destId="{61C3038A-F8DF-4E92-AD59-B100725A0594}" srcOrd="2" destOrd="0" parTransId="{EA7257B8-591F-426F-A471-E340593C1FB1}" sibTransId="{79044CD3-DDAA-4003-9891-4C1966070FE0}"/>
    <dgm:cxn modelId="{F48028FA-CB7B-43CB-B087-075AC66BF1ED}" type="presOf" srcId="{AE500029-4FDD-4F4B-9D2E-CC29E5BC7027}" destId="{9CAB07AB-CE92-410C-B67B-5C4D8E902D2A}" srcOrd="0" destOrd="0" presId="urn:microsoft.com/office/officeart/2005/8/layout/cycle6"/>
    <dgm:cxn modelId="{A92EA1FF-8CCE-4E66-8BD5-56439B95DEF7}" type="presOf" srcId="{DB849CB9-26DB-493F-9BC1-7B3FFAF2D0B0}" destId="{F48110C4-7D65-489B-A701-83D0DC5AE8EC}" srcOrd="0" destOrd="0" presId="urn:microsoft.com/office/officeart/2005/8/layout/cycle6"/>
    <dgm:cxn modelId="{6F69C911-369B-44F7-9C97-F7F96E2FA293}" type="presParOf" srcId="{F48110C4-7D65-489B-A701-83D0DC5AE8EC}" destId="{1AF6340D-53D1-41C5-8C0B-08EA9545C9CA}" srcOrd="0" destOrd="0" presId="urn:microsoft.com/office/officeart/2005/8/layout/cycle6"/>
    <dgm:cxn modelId="{FF3FE373-4B26-4B59-9FD0-3D77BE766A15}" type="presParOf" srcId="{F48110C4-7D65-489B-A701-83D0DC5AE8EC}" destId="{DA17744F-7756-497E-9D79-4C7A05934046}" srcOrd="1" destOrd="0" presId="urn:microsoft.com/office/officeart/2005/8/layout/cycle6"/>
    <dgm:cxn modelId="{2C38A5EC-FF65-48A7-B427-8CBB4B1BC020}" type="presParOf" srcId="{F48110C4-7D65-489B-A701-83D0DC5AE8EC}" destId="{E9DE802E-AA1C-47D2-B31C-D706D532217F}" srcOrd="2" destOrd="0" presId="urn:microsoft.com/office/officeart/2005/8/layout/cycle6"/>
    <dgm:cxn modelId="{1D0BAE15-8F1F-40DD-B9D0-5A09FBE8146E}" type="presParOf" srcId="{F48110C4-7D65-489B-A701-83D0DC5AE8EC}" destId="{60C3DCEE-F136-4943-9423-34ABC7ECBA28}" srcOrd="3" destOrd="0" presId="urn:microsoft.com/office/officeart/2005/8/layout/cycle6"/>
    <dgm:cxn modelId="{2D9FB7EC-788F-4DCA-BA96-45271BD1C68E}" type="presParOf" srcId="{F48110C4-7D65-489B-A701-83D0DC5AE8EC}" destId="{B9476E57-7CE0-47CE-B6E4-5CAE7027C874}" srcOrd="4" destOrd="0" presId="urn:microsoft.com/office/officeart/2005/8/layout/cycle6"/>
    <dgm:cxn modelId="{4E62C4DF-0E30-4715-A0EF-D03E8C33B00E}" type="presParOf" srcId="{F48110C4-7D65-489B-A701-83D0DC5AE8EC}" destId="{9CAB07AB-CE92-410C-B67B-5C4D8E902D2A}" srcOrd="5" destOrd="0" presId="urn:microsoft.com/office/officeart/2005/8/layout/cycle6"/>
    <dgm:cxn modelId="{F7247D54-048D-4324-8C84-61B8EFEEB6AB}" type="presParOf" srcId="{F48110C4-7D65-489B-A701-83D0DC5AE8EC}" destId="{4892BA54-D813-4A68-B3E7-D96A4C75350B}" srcOrd="6" destOrd="0" presId="urn:microsoft.com/office/officeart/2005/8/layout/cycle6"/>
    <dgm:cxn modelId="{ED5D1DC8-1B6D-4A34-9E7D-33811ED85649}" type="presParOf" srcId="{F48110C4-7D65-489B-A701-83D0DC5AE8EC}" destId="{E5E16593-B9D1-4553-AFA1-64DE3FE97FB1}" srcOrd="7" destOrd="0" presId="urn:microsoft.com/office/officeart/2005/8/layout/cycle6"/>
    <dgm:cxn modelId="{075ED98B-21A7-47D6-9095-04237B95C8EC}" type="presParOf" srcId="{F48110C4-7D65-489B-A701-83D0DC5AE8EC}" destId="{9A59F23A-A123-44F1-AA94-485DEFC35334}" srcOrd="8" destOrd="0" presId="urn:microsoft.com/office/officeart/2005/8/layout/cycle6"/>
    <dgm:cxn modelId="{4ECD8D6A-5EDE-42AA-924B-A68B7C1D51C7}" type="presParOf" srcId="{F48110C4-7D65-489B-A701-83D0DC5AE8EC}" destId="{7F0EF2DB-CA93-47D2-9888-0F64D5429897}" srcOrd="9" destOrd="0" presId="urn:microsoft.com/office/officeart/2005/8/layout/cycle6"/>
    <dgm:cxn modelId="{86FE4081-6567-4167-9855-402ECA65C4AC}" type="presParOf" srcId="{F48110C4-7D65-489B-A701-83D0DC5AE8EC}" destId="{0FF3A428-76C3-4980-A906-0D3407BA83D6}" srcOrd="10" destOrd="0" presId="urn:microsoft.com/office/officeart/2005/8/layout/cycle6"/>
    <dgm:cxn modelId="{4AC041CF-C7BF-49D7-AE79-B0C535073F35}" type="presParOf" srcId="{F48110C4-7D65-489B-A701-83D0DC5AE8EC}" destId="{5FED0FA7-BC7F-41E0-8CAF-C97921FF36FC}" srcOrd="11" destOrd="0" presId="urn:microsoft.com/office/officeart/2005/8/layout/cycle6"/>
    <dgm:cxn modelId="{86ABD50E-8C44-461B-87D1-1AED602DE47E}" type="presParOf" srcId="{F48110C4-7D65-489B-A701-83D0DC5AE8EC}" destId="{4D19C0EA-C762-4CE8-913E-EABD0E5484DC}" srcOrd="12" destOrd="0" presId="urn:microsoft.com/office/officeart/2005/8/layout/cycle6"/>
    <dgm:cxn modelId="{A785583F-D040-4DB0-93B3-C34FBABCDE40}" type="presParOf" srcId="{F48110C4-7D65-489B-A701-83D0DC5AE8EC}" destId="{33BAD236-73A4-4723-A81B-B9F75E7D7030}" srcOrd="13" destOrd="0" presId="urn:microsoft.com/office/officeart/2005/8/layout/cycle6"/>
    <dgm:cxn modelId="{FF371412-DFB4-473F-AD52-EA26610A5BA1}" type="presParOf" srcId="{F48110C4-7D65-489B-A701-83D0DC5AE8EC}" destId="{3D6F80AD-6340-4645-9BCC-9CC839122757}" srcOrd="14" destOrd="0" presId="urn:microsoft.com/office/officeart/2005/8/layout/cycle6"/>
    <dgm:cxn modelId="{8B55A0B9-CE7B-4B21-93A8-006205FAB1C2}" type="presParOf" srcId="{F48110C4-7D65-489B-A701-83D0DC5AE8EC}" destId="{528AFA7E-4BAB-480B-A44C-BB6650F77F5D}" srcOrd="15" destOrd="0" presId="urn:microsoft.com/office/officeart/2005/8/layout/cycle6"/>
    <dgm:cxn modelId="{52347E4E-2D2A-458C-B241-355721D39386}" type="presParOf" srcId="{F48110C4-7D65-489B-A701-83D0DC5AE8EC}" destId="{B462E8CE-E696-4236-905E-97099BC38008}" srcOrd="16" destOrd="0" presId="urn:microsoft.com/office/officeart/2005/8/layout/cycle6"/>
    <dgm:cxn modelId="{111C3A2C-9D96-4C5D-9F94-6C75A666D432}" type="presParOf" srcId="{F48110C4-7D65-489B-A701-83D0DC5AE8EC}" destId="{1343E8DF-26C2-49CF-9606-81DA3D5CDE84}" srcOrd="17" destOrd="0" presId="urn:microsoft.com/office/officeart/2005/8/layout/cycle6"/>
    <dgm:cxn modelId="{74E6F29E-599F-4E84-8E06-89870DFE3330}" type="presParOf" srcId="{F48110C4-7D65-489B-A701-83D0DC5AE8EC}" destId="{8A8AB859-16A8-4B90-86A5-A979887A79EE}" srcOrd="18" destOrd="0" presId="urn:microsoft.com/office/officeart/2005/8/layout/cycle6"/>
    <dgm:cxn modelId="{8113408E-2983-4DF6-A3FD-D6432B49C07E}" type="presParOf" srcId="{F48110C4-7D65-489B-A701-83D0DC5AE8EC}" destId="{4317596B-D96B-4E75-AD8B-9CC507AEB411}" srcOrd="19" destOrd="0" presId="urn:microsoft.com/office/officeart/2005/8/layout/cycle6"/>
    <dgm:cxn modelId="{0B9B6AF8-B137-45C5-B53C-C5D6315E1F73}" type="presParOf" srcId="{F48110C4-7D65-489B-A701-83D0DC5AE8EC}" destId="{8B833E3F-CBA5-496B-A09F-2E54FBEE637D}" srcOrd="20" destOrd="0" presId="urn:microsoft.com/office/officeart/2005/8/layout/cycle6"/>
    <dgm:cxn modelId="{F7B135A9-DF18-425B-AFE9-0820BC4D0593}" type="presParOf" srcId="{F48110C4-7D65-489B-A701-83D0DC5AE8EC}" destId="{82B9AEF2-7358-4ACD-B5D1-32CFCBB75FA8}" srcOrd="21" destOrd="0" presId="urn:microsoft.com/office/officeart/2005/8/layout/cycle6"/>
    <dgm:cxn modelId="{A90536E3-CC11-4FB0-9102-234743CD9930}" type="presParOf" srcId="{F48110C4-7D65-489B-A701-83D0DC5AE8EC}" destId="{54C2FF6B-FAAC-4F5C-A4CA-B470EF3C66FC}" srcOrd="22" destOrd="0" presId="urn:microsoft.com/office/officeart/2005/8/layout/cycle6"/>
    <dgm:cxn modelId="{A5DFFA52-BA24-46C0-9890-53F516869EDF}" type="presParOf" srcId="{F48110C4-7D65-489B-A701-83D0DC5AE8EC}" destId="{2409D813-50DC-430D-9DC4-D4F889473FBF}" srcOrd="23" destOrd="0" presId="urn:microsoft.com/office/officeart/2005/8/layout/cycle6"/>
    <dgm:cxn modelId="{508CF65A-A4D7-41F1-9883-465C3B74EB04}" type="presParOf" srcId="{F48110C4-7D65-489B-A701-83D0DC5AE8EC}" destId="{9E632469-FD25-49F8-A3BA-3185905D2710}" srcOrd="24" destOrd="0" presId="urn:microsoft.com/office/officeart/2005/8/layout/cycle6"/>
    <dgm:cxn modelId="{AE5722DA-57CD-4A38-8F30-94DEDEA66C45}" type="presParOf" srcId="{F48110C4-7D65-489B-A701-83D0DC5AE8EC}" destId="{8FEB6B7F-1726-4EE0-BBCF-EC54C40EE5A0}" srcOrd="25" destOrd="0" presId="urn:microsoft.com/office/officeart/2005/8/layout/cycle6"/>
    <dgm:cxn modelId="{DAB34BD0-6F99-4A49-BE6B-D2A9CA1E8461}" type="presParOf" srcId="{F48110C4-7D65-489B-A701-83D0DC5AE8EC}" destId="{E93F9C88-6935-4B51-BEC8-146655D1ACB5}" srcOrd="26"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B849CB9-26DB-493F-9BC1-7B3FFAF2D0B0}" type="doc">
      <dgm:prSet loTypeId="urn:microsoft.com/office/officeart/2005/8/layout/cycle6" loCatId="cycle" qsTypeId="urn:microsoft.com/office/officeart/2005/8/quickstyle/simple1" qsCatId="simple" csTypeId="urn:microsoft.com/office/officeart/2005/8/colors/accent0_2" csCatId="mainScheme" phldr="1"/>
      <dgm:spPr/>
      <dgm:t>
        <a:bodyPr/>
        <a:lstStyle/>
        <a:p>
          <a:endParaRPr lang="cs-CZ"/>
        </a:p>
      </dgm:t>
    </dgm:pt>
    <dgm:pt modelId="{8DA66DDC-1E5A-4299-8A0E-881D8E75A2CC}">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Koncentrace EU dotací</a:t>
          </a:r>
        </a:p>
      </dgm:t>
    </dgm:pt>
    <dgm:pt modelId="{45B4CB81-8882-4D22-8D28-F64A5089339A}" type="parTrans" cxnId="{8ABC4EC6-D375-4671-A3A1-D96EFFAC3947}">
      <dgm:prSet/>
      <dgm:spPr/>
      <dgm:t>
        <a:bodyPr/>
        <a:lstStyle/>
        <a:p>
          <a:endParaRPr lang="cs-CZ" sz="1000">
            <a:solidFill>
              <a:schemeClr val="bg1">
                <a:lumMod val="10000"/>
              </a:schemeClr>
            </a:solidFill>
            <a:latin typeface="Fira Sans" panose="020B0503050000020004" pitchFamily="34" charset="0"/>
          </a:endParaRPr>
        </a:p>
      </dgm:t>
    </dgm:pt>
    <dgm:pt modelId="{98560292-C631-40A2-A164-33B1AF7A4306}" type="sibTrans" cxnId="{8ABC4EC6-D375-4671-A3A1-D96EFFAC3947}">
      <dgm:prSet/>
      <dgm:spPr>
        <a:solidFill>
          <a:srgbClr val="64BCA9"/>
        </a:solidFill>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335946D3-CE81-4097-9C35-1E1F6569FA42}">
      <dgm:prSet phldrT="[Text]" custT="1">
        <dgm:style>
          <a:lnRef idx="2">
            <a:schemeClr val="accent5"/>
          </a:lnRef>
          <a:fillRef idx="1">
            <a:schemeClr val="lt1"/>
          </a:fillRef>
          <a:effectRef idx="0">
            <a:schemeClr val="accent5"/>
          </a:effectRef>
          <a:fontRef idx="minor">
            <a:schemeClr val="dk1"/>
          </a:fontRef>
        </dgm:style>
      </dgm:prSet>
      <dgm:spPr>
        <a:solidFill>
          <a:srgbClr val="EAEAEA"/>
        </a:solidFill>
        <a:ln w="25400" cap="flat" cmpd="sng" algn="ctr">
          <a:no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gm:t>
    </dgm:pt>
    <dgm:pt modelId="{BC15C49E-B66A-4EA0-9A6A-9B01BB034923}" type="parTrans" cxnId="{1CBE8DB5-E03A-4256-B4B1-9F28955979DC}">
      <dgm:prSet/>
      <dgm:spPr/>
      <dgm:t>
        <a:bodyPr/>
        <a:lstStyle/>
        <a:p>
          <a:endParaRPr lang="cs-CZ" sz="1000">
            <a:solidFill>
              <a:schemeClr val="bg1">
                <a:lumMod val="10000"/>
              </a:schemeClr>
            </a:solidFill>
            <a:latin typeface="Fira Sans" panose="020B0503050000020004" pitchFamily="34" charset="0"/>
          </a:endParaRPr>
        </a:p>
      </dgm:t>
    </dgm:pt>
    <dgm:pt modelId="{AE500029-4FDD-4F4B-9D2E-CC29E5BC7027}" type="sibTrans" cxnId="{1CBE8DB5-E03A-4256-B4B1-9F28955979DC}">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61C3038A-F8DF-4E92-AD59-B100725A0594}">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Řízení samospráv</a:t>
          </a:r>
        </a:p>
      </dgm:t>
    </dgm:pt>
    <dgm:pt modelId="{EA7257B8-591F-426F-A471-E340593C1FB1}" type="parTrans" cxnId="{6E0BA1F7-E2CE-4609-B6EB-F3BF636379F8}">
      <dgm:prSet/>
      <dgm:spPr/>
      <dgm:t>
        <a:bodyPr/>
        <a:lstStyle/>
        <a:p>
          <a:endParaRPr lang="cs-CZ" sz="1000">
            <a:solidFill>
              <a:schemeClr val="bg1">
                <a:lumMod val="10000"/>
              </a:schemeClr>
            </a:solidFill>
            <a:latin typeface="Fira Sans" panose="020B0503050000020004" pitchFamily="34" charset="0"/>
          </a:endParaRPr>
        </a:p>
      </dgm:t>
    </dgm:pt>
    <dgm:pt modelId="{79044CD3-DDAA-4003-9891-4C1966070FE0}" type="sibTrans" cxnId="{6E0BA1F7-E2CE-4609-B6EB-F3BF636379F8}">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E25AE9C-AC8C-4D58-8F9A-F62CE0022D5B}">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Motivace k soukromým investicím</a:t>
          </a:r>
        </a:p>
      </dgm:t>
    </dgm:pt>
    <dgm:pt modelId="{3DF2A404-A472-48AE-B55E-A08A9DE95A8A}" type="parTrans" cxnId="{B5837060-CD0D-454A-80FF-2FF57B65D03E}">
      <dgm:prSet/>
      <dgm:spPr/>
      <dgm:t>
        <a:bodyPr/>
        <a:lstStyle/>
        <a:p>
          <a:endParaRPr lang="cs-CZ" sz="1000">
            <a:solidFill>
              <a:schemeClr val="bg1">
                <a:lumMod val="10000"/>
              </a:schemeClr>
            </a:solidFill>
            <a:latin typeface="Fira Sans" panose="020B0503050000020004" pitchFamily="34" charset="0"/>
          </a:endParaRPr>
        </a:p>
      </dgm:t>
    </dgm:pt>
    <dgm:pt modelId="{3A83D1AE-4CA3-49D1-BED5-DC1B16F79E9E}" type="sibTrans" cxnId="{B5837060-CD0D-454A-80FF-2FF57B65D03E}">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0541C16E-1944-4558-8F91-1E2BFBF2C4D3}">
      <dgm:prSet custT="1"/>
      <dgm:spPr>
        <a:solidFill>
          <a:srgbClr val="64BCA9"/>
        </a:solidFill>
        <a:ln>
          <a:noFill/>
        </a:ln>
      </dgm:spPr>
      <dgm:t>
        <a:bodyPr/>
        <a:lstStyle/>
        <a:p>
          <a:r>
            <a:rPr lang="cs-CZ" sz="1000" b="1">
              <a:solidFill>
                <a:schemeClr val="bg1">
                  <a:lumMod val="10000"/>
                </a:schemeClr>
              </a:solidFill>
              <a:latin typeface="Fira Sans" panose="020B0503050000020004" pitchFamily="34" charset="0"/>
            </a:rPr>
            <a:t>Chytřejší daně</a:t>
          </a:r>
        </a:p>
      </dgm:t>
    </dgm:pt>
    <dgm:pt modelId="{74B3290C-9CED-4B3B-8D13-53F98AC72B52}" type="parTrans" cxnId="{4E85D2B8-6129-4AA8-8720-C90C2083490A}">
      <dgm:prSet/>
      <dgm:spPr/>
      <dgm:t>
        <a:bodyPr/>
        <a:lstStyle/>
        <a:p>
          <a:endParaRPr lang="cs-CZ" sz="1000">
            <a:solidFill>
              <a:schemeClr val="bg1">
                <a:lumMod val="10000"/>
              </a:schemeClr>
            </a:solidFill>
            <a:latin typeface="Fira Sans" panose="020B0503050000020004" pitchFamily="34" charset="0"/>
          </a:endParaRPr>
        </a:p>
      </dgm:t>
    </dgm:pt>
    <dgm:pt modelId="{79141A15-B5C5-43BE-A996-25475570F7D8}" type="sibTrans" cxnId="{4E85D2B8-6129-4AA8-8720-C90C2083490A}">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5061020-A4FE-457E-B053-4BC20E225ADE}">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Podpora vzdělávání</a:t>
          </a:r>
        </a:p>
      </dgm:t>
    </dgm:pt>
    <dgm:pt modelId="{FB1F3FA9-3E85-4026-B041-C5FCFF660589}" type="parTrans" cxnId="{4E61D12F-FD3A-410A-9DE4-CB514013C5E1}">
      <dgm:prSet/>
      <dgm:spPr/>
      <dgm:t>
        <a:bodyPr/>
        <a:lstStyle/>
        <a:p>
          <a:endParaRPr lang="cs-CZ" sz="1000">
            <a:solidFill>
              <a:schemeClr val="bg1">
                <a:lumMod val="10000"/>
              </a:schemeClr>
            </a:solidFill>
            <a:latin typeface="Fira Sans" panose="020B0503050000020004" pitchFamily="34" charset="0"/>
          </a:endParaRPr>
        </a:p>
      </dgm:t>
    </dgm:pt>
    <dgm:pt modelId="{901714CC-5810-4859-B458-EA66EAEE3E1A}" type="sibTrans" cxnId="{4E61D12F-FD3A-410A-9DE4-CB514013C5E1}">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C74EAB3-BCAB-476B-BAA7-0ECD8C020F1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Omezení šedé ekonomiky</a:t>
          </a:r>
        </a:p>
      </dgm:t>
    </dgm:pt>
    <dgm:pt modelId="{770663B0-B946-4505-BC7D-A73C703B55D6}" type="parTrans" cxnId="{AF8D667C-EA3E-4B0F-906D-CF8BB7814FCF}">
      <dgm:prSet/>
      <dgm:spPr/>
      <dgm:t>
        <a:bodyPr/>
        <a:lstStyle/>
        <a:p>
          <a:endParaRPr lang="cs-CZ" sz="1000">
            <a:solidFill>
              <a:schemeClr val="bg1">
                <a:lumMod val="10000"/>
              </a:schemeClr>
            </a:solidFill>
            <a:latin typeface="Fira Sans" panose="020B0503050000020004" pitchFamily="34" charset="0"/>
          </a:endParaRPr>
        </a:p>
      </dgm:t>
    </dgm:pt>
    <dgm:pt modelId="{1A1DE00F-F739-4D74-8165-4F41AA21E618}" type="sibTrans" cxnId="{AF8D667C-EA3E-4B0F-906D-CF8BB7814FCF}">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B2DAD1D-8172-415E-B516-6F72DF2C87E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Stabilizující bytová politika</a:t>
          </a:r>
        </a:p>
      </dgm:t>
    </dgm:pt>
    <dgm:pt modelId="{C8035952-8E3A-4BD6-A7F5-4E4E4BAC17BA}" type="parTrans" cxnId="{E394623A-8816-44FD-B1F9-E62C259667D6}">
      <dgm:prSet/>
      <dgm:spPr/>
      <dgm:t>
        <a:bodyPr/>
        <a:lstStyle/>
        <a:p>
          <a:endParaRPr lang="cs-CZ" sz="1000">
            <a:solidFill>
              <a:schemeClr val="bg1">
                <a:lumMod val="10000"/>
              </a:schemeClr>
            </a:solidFill>
            <a:latin typeface="Fira Sans" panose="020B0503050000020004" pitchFamily="34" charset="0"/>
          </a:endParaRPr>
        </a:p>
      </dgm:t>
    </dgm:pt>
    <dgm:pt modelId="{F0EC7CBB-5484-4BD6-A634-1E2C9CA1721C}" type="sibTrans" cxnId="{E394623A-8816-44FD-B1F9-E62C259667D6}">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D2B1CED-857B-4605-BB9A-FF6630D0A73A}">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Lepší regionální plánování</a:t>
          </a:r>
        </a:p>
      </dgm:t>
    </dgm:pt>
    <dgm:pt modelId="{80441468-4CC4-4758-BD74-5DCBE6E35490}" type="parTrans" cxnId="{17CB0FD6-A918-4B4A-BEB5-50F70517E213}">
      <dgm:prSet/>
      <dgm:spPr/>
      <dgm:t>
        <a:bodyPr/>
        <a:lstStyle/>
        <a:p>
          <a:endParaRPr lang="cs-CZ" sz="1000">
            <a:solidFill>
              <a:schemeClr val="bg1">
                <a:lumMod val="10000"/>
              </a:schemeClr>
            </a:solidFill>
            <a:latin typeface="Fira Sans" panose="020B0503050000020004" pitchFamily="34" charset="0"/>
          </a:endParaRPr>
        </a:p>
      </dgm:t>
    </dgm:pt>
    <dgm:pt modelId="{9FCD6D6B-256A-42C0-827A-5A1755FC9CD4}" type="sibTrans" cxnId="{17CB0FD6-A918-4B4A-BEB5-50F70517E213}">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48110C4-7D65-489B-A701-83D0DC5AE8EC}" type="pres">
      <dgm:prSet presAssocID="{DB849CB9-26DB-493F-9BC1-7B3FFAF2D0B0}" presName="cycle" presStyleCnt="0">
        <dgm:presLayoutVars>
          <dgm:dir/>
          <dgm:resizeHandles val="exact"/>
        </dgm:presLayoutVars>
      </dgm:prSet>
      <dgm:spPr/>
    </dgm:pt>
    <dgm:pt modelId="{1AF6340D-53D1-41C5-8C0B-08EA9545C9CA}" type="pres">
      <dgm:prSet presAssocID="{8DA66DDC-1E5A-4299-8A0E-881D8E75A2CC}" presName="node" presStyleLbl="node1" presStyleIdx="0" presStyleCnt="9" custScaleX="139153" custScaleY="202948" custRadScaleRad="99673" custRadScaleInc="-5788">
        <dgm:presLayoutVars>
          <dgm:bulletEnabled val="1"/>
        </dgm:presLayoutVars>
      </dgm:prSet>
      <dgm:spPr/>
    </dgm:pt>
    <dgm:pt modelId="{DA17744F-7756-497E-9D79-4C7A05934046}" type="pres">
      <dgm:prSet presAssocID="{8DA66DDC-1E5A-4299-8A0E-881D8E75A2CC}" presName="spNode" presStyleCnt="0"/>
      <dgm:spPr/>
    </dgm:pt>
    <dgm:pt modelId="{E9DE802E-AA1C-47D2-B31C-D706D532217F}" type="pres">
      <dgm:prSet presAssocID="{98560292-C631-40A2-A164-33B1AF7A4306}" presName="sibTrans" presStyleLbl="sibTrans1D1" presStyleIdx="0" presStyleCnt="9"/>
      <dgm:spPr/>
    </dgm:pt>
    <dgm:pt modelId="{60C3DCEE-F136-4943-9423-34ABC7ECBA28}" type="pres">
      <dgm:prSet presAssocID="{335946D3-CE81-4097-9C35-1E1F6569FA42}" presName="node" presStyleLbl="node1" presStyleIdx="1" presStyleCnt="9" custScaleX="131916" custScaleY="202948" custRadScaleRad="98998" custRadScaleInc="19231">
        <dgm:presLayoutVars>
          <dgm:bulletEnabled val="1"/>
        </dgm:presLayoutVars>
      </dgm:prSet>
      <dgm:spPr>
        <a:xfrm>
          <a:off x="4085154" y="261999"/>
          <a:ext cx="1007997" cy="1007999"/>
        </a:xfrm>
        <a:prstGeom prst="roundRect">
          <a:avLst/>
        </a:prstGeom>
      </dgm:spPr>
    </dgm:pt>
    <dgm:pt modelId="{B9476E57-7CE0-47CE-B6E4-5CAE7027C874}" type="pres">
      <dgm:prSet presAssocID="{335946D3-CE81-4097-9C35-1E1F6569FA42}" presName="spNode" presStyleCnt="0"/>
      <dgm:spPr/>
    </dgm:pt>
    <dgm:pt modelId="{9CAB07AB-CE92-410C-B67B-5C4D8E902D2A}" type="pres">
      <dgm:prSet presAssocID="{AE500029-4FDD-4F4B-9D2E-CC29E5BC7027}" presName="sibTrans" presStyleLbl="sibTrans1D1" presStyleIdx="1" presStyleCnt="9"/>
      <dgm:spPr/>
    </dgm:pt>
    <dgm:pt modelId="{4892BA54-D813-4A68-B3E7-D96A4C75350B}" type="pres">
      <dgm:prSet presAssocID="{61C3038A-F8DF-4E92-AD59-B100725A0594}" presName="node" presStyleLbl="node1" presStyleIdx="2" presStyleCnt="9" custScaleX="131916" custScaleY="202948" custRadScaleRad="99169" custRadScaleInc="24360">
        <dgm:presLayoutVars>
          <dgm:bulletEnabled val="1"/>
        </dgm:presLayoutVars>
      </dgm:prSet>
      <dgm:spPr/>
    </dgm:pt>
    <dgm:pt modelId="{E5E16593-B9D1-4553-AFA1-64DE3FE97FB1}" type="pres">
      <dgm:prSet presAssocID="{61C3038A-F8DF-4E92-AD59-B100725A0594}" presName="spNode" presStyleCnt="0"/>
      <dgm:spPr/>
    </dgm:pt>
    <dgm:pt modelId="{9A59F23A-A123-44F1-AA94-485DEFC35334}" type="pres">
      <dgm:prSet presAssocID="{79044CD3-DDAA-4003-9891-4C1966070FE0}" presName="sibTrans" presStyleLbl="sibTrans1D1" presStyleIdx="2" presStyleCnt="9"/>
      <dgm:spPr/>
    </dgm:pt>
    <dgm:pt modelId="{7F0EF2DB-CA93-47D2-9888-0F64D5429897}" type="pres">
      <dgm:prSet presAssocID="{FE25AE9C-AC8C-4D58-8F9A-F62CE0022D5B}" presName="node" presStyleLbl="node1" presStyleIdx="3" presStyleCnt="9" custScaleX="131916" custScaleY="202948">
        <dgm:presLayoutVars>
          <dgm:bulletEnabled val="1"/>
        </dgm:presLayoutVars>
      </dgm:prSet>
      <dgm:spPr/>
    </dgm:pt>
    <dgm:pt modelId="{0FF3A428-76C3-4980-A906-0D3407BA83D6}" type="pres">
      <dgm:prSet presAssocID="{FE25AE9C-AC8C-4D58-8F9A-F62CE0022D5B}" presName="spNode" presStyleCnt="0"/>
      <dgm:spPr/>
    </dgm:pt>
    <dgm:pt modelId="{5FED0FA7-BC7F-41E0-8CAF-C97921FF36FC}" type="pres">
      <dgm:prSet presAssocID="{3A83D1AE-4CA3-49D1-BED5-DC1B16F79E9E}" presName="sibTrans" presStyleLbl="sibTrans1D1" presStyleIdx="3" presStyleCnt="9"/>
      <dgm:spPr/>
    </dgm:pt>
    <dgm:pt modelId="{4D19C0EA-C762-4CE8-913E-EABD0E5484DC}" type="pres">
      <dgm:prSet presAssocID="{0541C16E-1944-4558-8F91-1E2BFBF2C4D3}" presName="node" presStyleLbl="node1" presStyleIdx="4" presStyleCnt="9" custScaleX="131916" custScaleY="202948" custRadScaleRad="98172" custRadScaleInc="18830">
        <dgm:presLayoutVars>
          <dgm:bulletEnabled val="1"/>
        </dgm:presLayoutVars>
      </dgm:prSet>
      <dgm:spPr/>
    </dgm:pt>
    <dgm:pt modelId="{33BAD236-73A4-4723-A81B-B9F75E7D7030}" type="pres">
      <dgm:prSet presAssocID="{0541C16E-1944-4558-8F91-1E2BFBF2C4D3}" presName="spNode" presStyleCnt="0"/>
      <dgm:spPr/>
    </dgm:pt>
    <dgm:pt modelId="{3D6F80AD-6340-4645-9BCC-9CC839122757}" type="pres">
      <dgm:prSet presAssocID="{79141A15-B5C5-43BE-A996-25475570F7D8}" presName="sibTrans" presStyleLbl="sibTrans1D1" presStyleIdx="4" presStyleCnt="9"/>
      <dgm:spPr/>
    </dgm:pt>
    <dgm:pt modelId="{528AFA7E-4BAB-480B-A44C-BB6650F77F5D}" type="pres">
      <dgm:prSet presAssocID="{45061020-A4FE-457E-B053-4BC20E225ADE}" presName="node" presStyleLbl="node1" presStyleIdx="5" presStyleCnt="9" custScaleX="131916" custScaleY="202948" custRadScaleRad="98713" custRadScaleInc="-21101">
        <dgm:presLayoutVars>
          <dgm:bulletEnabled val="1"/>
        </dgm:presLayoutVars>
      </dgm:prSet>
      <dgm:spPr/>
    </dgm:pt>
    <dgm:pt modelId="{B462E8CE-E696-4236-905E-97099BC38008}" type="pres">
      <dgm:prSet presAssocID="{45061020-A4FE-457E-B053-4BC20E225ADE}" presName="spNode" presStyleCnt="0"/>
      <dgm:spPr/>
    </dgm:pt>
    <dgm:pt modelId="{1343E8DF-26C2-49CF-9606-81DA3D5CDE84}" type="pres">
      <dgm:prSet presAssocID="{901714CC-5810-4859-B458-EA66EAEE3E1A}" presName="sibTrans" presStyleLbl="sibTrans1D1" presStyleIdx="5" presStyleCnt="9"/>
      <dgm:spPr/>
    </dgm:pt>
    <dgm:pt modelId="{8A8AB859-16A8-4B90-86A5-A979887A79EE}" type="pres">
      <dgm:prSet presAssocID="{4C74EAB3-BCAB-476B-BAA7-0ECD8C020F1D}" presName="node" presStyleLbl="node1" presStyleIdx="6" presStyleCnt="9" custScaleX="131916" custScaleY="202948">
        <dgm:presLayoutVars>
          <dgm:bulletEnabled val="1"/>
        </dgm:presLayoutVars>
      </dgm:prSet>
      <dgm:spPr/>
    </dgm:pt>
    <dgm:pt modelId="{4317596B-D96B-4E75-AD8B-9CC507AEB411}" type="pres">
      <dgm:prSet presAssocID="{4C74EAB3-BCAB-476B-BAA7-0ECD8C020F1D}" presName="spNode" presStyleCnt="0"/>
      <dgm:spPr/>
    </dgm:pt>
    <dgm:pt modelId="{8B833E3F-CBA5-496B-A09F-2E54FBEE637D}" type="pres">
      <dgm:prSet presAssocID="{1A1DE00F-F739-4D74-8165-4F41AA21E618}" presName="sibTrans" presStyleLbl="sibTrans1D1" presStyleIdx="6" presStyleCnt="9"/>
      <dgm:spPr/>
    </dgm:pt>
    <dgm:pt modelId="{82B9AEF2-7358-4ACD-B5D1-32CFCBB75FA8}" type="pres">
      <dgm:prSet presAssocID="{CB2DAD1D-8172-415E-B516-6F72DF2C87ED}" presName="node" presStyleLbl="node1" presStyleIdx="7" presStyleCnt="9" custScaleX="132582" custScaleY="203221" custRadScaleRad="99668" custRadScaleInc="-18782">
        <dgm:presLayoutVars>
          <dgm:bulletEnabled val="1"/>
        </dgm:presLayoutVars>
      </dgm:prSet>
      <dgm:spPr/>
    </dgm:pt>
    <dgm:pt modelId="{54C2FF6B-FAAC-4F5C-A4CA-B470EF3C66FC}" type="pres">
      <dgm:prSet presAssocID="{CB2DAD1D-8172-415E-B516-6F72DF2C87ED}" presName="spNode" presStyleCnt="0"/>
      <dgm:spPr/>
    </dgm:pt>
    <dgm:pt modelId="{2409D813-50DC-430D-9DC4-D4F889473FBF}" type="pres">
      <dgm:prSet presAssocID="{F0EC7CBB-5484-4BD6-A634-1E2C9CA1721C}" presName="sibTrans" presStyleLbl="sibTrans1D1" presStyleIdx="7" presStyleCnt="9"/>
      <dgm:spPr/>
    </dgm:pt>
    <dgm:pt modelId="{9E632469-FD25-49F8-A3BA-3185905D2710}" type="pres">
      <dgm:prSet presAssocID="{CD2B1CED-857B-4605-BB9A-FF6630D0A73A}" presName="node" presStyleLbl="node1" presStyleIdx="8" presStyleCnt="9" custScaleX="131916" custScaleY="202948" custRadScaleRad="97871" custRadScaleInc="-13804">
        <dgm:presLayoutVars>
          <dgm:bulletEnabled val="1"/>
        </dgm:presLayoutVars>
      </dgm:prSet>
      <dgm:spPr/>
    </dgm:pt>
    <dgm:pt modelId="{8FEB6B7F-1726-4EE0-BBCF-EC54C40EE5A0}" type="pres">
      <dgm:prSet presAssocID="{CD2B1CED-857B-4605-BB9A-FF6630D0A73A}" presName="spNode" presStyleCnt="0"/>
      <dgm:spPr/>
    </dgm:pt>
    <dgm:pt modelId="{E93F9C88-6935-4B51-BEC8-146655D1ACB5}" type="pres">
      <dgm:prSet presAssocID="{9FCD6D6B-256A-42C0-827A-5A1755FC9CD4}" presName="sibTrans" presStyleLbl="sibTrans1D1" presStyleIdx="8" presStyleCnt="9"/>
      <dgm:spPr/>
    </dgm:pt>
  </dgm:ptLst>
  <dgm:cxnLst>
    <dgm:cxn modelId="{19D95308-0553-4600-8CCD-6936C10B4B14}" type="presOf" srcId="{9FCD6D6B-256A-42C0-827A-5A1755FC9CD4}" destId="{E93F9C88-6935-4B51-BEC8-146655D1ACB5}" srcOrd="0" destOrd="0" presId="urn:microsoft.com/office/officeart/2005/8/layout/cycle6"/>
    <dgm:cxn modelId="{9892B912-B6A4-4A97-BBF4-556EB7C4185C}" type="presOf" srcId="{79141A15-B5C5-43BE-A996-25475570F7D8}" destId="{3D6F80AD-6340-4645-9BCC-9CC839122757}" srcOrd="0" destOrd="0" presId="urn:microsoft.com/office/officeart/2005/8/layout/cycle6"/>
    <dgm:cxn modelId="{1C8CA215-762A-4415-8E6D-D991EE0C98C2}" type="presOf" srcId="{CD2B1CED-857B-4605-BB9A-FF6630D0A73A}" destId="{9E632469-FD25-49F8-A3BA-3185905D2710}" srcOrd="0" destOrd="0" presId="urn:microsoft.com/office/officeart/2005/8/layout/cycle6"/>
    <dgm:cxn modelId="{4E61D12F-FD3A-410A-9DE4-CB514013C5E1}" srcId="{DB849CB9-26DB-493F-9BC1-7B3FFAF2D0B0}" destId="{45061020-A4FE-457E-B053-4BC20E225ADE}" srcOrd="5" destOrd="0" parTransId="{FB1F3FA9-3E85-4026-B041-C5FCFF660589}" sibTransId="{901714CC-5810-4859-B458-EA66EAEE3E1A}"/>
    <dgm:cxn modelId="{2C34A433-6607-45EE-B7C2-CB11C72D1220}" type="presOf" srcId="{79044CD3-DDAA-4003-9891-4C1966070FE0}" destId="{9A59F23A-A123-44F1-AA94-485DEFC35334}" srcOrd="0" destOrd="0" presId="urn:microsoft.com/office/officeart/2005/8/layout/cycle6"/>
    <dgm:cxn modelId="{373ACE34-BA8F-48EF-9D20-600D8F367550}" type="presOf" srcId="{0541C16E-1944-4558-8F91-1E2BFBF2C4D3}" destId="{4D19C0EA-C762-4CE8-913E-EABD0E5484DC}" srcOrd="0" destOrd="0" presId="urn:microsoft.com/office/officeart/2005/8/layout/cycle6"/>
    <dgm:cxn modelId="{E394623A-8816-44FD-B1F9-E62C259667D6}" srcId="{DB849CB9-26DB-493F-9BC1-7B3FFAF2D0B0}" destId="{CB2DAD1D-8172-415E-B516-6F72DF2C87ED}" srcOrd="7" destOrd="0" parTransId="{C8035952-8E3A-4BD6-A7F5-4E4E4BAC17BA}" sibTransId="{F0EC7CBB-5484-4BD6-A634-1E2C9CA1721C}"/>
    <dgm:cxn modelId="{DD77F83D-8C8D-4CAF-AADD-4CA7A26FB3C0}" type="presOf" srcId="{3A83D1AE-4CA3-49D1-BED5-DC1B16F79E9E}" destId="{5FED0FA7-BC7F-41E0-8CAF-C97921FF36FC}" srcOrd="0" destOrd="0" presId="urn:microsoft.com/office/officeart/2005/8/layout/cycle6"/>
    <dgm:cxn modelId="{B5837060-CD0D-454A-80FF-2FF57B65D03E}" srcId="{DB849CB9-26DB-493F-9BC1-7B3FFAF2D0B0}" destId="{FE25AE9C-AC8C-4D58-8F9A-F62CE0022D5B}" srcOrd="3" destOrd="0" parTransId="{3DF2A404-A472-48AE-B55E-A08A9DE95A8A}" sibTransId="{3A83D1AE-4CA3-49D1-BED5-DC1B16F79E9E}"/>
    <dgm:cxn modelId="{2566F96C-F373-4362-A34E-2367EABB4789}" type="presOf" srcId="{FE25AE9C-AC8C-4D58-8F9A-F62CE0022D5B}" destId="{7F0EF2DB-CA93-47D2-9888-0F64D5429897}" srcOrd="0" destOrd="0" presId="urn:microsoft.com/office/officeart/2005/8/layout/cycle6"/>
    <dgm:cxn modelId="{E6E9BB6E-B5CE-4603-BDA4-4AE1356356EF}" type="presOf" srcId="{8DA66DDC-1E5A-4299-8A0E-881D8E75A2CC}" destId="{1AF6340D-53D1-41C5-8C0B-08EA9545C9CA}" srcOrd="0" destOrd="0" presId="urn:microsoft.com/office/officeart/2005/8/layout/cycle6"/>
    <dgm:cxn modelId="{17A4B057-35C8-41F1-9648-864A5C9B578D}" type="presOf" srcId="{CB2DAD1D-8172-415E-B516-6F72DF2C87ED}" destId="{82B9AEF2-7358-4ACD-B5D1-32CFCBB75FA8}" srcOrd="0" destOrd="0" presId="urn:microsoft.com/office/officeart/2005/8/layout/cycle6"/>
    <dgm:cxn modelId="{378F9878-6035-4F48-89E1-BFD8A4F16BDB}" type="presOf" srcId="{61C3038A-F8DF-4E92-AD59-B100725A0594}" destId="{4892BA54-D813-4A68-B3E7-D96A4C75350B}" srcOrd="0" destOrd="0" presId="urn:microsoft.com/office/officeart/2005/8/layout/cycle6"/>
    <dgm:cxn modelId="{94F8827A-900A-4D58-A084-AE208E3CFEB5}" type="presOf" srcId="{1A1DE00F-F739-4D74-8165-4F41AA21E618}" destId="{8B833E3F-CBA5-496B-A09F-2E54FBEE637D}" srcOrd="0" destOrd="0" presId="urn:microsoft.com/office/officeart/2005/8/layout/cycle6"/>
    <dgm:cxn modelId="{AF8D667C-EA3E-4B0F-906D-CF8BB7814FCF}" srcId="{DB849CB9-26DB-493F-9BC1-7B3FFAF2D0B0}" destId="{4C74EAB3-BCAB-476B-BAA7-0ECD8C020F1D}" srcOrd="6" destOrd="0" parTransId="{770663B0-B946-4505-BC7D-A73C703B55D6}" sibTransId="{1A1DE00F-F739-4D74-8165-4F41AA21E618}"/>
    <dgm:cxn modelId="{4CE94693-C180-4EC4-9FCF-513C240B9E67}" type="presOf" srcId="{98560292-C631-40A2-A164-33B1AF7A4306}" destId="{E9DE802E-AA1C-47D2-B31C-D706D532217F}" srcOrd="0" destOrd="0" presId="urn:microsoft.com/office/officeart/2005/8/layout/cycle6"/>
    <dgm:cxn modelId="{C3F4569C-0137-47FF-9FCA-D223C87684A5}" type="presOf" srcId="{45061020-A4FE-457E-B053-4BC20E225ADE}" destId="{528AFA7E-4BAB-480B-A44C-BB6650F77F5D}" srcOrd="0" destOrd="0" presId="urn:microsoft.com/office/officeart/2005/8/layout/cycle6"/>
    <dgm:cxn modelId="{B9952EB2-29F7-4765-B9B8-7D6F2CDFB527}" type="presOf" srcId="{F0EC7CBB-5484-4BD6-A634-1E2C9CA1721C}" destId="{2409D813-50DC-430D-9DC4-D4F889473FBF}" srcOrd="0" destOrd="0" presId="urn:microsoft.com/office/officeart/2005/8/layout/cycle6"/>
    <dgm:cxn modelId="{1CBE8DB5-E03A-4256-B4B1-9F28955979DC}" srcId="{DB849CB9-26DB-493F-9BC1-7B3FFAF2D0B0}" destId="{335946D3-CE81-4097-9C35-1E1F6569FA42}" srcOrd="1" destOrd="0" parTransId="{BC15C49E-B66A-4EA0-9A6A-9B01BB034923}" sibTransId="{AE500029-4FDD-4F4B-9D2E-CC29E5BC7027}"/>
    <dgm:cxn modelId="{4E85D2B8-6129-4AA8-8720-C90C2083490A}" srcId="{DB849CB9-26DB-493F-9BC1-7B3FFAF2D0B0}" destId="{0541C16E-1944-4558-8F91-1E2BFBF2C4D3}" srcOrd="4" destOrd="0" parTransId="{74B3290C-9CED-4B3B-8D13-53F98AC72B52}" sibTransId="{79141A15-B5C5-43BE-A996-25475570F7D8}"/>
    <dgm:cxn modelId="{DABF91B9-8897-4255-84DD-793AC22AF8DB}" type="presOf" srcId="{4C74EAB3-BCAB-476B-BAA7-0ECD8C020F1D}" destId="{8A8AB859-16A8-4B90-86A5-A979887A79EE}" srcOrd="0" destOrd="0" presId="urn:microsoft.com/office/officeart/2005/8/layout/cycle6"/>
    <dgm:cxn modelId="{34D9E2BA-6362-4232-A9F8-921720D860C4}" type="presOf" srcId="{335946D3-CE81-4097-9C35-1E1F6569FA42}" destId="{60C3DCEE-F136-4943-9423-34ABC7ECBA28}" srcOrd="0" destOrd="0" presId="urn:microsoft.com/office/officeart/2005/8/layout/cycle6"/>
    <dgm:cxn modelId="{0455ABBC-94C4-469B-966A-38C9C019DBBE}" type="presOf" srcId="{901714CC-5810-4859-B458-EA66EAEE3E1A}" destId="{1343E8DF-26C2-49CF-9606-81DA3D5CDE84}" srcOrd="0" destOrd="0" presId="urn:microsoft.com/office/officeart/2005/8/layout/cycle6"/>
    <dgm:cxn modelId="{8ABC4EC6-D375-4671-A3A1-D96EFFAC3947}" srcId="{DB849CB9-26DB-493F-9BC1-7B3FFAF2D0B0}" destId="{8DA66DDC-1E5A-4299-8A0E-881D8E75A2CC}" srcOrd="0" destOrd="0" parTransId="{45B4CB81-8882-4D22-8D28-F64A5089339A}" sibTransId="{98560292-C631-40A2-A164-33B1AF7A4306}"/>
    <dgm:cxn modelId="{17CB0FD6-A918-4B4A-BEB5-50F70517E213}" srcId="{DB849CB9-26DB-493F-9BC1-7B3FFAF2D0B0}" destId="{CD2B1CED-857B-4605-BB9A-FF6630D0A73A}" srcOrd="8" destOrd="0" parTransId="{80441468-4CC4-4758-BD74-5DCBE6E35490}" sibTransId="{9FCD6D6B-256A-42C0-827A-5A1755FC9CD4}"/>
    <dgm:cxn modelId="{6E0BA1F7-E2CE-4609-B6EB-F3BF636379F8}" srcId="{DB849CB9-26DB-493F-9BC1-7B3FFAF2D0B0}" destId="{61C3038A-F8DF-4E92-AD59-B100725A0594}" srcOrd="2" destOrd="0" parTransId="{EA7257B8-591F-426F-A471-E340593C1FB1}" sibTransId="{79044CD3-DDAA-4003-9891-4C1966070FE0}"/>
    <dgm:cxn modelId="{F48028FA-CB7B-43CB-B087-075AC66BF1ED}" type="presOf" srcId="{AE500029-4FDD-4F4B-9D2E-CC29E5BC7027}" destId="{9CAB07AB-CE92-410C-B67B-5C4D8E902D2A}" srcOrd="0" destOrd="0" presId="urn:microsoft.com/office/officeart/2005/8/layout/cycle6"/>
    <dgm:cxn modelId="{A92EA1FF-8CCE-4E66-8BD5-56439B95DEF7}" type="presOf" srcId="{DB849CB9-26DB-493F-9BC1-7B3FFAF2D0B0}" destId="{F48110C4-7D65-489B-A701-83D0DC5AE8EC}" srcOrd="0" destOrd="0" presId="urn:microsoft.com/office/officeart/2005/8/layout/cycle6"/>
    <dgm:cxn modelId="{6F69C911-369B-44F7-9C97-F7F96E2FA293}" type="presParOf" srcId="{F48110C4-7D65-489B-A701-83D0DC5AE8EC}" destId="{1AF6340D-53D1-41C5-8C0B-08EA9545C9CA}" srcOrd="0" destOrd="0" presId="urn:microsoft.com/office/officeart/2005/8/layout/cycle6"/>
    <dgm:cxn modelId="{FF3FE373-4B26-4B59-9FD0-3D77BE766A15}" type="presParOf" srcId="{F48110C4-7D65-489B-A701-83D0DC5AE8EC}" destId="{DA17744F-7756-497E-9D79-4C7A05934046}" srcOrd="1" destOrd="0" presId="urn:microsoft.com/office/officeart/2005/8/layout/cycle6"/>
    <dgm:cxn modelId="{2C38A5EC-FF65-48A7-B427-8CBB4B1BC020}" type="presParOf" srcId="{F48110C4-7D65-489B-A701-83D0DC5AE8EC}" destId="{E9DE802E-AA1C-47D2-B31C-D706D532217F}" srcOrd="2" destOrd="0" presId="urn:microsoft.com/office/officeart/2005/8/layout/cycle6"/>
    <dgm:cxn modelId="{1D0BAE15-8F1F-40DD-B9D0-5A09FBE8146E}" type="presParOf" srcId="{F48110C4-7D65-489B-A701-83D0DC5AE8EC}" destId="{60C3DCEE-F136-4943-9423-34ABC7ECBA28}" srcOrd="3" destOrd="0" presId="urn:microsoft.com/office/officeart/2005/8/layout/cycle6"/>
    <dgm:cxn modelId="{2D9FB7EC-788F-4DCA-BA96-45271BD1C68E}" type="presParOf" srcId="{F48110C4-7D65-489B-A701-83D0DC5AE8EC}" destId="{B9476E57-7CE0-47CE-B6E4-5CAE7027C874}" srcOrd="4" destOrd="0" presId="urn:microsoft.com/office/officeart/2005/8/layout/cycle6"/>
    <dgm:cxn modelId="{4E62C4DF-0E30-4715-A0EF-D03E8C33B00E}" type="presParOf" srcId="{F48110C4-7D65-489B-A701-83D0DC5AE8EC}" destId="{9CAB07AB-CE92-410C-B67B-5C4D8E902D2A}" srcOrd="5" destOrd="0" presId="urn:microsoft.com/office/officeart/2005/8/layout/cycle6"/>
    <dgm:cxn modelId="{F7247D54-048D-4324-8C84-61B8EFEEB6AB}" type="presParOf" srcId="{F48110C4-7D65-489B-A701-83D0DC5AE8EC}" destId="{4892BA54-D813-4A68-B3E7-D96A4C75350B}" srcOrd="6" destOrd="0" presId="urn:microsoft.com/office/officeart/2005/8/layout/cycle6"/>
    <dgm:cxn modelId="{ED5D1DC8-1B6D-4A34-9E7D-33811ED85649}" type="presParOf" srcId="{F48110C4-7D65-489B-A701-83D0DC5AE8EC}" destId="{E5E16593-B9D1-4553-AFA1-64DE3FE97FB1}" srcOrd="7" destOrd="0" presId="urn:microsoft.com/office/officeart/2005/8/layout/cycle6"/>
    <dgm:cxn modelId="{075ED98B-21A7-47D6-9095-04237B95C8EC}" type="presParOf" srcId="{F48110C4-7D65-489B-A701-83D0DC5AE8EC}" destId="{9A59F23A-A123-44F1-AA94-485DEFC35334}" srcOrd="8" destOrd="0" presId="urn:microsoft.com/office/officeart/2005/8/layout/cycle6"/>
    <dgm:cxn modelId="{4ECD8D6A-5EDE-42AA-924B-A68B7C1D51C7}" type="presParOf" srcId="{F48110C4-7D65-489B-A701-83D0DC5AE8EC}" destId="{7F0EF2DB-CA93-47D2-9888-0F64D5429897}" srcOrd="9" destOrd="0" presId="urn:microsoft.com/office/officeart/2005/8/layout/cycle6"/>
    <dgm:cxn modelId="{86FE4081-6567-4167-9855-402ECA65C4AC}" type="presParOf" srcId="{F48110C4-7D65-489B-A701-83D0DC5AE8EC}" destId="{0FF3A428-76C3-4980-A906-0D3407BA83D6}" srcOrd="10" destOrd="0" presId="urn:microsoft.com/office/officeart/2005/8/layout/cycle6"/>
    <dgm:cxn modelId="{4AC041CF-C7BF-49D7-AE79-B0C535073F35}" type="presParOf" srcId="{F48110C4-7D65-489B-A701-83D0DC5AE8EC}" destId="{5FED0FA7-BC7F-41E0-8CAF-C97921FF36FC}" srcOrd="11" destOrd="0" presId="urn:microsoft.com/office/officeart/2005/8/layout/cycle6"/>
    <dgm:cxn modelId="{86ABD50E-8C44-461B-87D1-1AED602DE47E}" type="presParOf" srcId="{F48110C4-7D65-489B-A701-83D0DC5AE8EC}" destId="{4D19C0EA-C762-4CE8-913E-EABD0E5484DC}" srcOrd="12" destOrd="0" presId="urn:microsoft.com/office/officeart/2005/8/layout/cycle6"/>
    <dgm:cxn modelId="{A785583F-D040-4DB0-93B3-C34FBABCDE40}" type="presParOf" srcId="{F48110C4-7D65-489B-A701-83D0DC5AE8EC}" destId="{33BAD236-73A4-4723-A81B-B9F75E7D7030}" srcOrd="13" destOrd="0" presId="urn:microsoft.com/office/officeart/2005/8/layout/cycle6"/>
    <dgm:cxn modelId="{FF371412-DFB4-473F-AD52-EA26610A5BA1}" type="presParOf" srcId="{F48110C4-7D65-489B-A701-83D0DC5AE8EC}" destId="{3D6F80AD-6340-4645-9BCC-9CC839122757}" srcOrd="14" destOrd="0" presId="urn:microsoft.com/office/officeart/2005/8/layout/cycle6"/>
    <dgm:cxn modelId="{8B55A0B9-CE7B-4B21-93A8-006205FAB1C2}" type="presParOf" srcId="{F48110C4-7D65-489B-A701-83D0DC5AE8EC}" destId="{528AFA7E-4BAB-480B-A44C-BB6650F77F5D}" srcOrd="15" destOrd="0" presId="urn:microsoft.com/office/officeart/2005/8/layout/cycle6"/>
    <dgm:cxn modelId="{52347E4E-2D2A-458C-B241-355721D39386}" type="presParOf" srcId="{F48110C4-7D65-489B-A701-83D0DC5AE8EC}" destId="{B462E8CE-E696-4236-905E-97099BC38008}" srcOrd="16" destOrd="0" presId="urn:microsoft.com/office/officeart/2005/8/layout/cycle6"/>
    <dgm:cxn modelId="{111C3A2C-9D96-4C5D-9F94-6C75A666D432}" type="presParOf" srcId="{F48110C4-7D65-489B-A701-83D0DC5AE8EC}" destId="{1343E8DF-26C2-49CF-9606-81DA3D5CDE84}" srcOrd="17" destOrd="0" presId="urn:microsoft.com/office/officeart/2005/8/layout/cycle6"/>
    <dgm:cxn modelId="{74E6F29E-599F-4E84-8E06-89870DFE3330}" type="presParOf" srcId="{F48110C4-7D65-489B-A701-83D0DC5AE8EC}" destId="{8A8AB859-16A8-4B90-86A5-A979887A79EE}" srcOrd="18" destOrd="0" presId="urn:microsoft.com/office/officeart/2005/8/layout/cycle6"/>
    <dgm:cxn modelId="{8113408E-2983-4DF6-A3FD-D6432B49C07E}" type="presParOf" srcId="{F48110C4-7D65-489B-A701-83D0DC5AE8EC}" destId="{4317596B-D96B-4E75-AD8B-9CC507AEB411}" srcOrd="19" destOrd="0" presId="urn:microsoft.com/office/officeart/2005/8/layout/cycle6"/>
    <dgm:cxn modelId="{0B9B6AF8-B137-45C5-B53C-C5D6315E1F73}" type="presParOf" srcId="{F48110C4-7D65-489B-A701-83D0DC5AE8EC}" destId="{8B833E3F-CBA5-496B-A09F-2E54FBEE637D}" srcOrd="20" destOrd="0" presId="urn:microsoft.com/office/officeart/2005/8/layout/cycle6"/>
    <dgm:cxn modelId="{F7B135A9-DF18-425B-AFE9-0820BC4D0593}" type="presParOf" srcId="{F48110C4-7D65-489B-A701-83D0DC5AE8EC}" destId="{82B9AEF2-7358-4ACD-B5D1-32CFCBB75FA8}" srcOrd="21" destOrd="0" presId="urn:microsoft.com/office/officeart/2005/8/layout/cycle6"/>
    <dgm:cxn modelId="{A90536E3-CC11-4FB0-9102-234743CD9930}" type="presParOf" srcId="{F48110C4-7D65-489B-A701-83D0DC5AE8EC}" destId="{54C2FF6B-FAAC-4F5C-A4CA-B470EF3C66FC}" srcOrd="22" destOrd="0" presId="urn:microsoft.com/office/officeart/2005/8/layout/cycle6"/>
    <dgm:cxn modelId="{A5DFFA52-BA24-46C0-9890-53F516869EDF}" type="presParOf" srcId="{F48110C4-7D65-489B-A701-83D0DC5AE8EC}" destId="{2409D813-50DC-430D-9DC4-D4F889473FBF}" srcOrd="23" destOrd="0" presId="urn:microsoft.com/office/officeart/2005/8/layout/cycle6"/>
    <dgm:cxn modelId="{508CF65A-A4D7-41F1-9883-465C3B74EB04}" type="presParOf" srcId="{F48110C4-7D65-489B-A701-83D0DC5AE8EC}" destId="{9E632469-FD25-49F8-A3BA-3185905D2710}" srcOrd="24" destOrd="0" presId="urn:microsoft.com/office/officeart/2005/8/layout/cycle6"/>
    <dgm:cxn modelId="{AE5722DA-57CD-4A38-8F30-94DEDEA66C45}" type="presParOf" srcId="{F48110C4-7D65-489B-A701-83D0DC5AE8EC}" destId="{8FEB6B7F-1726-4EE0-BBCF-EC54C40EE5A0}" srcOrd="25" destOrd="0" presId="urn:microsoft.com/office/officeart/2005/8/layout/cycle6"/>
    <dgm:cxn modelId="{DAB34BD0-6F99-4A49-BE6B-D2A9CA1E8461}" type="presParOf" srcId="{F48110C4-7D65-489B-A701-83D0DC5AE8EC}" destId="{E93F9C88-6935-4B51-BEC8-146655D1ACB5}" srcOrd="26"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B849CB9-26DB-493F-9BC1-7B3FFAF2D0B0}" type="doc">
      <dgm:prSet loTypeId="urn:microsoft.com/office/officeart/2005/8/layout/cycle6" loCatId="cycle" qsTypeId="urn:microsoft.com/office/officeart/2005/8/quickstyle/simple1" qsCatId="simple" csTypeId="urn:microsoft.com/office/officeart/2005/8/colors/accent0_2" csCatId="mainScheme" phldr="1"/>
      <dgm:spPr/>
      <dgm:t>
        <a:bodyPr/>
        <a:lstStyle/>
        <a:p>
          <a:endParaRPr lang="cs-CZ"/>
        </a:p>
      </dgm:t>
    </dgm:pt>
    <dgm:pt modelId="{8DA66DDC-1E5A-4299-8A0E-881D8E75A2CC}">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Koncentrace EU dotací</a:t>
          </a:r>
        </a:p>
      </dgm:t>
    </dgm:pt>
    <dgm:pt modelId="{45B4CB81-8882-4D22-8D28-F64A5089339A}" type="parTrans" cxnId="{8ABC4EC6-D375-4671-A3A1-D96EFFAC3947}">
      <dgm:prSet/>
      <dgm:spPr/>
      <dgm:t>
        <a:bodyPr/>
        <a:lstStyle/>
        <a:p>
          <a:endParaRPr lang="cs-CZ" sz="1000">
            <a:solidFill>
              <a:schemeClr val="bg1">
                <a:lumMod val="10000"/>
              </a:schemeClr>
            </a:solidFill>
            <a:latin typeface="Fira Sans" panose="020B0503050000020004" pitchFamily="34" charset="0"/>
          </a:endParaRPr>
        </a:p>
      </dgm:t>
    </dgm:pt>
    <dgm:pt modelId="{98560292-C631-40A2-A164-33B1AF7A4306}" type="sibTrans" cxnId="{8ABC4EC6-D375-4671-A3A1-D96EFFAC3947}">
      <dgm:prSet/>
      <dgm:spPr>
        <a:solidFill>
          <a:srgbClr val="64BCA9"/>
        </a:solidFill>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335946D3-CE81-4097-9C35-1E1F6569FA42}">
      <dgm:prSet phldrT="[Text]" custT="1">
        <dgm:style>
          <a:lnRef idx="2">
            <a:schemeClr val="accent5"/>
          </a:lnRef>
          <a:fillRef idx="1">
            <a:schemeClr val="lt1"/>
          </a:fillRef>
          <a:effectRef idx="0">
            <a:schemeClr val="accent5"/>
          </a:effectRef>
          <a:fontRef idx="minor">
            <a:schemeClr val="dk1"/>
          </a:fontRef>
        </dgm:style>
      </dgm:prSet>
      <dgm:spPr>
        <a:solidFill>
          <a:srgbClr val="EAEAEA"/>
        </a:solidFill>
        <a:ln w="25400" cap="flat" cmpd="sng" algn="ctr">
          <a:no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gm:t>
    </dgm:pt>
    <dgm:pt modelId="{BC15C49E-B66A-4EA0-9A6A-9B01BB034923}" type="parTrans" cxnId="{1CBE8DB5-E03A-4256-B4B1-9F28955979DC}">
      <dgm:prSet/>
      <dgm:spPr/>
      <dgm:t>
        <a:bodyPr/>
        <a:lstStyle/>
        <a:p>
          <a:endParaRPr lang="cs-CZ" sz="1000">
            <a:solidFill>
              <a:schemeClr val="bg1">
                <a:lumMod val="10000"/>
              </a:schemeClr>
            </a:solidFill>
            <a:latin typeface="Fira Sans" panose="020B0503050000020004" pitchFamily="34" charset="0"/>
          </a:endParaRPr>
        </a:p>
      </dgm:t>
    </dgm:pt>
    <dgm:pt modelId="{AE500029-4FDD-4F4B-9D2E-CC29E5BC7027}" type="sibTrans" cxnId="{1CBE8DB5-E03A-4256-B4B1-9F28955979DC}">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61C3038A-F8DF-4E92-AD59-B100725A0594}">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Řízení samospráv</a:t>
          </a:r>
        </a:p>
      </dgm:t>
    </dgm:pt>
    <dgm:pt modelId="{EA7257B8-591F-426F-A471-E340593C1FB1}" type="parTrans" cxnId="{6E0BA1F7-E2CE-4609-B6EB-F3BF636379F8}">
      <dgm:prSet/>
      <dgm:spPr/>
      <dgm:t>
        <a:bodyPr/>
        <a:lstStyle/>
        <a:p>
          <a:endParaRPr lang="cs-CZ" sz="1000">
            <a:solidFill>
              <a:schemeClr val="bg1">
                <a:lumMod val="10000"/>
              </a:schemeClr>
            </a:solidFill>
            <a:latin typeface="Fira Sans" panose="020B0503050000020004" pitchFamily="34" charset="0"/>
          </a:endParaRPr>
        </a:p>
      </dgm:t>
    </dgm:pt>
    <dgm:pt modelId="{79044CD3-DDAA-4003-9891-4C1966070FE0}" type="sibTrans" cxnId="{6E0BA1F7-E2CE-4609-B6EB-F3BF636379F8}">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E25AE9C-AC8C-4D58-8F9A-F62CE0022D5B}">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Motivace k soukromým investicím</a:t>
          </a:r>
        </a:p>
      </dgm:t>
    </dgm:pt>
    <dgm:pt modelId="{3DF2A404-A472-48AE-B55E-A08A9DE95A8A}" type="parTrans" cxnId="{B5837060-CD0D-454A-80FF-2FF57B65D03E}">
      <dgm:prSet/>
      <dgm:spPr/>
      <dgm:t>
        <a:bodyPr/>
        <a:lstStyle/>
        <a:p>
          <a:endParaRPr lang="cs-CZ" sz="1000">
            <a:solidFill>
              <a:schemeClr val="bg1">
                <a:lumMod val="10000"/>
              </a:schemeClr>
            </a:solidFill>
            <a:latin typeface="Fira Sans" panose="020B0503050000020004" pitchFamily="34" charset="0"/>
          </a:endParaRPr>
        </a:p>
      </dgm:t>
    </dgm:pt>
    <dgm:pt modelId="{3A83D1AE-4CA3-49D1-BED5-DC1B16F79E9E}" type="sibTrans" cxnId="{B5837060-CD0D-454A-80FF-2FF57B65D03E}">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0541C16E-1944-4558-8F91-1E2BFBF2C4D3}">
      <dgm:prSe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Chytřejší daně</a:t>
          </a:r>
        </a:p>
      </dgm:t>
    </dgm:pt>
    <dgm:pt modelId="{74B3290C-9CED-4B3B-8D13-53F98AC72B52}" type="parTrans" cxnId="{4E85D2B8-6129-4AA8-8720-C90C2083490A}">
      <dgm:prSet/>
      <dgm:spPr/>
      <dgm:t>
        <a:bodyPr/>
        <a:lstStyle/>
        <a:p>
          <a:endParaRPr lang="cs-CZ" sz="1000">
            <a:solidFill>
              <a:schemeClr val="bg1">
                <a:lumMod val="10000"/>
              </a:schemeClr>
            </a:solidFill>
            <a:latin typeface="Fira Sans" panose="020B0503050000020004" pitchFamily="34" charset="0"/>
          </a:endParaRPr>
        </a:p>
      </dgm:t>
    </dgm:pt>
    <dgm:pt modelId="{79141A15-B5C5-43BE-A996-25475570F7D8}" type="sibTrans" cxnId="{4E85D2B8-6129-4AA8-8720-C90C2083490A}">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5061020-A4FE-457E-B053-4BC20E225ADE}">
      <dgm:prSet custT="1"/>
      <dgm:spPr>
        <a:solidFill>
          <a:srgbClr val="64BCA9"/>
        </a:solidFill>
        <a:ln>
          <a:noFill/>
        </a:ln>
      </dgm:spPr>
      <dgm:t>
        <a:bodyPr/>
        <a:lstStyle/>
        <a:p>
          <a:r>
            <a:rPr lang="cs-CZ" sz="1000" b="1">
              <a:solidFill>
                <a:schemeClr val="bg1">
                  <a:lumMod val="10000"/>
                </a:schemeClr>
              </a:solidFill>
              <a:latin typeface="Fira Sans" panose="020B0503050000020004" pitchFamily="34" charset="0"/>
            </a:rPr>
            <a:t>Podpora vzdělávání</a:t>
          </a:r>
        </a:p>
      </dgm:t>
    </dgm:pt>
    <dgm:pt modelId="{FB1F3FA9-3E85-4026-B041-C5FCFF660589}" type="parTrans" cxnId="{4E61D12F-FD3A-410A-9DE4-CB514013C5E1}">
      <dgm:prSet/>
      <dgm:spPr/>
      <dgm:t>
        <a:bodyPr/>
        <a:lstStyle/>
        <a:p>
          <a:endParaRPr lang="cs-CZ" sz="1000">
            <a:solidFill>
              <a:schemeClr val="bg1">
                <a:lumMod val="10000"/>
              </a:schemeClr>
            </a:solidFill>
            <a:latin typeface="Fira Sans" panose="020B0503050000020004" pitchFamily="34" charset="0"/>
          </a:endParaRPr>
        </a:p>
      </dgm:t>
    </dgm:pt>
    <dgm:pt modelId="{901714CC-5810-4859-B458-EA66EAEE3E1A}" type="sibTrans" cxnId="{4E61D12F-FD3A-410A-9DE4-CB514013C5E1}">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C74EAB3-BCAB-476B-BAA7-0ECD8C020F1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Omezení šedé ekonomiky</a:t>
          </a:r>
        </a:p>
      </dgm:t>
    </dgm:pt>
    <dgm:pt modelId="{770663B0-B946-4505-BC7D-A73C703B55D6}" type="parTrans" cxnId="{AF8D667C-EA3E-4B0F-906D-CF8BB7814FCF}">
      <dgm:prSet/>
      <dgm:spPr/>
      <dgm:t>
        <a:bodyPr/>
        <a:lstStyle/>
        <a:p>
          <a:endParaRPr lang="cs-CZ" sz="1000">
            <a:solidFill>
              <a:schemeClr val="bg1">
                <a:lumMod val="10000"/>
              </a:schemeClr>
            </a:solidFill>
            <a:latin typeface="Fira Sans" panose="020B0503050000020004" pitchFamily="34" charset="0"/>
          </a:endParaRPr>
        </a:p>
      </dgm:t>
    </dgm:pt>
    <dgm:pt modelId="{1A1DE00F-F739-4D74-8165-4F41AA21E618}" type="sibTrans" cxnId="{AF8D667C-EA3E-4B0F-906D-CF8BB7814FCF}">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B2DAD1D-8172-415E-B516-6F72DF2C87E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Stabilizující bytová politika</a:t>
          </a:r>
        </a:p>
      </dgm:t>
    </dgm:pt>
    <dgm:pt modelId="{C8035952-8E3A-4BD6-A7F5-4E4E4BAC17BA}" type="parTrans" cxnId="{E394623A-8816-44FD-B1F9-E62C259667D6}">
      <dgm:prSet/>
      <dgm:spPr/>
      <dgm:t>
        <a:bodyPr/>
        <a:lstStyle/>
        <a:p>
          <a:endParaRPr lang="cs-CZ" sz="1000">
            <a:solidFill>
              <a:schemeClr val="bg1">
                <a:lumMod val="10000"/>
              </a:schemeClr>
            </a:solidFill>
            <a:latin typeface="Fira Sans" panose="020B0503050000020004" pitchFamily="34" charset="0"/>
          </a:endParaRPr>
        </a:p>
      </dgm:t>
    </dgm:pt>
    <dgm:pt modelId="{F0EC7CBB-5484-4BD6-A634-1E2C9CA1721C}" type="sibTrans" cxnId="{E394623A-8816-44FD-B1F9-E62C259667D6}">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D2B1CED-857B-4605-BB9A-FF6630D0A73A}">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Lepší regionální plánování</a:t>
          </a:r>
        </a:p>
      </dgm:t>
    </dgm:pt>
    <dgm:pt modelId="{80441468-4CC4-4758-BD74-5DCBE6E35490}" type="parTrans" cxnId="{17CB0FD6-A918-4B4A-BEB5-50F70517E213}">
      <dgm:prSet/>
      <dgm:spPr/>
      <dgm:t>
        <a:bodyPr/>
        <a:lstStyle/>
        <a:p>
          <a:endParaRPr lang="cs-CZ" sz="1000">
            <a:solidFill>
              <a:schemeClr val="bg1">
                <a:lumMod val="10000"/>
              </a:schemeClr>
            </a:solidFill>
            <a:latin typeface="Fira Sans" panose="020B0503050000020004" pitchFamily="34" charset="0"/>
          </a:endParaRPr>
        </a:p>
      </dgm:t>
    </dgm:pt>
    <dgm:pt modelId="{9FCD6D6B-256A-42C0-827A-5A1755FC9CD4}" type="sibTrans" cxnId="{17CB0FD6-A918-4B4A-BEB5-50F70517E213}">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48110C4-7D65-489B-A701-83D0DC5AE8EC}" type="pres">
      <dgm:prSet presAssocID="{DB849CB9-26DB-493F-9BC1-7B3FFAF2D0B0}" presName="cycle" presStyleCnt="0">
        <dgm:presLayoutVars>
          <dgm:dir/>
          <dgm:resizeHandles val="exact"/>
        </dgm:presLayoutVars>
      </dgm:prSet>
      <dgm:spPr/>
    </dgm:pt>
    <dgm:pt modelId="{1AF6340D-53D1-41C5-8C0B-08EA9545C9CA}" type="pres">
      <dgm:prSet presAssocID="{8DA66DDC-1E5A-4299-8A0E-881D8E75A2CC}" presName="node" presStyleLbl="node1" presStyleIdx="0" presStyleCnt="9" custScaleX="139153" custScaleY="202948" custRadScaleRad="99673" custRadScaleInc="-5788">
        <dgm:presLayoutVars>
          <dgm:bulletEnabled val="1"/>
        </dgm:presLayoutVars>
      </dgm:prSet>
      <dgm:spPr/>
    </dgm:pt>
    <dgm:pt modelId="{DA17744F-7756-497E-9D79-4C7A05934046}" type="pres">
      <dgm:prSet presAssocID="{8DA66DDC-1E5A-4299-8A0E-881D8E75A2CC}" presName="spNode" presStyleCnt="0"/>
      <dgm:spPr/>
    </dgm:pt>
    <dgm:pt modelId="{E9DE802E-AA1C-47D2-B31C-D706D532217F}" type="pres">
      <dgm:prSet presAssocID="{98560292-C631-40A2-A164-33B1AF7A4306}" presName="sibTrans" presStyleLbl="sibTrans1D1" presStyleIdx="0" presStyleCnt="9"/>
      <dgm:spPr/>
    </dgm:pt>
    <dgm:pt modelId="{60C3DCEE-F136-4943-9423-34ABC7ECBA28}" type="pres">
      <dgm:prSet presAssocID="{335946D3-CE81-4097-9C35-1E1F6569FA42}" presName="node" presStyleLbl="node1" presStyleIdx="1" presStyleCnt="9" custScaleX="131916" custScaleY="202948" custRadScaleRad="98998" custRadScaleInc="19231">
        <dgm:presLayoutVars>
          <dgm:bulletEnabled val="1"/>
        </dgm:presLayoutVars>
      </dgm:prSet>
      <dgm:spPr>
        <a:xfrm>
          <a:off x="4085154" y="261999"/>
          <a:ext cx="1007997" cy="1007999"/>
        </a:xfrm>
        <a:prstGeom prst="roundRect">
          <a:avLst/>
        </a:prstGeom>
      </dgm:spPr>
    </dgm:pt>
    <dgm:pt modelId="{B9476E57-7CE0-47CE-B6E4-5CAE7027C874}" type="pres">
      <dgm:prSet presAssocID="{335946D3-CE81-4097-9C35-1E1F6569FA42}" presName="spNode" presStyleCnt="0"/>
      <dgm:spPr/>
    </dgm:pt>
    <dgm:pt modelId="{9CAB07AB-CE92-410C-B67B-5C4D8E902D2A}" type="pres">
      <dgm:prSet presAssocID="{AE500029-4FDD-4F4B-9D2E-CC29E5BC7027}" presName="sibTrans" presStyleLbl="sibTrans1D1" presStyleIdx="1" presStyleCnt="9"/>
      <dgm:spPr/>
    </dgm:pt>
    <dgm:pt modelId="{4892BA54-D813-4A68-B3E7-D96A4C75350B}" type="pres">
      <dgm:prSet presAssocID="{61C3038A-F8DF-4E92-AD59-B100725A0594}" presName="node" presStyleLbl="node1" presStyleIdx="2" presStyleCnt="9" custScaleX="131916" custScaleY="202948" custRadScaleRad="99169" custRadScaleInc="24360">
        <dgm:presLayoutVars>
          <dgm:bulletEnabled val="1"/>
        </dgm:presLayoutVars>
      </dgm:prSet>
      <dgm:spPr/>
    </dgm:pt>
    <dgm:pt modelId="{E5E16593-B9D1-4553-AFA1-64DE3FE97FB1}" type="pres">
      <dgm:prSet presAssocID="{61C3038A-F8DF-4E92-AD59-B100725A0594}" presName="spNode" presStyleCnt="0"/>
      <dgm:spPr/>
    </dgm:pt>
    <dgm:pt modelId="{9A59F23A-A123-44F1-AA94-485DEFC35334}" type="pres">
      <dgm:prSet presAssocID="{79044CD3-DDAA-4003-9891-4C1966070FE0}" presName="sibTrans" presStyleLbl="sibTrans1D1" presStyleIdx="2" presStyleCnt="9"/>
      <dgm:spPr/>
    </dgm:pt>
    <dgm:pt modelId="{7F0EF2DB-CA93-47D2-9888-0F64D5429897}" type="pres">
      <dgm:prSet presAssocID="{FE25AE9C-AC8C-4D58-8F9A-F62CE0022D5B}" presName="node" presStyleLbl="node1" presStyleIdx="3" presStyleCnt="9" custScaleX="131916" custScaleY="202948">
        <dgm:presLayoutVars>
          <dgm:bulletEnabled val="1"/>
        </dgm:presLayoutVars>
      </dgm:prSet>
      <dgm:spPr/>
    </dgm:pt>
    <dgm:pt modelId="{0FF3A428-76C3-4980-A906-0D3407BA83D6}" type="pres">
      <dgm:prSet presAssocID="{FE25AE9C-AC8C-4D58-8F9A-F62CE0022D5B}" presName="spNode" presStyleCnt="0"/>
      <dgm:spPr/>
    </dgm:pt>
    <dgm:pt modelId="{5FED0FA7-BC7F-41E0-8CAF-C97921FF36FC}" type="pres">
      <dgm:prSet presAssocID="{3A83D1AE-4CA3-49D1-BED5-DC1B16F79E9E}" presName="sibTrans" presStyleLbl="sibTrans1D1" presStyleIdx="3" presStyleCnt="9"/>
      <dgm:spPr/>
    </dgm:pt>
    <dgm:pt modelId="{4D19C0EA-C762-4CE8-913E-EABD0E5484DC}" type="pres">
      <dgm:prSet presAssocID="{0541C16E-1944-4558-8F91-1E2BFBF2C4D3}" presName="node" presStyleLbl="node1" presStyleIdx="4" presStyleCnt="9" custScaleX="131916" custScaleY="202948" custRadScaleRad="98172" custRadScaleInc="18830">
        <dgm:presLayoutVars>
          <dgm:bulletEnabled val="1"/>
        </dgm:presLayoutVars>
      </dgm:prSet>
      <dgm:spPr/>
    </dgm:pt>
    <dgm:pt modelId="{33BAD236-73A4-4723-A81B-B9F75E7D7030}" type="pres">
      <dgm:prSet presAssocID="{0541C16E-1944-4558-8F91-1E2BFBF2C4D3}" presName="spNode" presStyleCnt="0"/>
      <dgm:spPr/>
    </dgm:pt>
    <dgm:pt modelId="{3D6F80AD-6340-4645-9BCC-9CC839122757}" type="pres">
      <dgm:prSet presAssocID="{79141A15-B5C5-43BE-A996-25475570F7D8}" presName="sibTrans" presStyleLbl="sibTrans1D1" presStyleIdx="4" presStyleCnt="9"/>
      <dgm:spPr/>
    </dgm:pt>
    <dgm:pt modelId="{528AFA7E-4BAB-480B-A44C-BB6650F77F5D}" type="pres">
      <dgm:prSet presAssocID="{45061020-A4FE-457E-B053-4BC20E225ADE}" presName="node" presStyleLbl="node1" presStyleIdx="5" presStyleCnt="9" custScaleX="131916" custScaleY="202948" custRadScaleRad="98713" custRadScaleInc="-21101">
        <dgm:presLayoutVars>
          <dgm:bulletEnabled val="1"/>
        </dgm:presLayoutVars>
      </dgm:prSet>
      <dgm:spPr/>
    </dgm:pt>
    <dgm:pt modelId="{B462E8CE-E696-4236-905E-97099BC38008}" type="pres">
      <dgm:prSet presAssocID="{45061020-A4FE-457E-B053-4BC20E225ADE}" presName="spNode" presStyleCnt="0"/>
      <dgm:spPr/>
    </dgm:pt>
    <dgm:pt modelId="{1343E8DF-26C2-49CF-9606-81DA3D5CDE84}" type="pres">
      <dgm:prSet presAssocID="{901714CC-5810-4859-B458-EA66EAEE3E1A}" presName="sibTrans" presStyleLbl="sibTrans1D1" presStyleIdx="5" presStyleCnt="9"/>
      <dgm:spPr/>
    </dgm:pt>
    <dgm:pt modelId="{8A8AB859-16A8-4B90-86A5-A979887A79EE}" type="pres">
      <dgm:prSet presAssocID="{4C74EAB3-BCAB-476B-BAA7-0ECD8C020F1D}" presName="node" presStyleLbl="node1" presStyleIdx="6" presStyleCnt="9" custScaleX="131916" custScaleY="202948">
        <dgm:presLayoutVars>
          <dgm:bulletEnabled val="1"/>
        </dgm:presLayoutVars>
      </dgm:prSet>
      <dgm:spPr/>
    </dgm:pt>
    <dgm:pt modelId="{4317596B-D96B-4E75-AD8B-9CC507AEB411}" type="pres">
      <dgm:prSet presAssocID="{4C74EAB3-BCAB-476B-BAA7-0ECD8C020F1D}" presName="spNode" presStyleCnt="0"/>
      <dgm:spPr/>
    </dgm:pt>
    <dgm:pt modelId="{8B833E3F-CBA5-496B-A09F-2E54FBEE637D}" type="pres">
      <dgm:prSet presAssocID="{1A1DE00F-F739-4D74-8165-4F41AA21E618}" presName="sibTrans" presStyleLbl="sibTrans1D1" presStyleIdx="6" presStyleCnt="9"/>
      <dgm:spPr/>
    </dgm:pt>
    <dgm:pt modelId="{82B9AEF2-7358-4ACD-B5D1-32CFCBB75FA8}" type="pres">
      <dgm:prSet presAssocID="{CB2DAD1D-8172-415E-B516-6F72DF2C87ED}" presName="node" presStyleLbl="node1" presStyleIdx="7" presStyleCnt="9" custScaleX="132582" custScaleY="203221" custRadScaleRad="99668" custRadScaleInc="-18782">
        <dgm:presLayoutVars>
          <dgm:bulletEnabled val="1"/>
        </dgm:presLayoutVars>
      </dgm:prSet>
      <dgm:spPr/>
    </dgm:pt>
    <dgm:pt modelId="{54C2FF6B-FAAC-4F5C-A4CA-B470EF3C66FC}" type="pres">
      <dgm:prSet presAssocID="{CB2DAD1D-8172-415E-B516-6F72DF2C87ED}" presName="spNode" presStyleCnt="0"/>
      <dgm:spPr/>
    </dgm:pt>
    <dgm:pt modelId="{2409D813-50DC-430D-9DC4-D4F889473FBF}" type="pres">
      <dgm:prSet presAssocID="{F0EC7CBB-5484-4BD6-A634-1E2C9CA1721C}" presName="sibTrans" presStyleLbl="sibTrans1D1" presStyleIdx="7" presStyleCnt="9"/>
      <dgm:spPr/>
    </dgm:pt>
    <dgm:pt modelId="{9E632469-FD25-49F8-A3BA-3185905D2710}" type="pres">
      <dgm:prSet presAssocID="{CD2B1CED-857B-4605-BB9A-FF6630D0A73A}" presName="node" presStyleLbl="node1" presStyleIdx="8" presStyleCnt="9" custScaleX="131916" custScaleY="202948" custRadScaleRad="97871" custRadScaleInc="-13804">
        <dgm:presLayoutVars>
          <dgm:bulletEnabled val="1"/>
        </dgm:presLayoutVars>
      </dgm:prSet>
      <dgm:spPr/>
    </dgm:pt>
    <dgm:pt modelId="{8FEB6B7F-1726-4EE0-BBCF-EC54C40EE5A0}" type="pres">
      <dgm:prSet presAssocID="{CD2B1CED-857B-4605-BB9A-FF6630D0A73A}" presName="spNode" presStyleCnt="0"/>
      <dgm:spPr/>
    </dgm:pt>
    <dgm:pt modelId="{E93F9C88-6935-4B51-BEC8-146655D1ACB5}" type="pres">
      <dgm:prSet presAssocID="{9FCD6D6B-256A-42C0-827A-5A1755FC9CD4}" presName="sibTrans" presStyleLbl="sibTrans1D1" presStyleIdx="8" presStyleCnt="9"/>
      <dgm:spPr/>
    </dgm:pt>
  </dgm:ptLst>
  <dgm:cxnLst>
    <dgm:cxn modelId="{19D95308-0553-4600-8CCD-6936C10B4B14}" type="presOf" srcId="{9FCD6D6B-256A-42C0-827A-5A1755FC9CD4}" destId="{E93F9C88-6935-4B51-BEC8-146655D1ACB5}" srcOrd="0" destOrd="0" presId="urn:microsoft.com/office/officeart/2005/8/layout/cycle6"/>
    <dgm:cxn modelId="{9892B912-B6A4-4A97-BBF4-556EB7C4185C}" type="presOf" srcId="{79141A15-B5C5-43BE-A996-25475570F7D8}" destId="{3D6F80AD-6340-4645-9BCC-9CC839122757}" srcOrd="0" destOrd="0" presId="urn:microsoft.com/office/officeart/2005/8/layout/cycle6"/>
    <dgm:cxn modelId="{1C8CA215-762A-4415-8E6D-D991EE0C98C2}" type="presOf" srcId="{CD2B1CED-857B-4605-BB9A-FF6630D0A73A}" destId="{9E632469-FD25-49F8-A3BA-3185905D2710}" srcOrd="0" destOrd="0" presId="urn:microsoft.com/office/officeart/2005/8/layout/cycle6"/>
    <dgm:cxn modelId="{4E61D12F-FD3A-410A-9DE4-CB514013C5E1}" srcId="{DB849CB9-26DB-493F-9BC1-7B3FFAF2D0B0}" destId="{45061020-A4FE-457E-B053-4BC20E225ADE}" srcOrd="5" destOrd="0" parTransId="{FB1F3FA9-3E85-4026-B041-C5FCFF660589}" sibTransId="{901714CC-5810-4859-B458-EA66EAEE3E1A}"/>
    <dgm:cxn modelId="{2C34A433-6607-45EE-B7C2-CB11C72D1220}" type="presOf" srcId="{79044CD3-DDAA-4003-9891-4C1966070FE0}" destId="{9A59F23A-A123-44F1-AA94-485DEFC35334}" srcOrd="0" destOrd="0" presId="urn:microsoft.com/office/officeart/2005/8/layout/cycle6"/>
    <dgm:cxn modelId="{373ACE34-BA8F-48EF-9D20-600D8F367550}" type="presOf" srcId="{0541C16E-1944-4558-8F91-1E2BFBF2C4D3}" destId="{4D19C0EA-C762-4CE8-913E-EABD0E5484DC}" srcOrd="0" destOrd="0" presId="urn:microsoft.com/office/officeart/2005/8/layout/cycle6"/>
    <dgm:cxn modelId="{E394623A-8816-44FD-B1F9-E62C259667D6}" srcId="{DB849CB9-26DB-493F-9BC1-7B3FFAF2D0B0}" destId="{CB2DAD1D-8172-415E-B516-6F72DF2C87ED}" srcOrd="7" destOrd="0" parTransId="{C8035952-8E3A-4BD6-A7F5-4E4E4BAC17BA}" sibTransId="{F0EC7CBB-5484-4BD6-A634-1E2C9CA1721C}"/>
    <dgm:cxn modelId="{DD77F83D-8C8D-4CAF-AADD-4CA7A26FB3C0}" type="presOf" srcId="{3A83D1AE-4CA3-49D1-BED5-DC1B16F79E9E}" destId="{5FED0FA7-BC7F-41E0-8CAF-C97921FF36FC}" srcOrd="0" destOrd="0" presId="urn:microsoft.com/office/officeart/2005/8/layout/cycle6"/>
    <dgm:cxn modelId="{B5837060-CD0D-454A-80FF-2FF57B65D03E}" srcId="{DB849CB9-26DB-493F-9BC1-7B3FFAF2D0B0}" destId="{FE25AE9C-AC8C-4D58-8F9A-F62CE0022D5B}" srcOrd="3" destOrd="0" parTransId="{3DF2A404-A472-48AE-B55E-A08A9DE95A8A}" sibTransId="{3A83D1AE-4CA3-49D1-BED5-DC1B16F79E9E}"/>
    <dgm:cxn modelId="{2566F96C-F373-4362-A34E-2367EABB4789}" type="presOf" srcId="{FE25AE9C-AC8C-4D58-8F9A-F62CE0022D5B}" destId="{7F0EF2DB-CA93-47D2-9888-0F64D5429897}" srcOrd="0" destOrd="0" presId="urn:microsoft.com/office/officeart/2005/8/layout/cycle6"/>
    <dgm:cxn modelId="{E6E9BB6E-B5CE-4603-BDA4-4AE1356356EF}" type="presOf" srcId="{8DA66DDC-1E5A-4299-8A0E-881D8E75A2CC}" destId="{1AF6340D-53D1-41C5-8C0B-08EA9545C9CA}" srcOrd="0" destOrd="0" presId="urn:microsoft.com/office/officeart/2005/8/layout/cycle6"/>
    <dgm:cxn modelId="{17A4B057-35C8-41F1-9648-864A5C9B578D}" type="presOf" srcId="{CB2DAD1D-8172-415E-B516-6F72DF2C87ED}" destId="{82B9AEF2-7358-4ACD-B5D1-32CFCBB75FA8}" srcOrd="0" destOrd="0" presId="urn:microsoft.com/office/officeart/2005/8/layout/cycle6"/>
    <dgm:cxn modelId="{378F9878-6035-4F48-89E1-BFD8A4F16BDB}" type="presOf" srcId="{61C3038A-F8DF-4E92-AD59-B100725A0594}" destId="{4892BA54-D813-4A68-B3E7-D96A4C75350B}" srcOrd="0" destOrd="0" presId="urn:microsoft.com/office/officeart/2005/8/layout/cycle6"/>
    <dgm:cxn modelId="{94F8827A-900A-4D58-A084-AE208E3CFEB5}" type="presOf" srcId="{1A1DE00F-F739-4D74-8165-4F41AA21E618}" destId="{8B833E3F-CBA5-496B-A09F-2E54FBEE637D}" srcOrd="0" destOrd="0" presId="urn:microsoft.com/office/officeart/2005/8/layout/cycle6"/>
    <dgm:cxn modelId="{AF8D667C-EA3E-4B0F-906D-CF8BB7814FCF}" srcId="{DB849CB9-26DB-493F-9BC1-7B3FFAF2D0B0}" destId="{4C74EAB3-BCAB-476B-BAA7-0ECD8C020F1D}" srcOrd="6" destOrd="0" parTransId="{770663B0-B946-4505-BC7D-A73C703B55D6}" sibTransId="{1A1DE00F-F739-4D74-8165-4F41AA21E618}"/>
    <dgm:cxn modelId="{4CE94693-C180-4EC4-9FCF-513C240B9E67}" type="presOf" srcId="{98560292-C631-40A2-A164-33B1AF7A4306}" destId="{E9DE802E-AA1C-47D2-B31C-D706D532217F}" srcOrd="0" destOrd="0" presId="urn:microsoft.com/office/officeart/2005/8/layout/cycle6"/>
    <dgm:cxn modelId="{C3F4569C-0137-47FF-9FCA-D223C87684A5}" type="presOf" srcId="{45061020-A4FE-457E-B053-4BC20E225ADE}" destId="{528AFA7E-4BAB-480B-A44C-BB6650F77F5D}" srcOrd="0" destOrd="0" presId="urn:microsoft.com/office/officeart/2005/8/layout/cycle6"/>
    <dgm:cxn modelId="{B9952EB2-29F7-4765-B9B8-7D6F2CDFB527}" type="presOf" srcId="{F0EC7CBB-5484-4BD6-A634-1E2C9CA1721C}" destId="{2409D813-50DC-430D-9DC4-D4F889473FBF}" srcOrd="0" destOrd="0" presId="urn:microsoft.com/office/officeart/2005/8/layout/cycle6"/>
    <dgm:cxn modelId="{1CBE8DB5-E03A-4256-B4B1-9F28955979DC}" srcId="{DB849CB9-26DB-493F-9BC1-7B3FFAF2D0B0}" destId="{335946D3-CE81-4097-9C35-1E1F6569FA42}" srcOrd="1" destOrd="0" parTransId="{BC15C49E-B66A-4EA0-9A6A-9B01BB034923}" sibTransId="{AE500029-4FDD-4F4B-9D2E-CC29E5BC7027}"/>
    <dgm:cxn modelId="{4E85D2B8-6129-4AA8-8720-C90C2083490A}" srcId="{DB849CB9-26DB-493F-9BC1-7B3FFAF2D0B0}" destId="{0541C16E-1944-4558-8F91-1E2BFBF2C4D3}" srcOrd="4" destOrd="0" parTransId="{74B3290C-9CED-4B3B-8D13-53F98AC72B52}" sibTransId="{79141A15-B5C5-43BE-A996-25475570F7D8}"/>
    <dgm:cxn modelId="{DABF91B9-8897-4255-84DD-793AC22AF8DB}" type="presOf" srcId="{4C74EAB3-BCAB-476B-BAA7-0ECD8C020F1D}" destId="{8A8AB859-16A8-4B90-86A5-A979887A79EE}" srcOrd="0" destOrd="0" presId="urn:microsoft.com/office/officeart/2005/8/layout/cycle6"/>
    <dgm:cxn modelId="{34D9E2BA-6362-4232-A9F8-921720D860C4}" type="presOf" srcId="{335946D3-CE81-4097-9C35-1E1F6569FA42}" destId="{60C3DCEE-F136-4943-9423-34ABC7ECBA28}" srcOrd="0" destOrd="0" presId="urn:microsoft.com/office/officeart/2005/8/layout/cycle6"/>
    <dgm:cxn modelId="{0455ABBC-94C4-469B-966A-38C9C019DBBE}" type="presOf" srcId="{901714CC-5810-4859-B458-EA66EAEE3E1A}" destId="{1343E8DF-26C2-49CF-9606-81DA3D5CDE84}" srcOrd="0" destOrd="0" presId="urn:microsoft.com/office/officeart/2005/8/layout/cycle6"/>
    <dgm:cxn modelId="{8ABC4EC6-D375-4671-A3A1-D96EFFAC3947}" srcId="{DB849CB9-26DB-493F-9BC1-7B3FFAF2D0B0}" destId="{8DA66DDC-1E5A-4299-8A0E-881D8E75A2CC}" srcOrd="0" destOrd="0" parTransId="{45B4CB81-8882-4D22-8D28-F64A5089339A}" sibTransId="{98560292-C631-40A2-A164-33B1AF7A4306}"/>
    <dgm:cxn modelId="{17CB0FD6-A918-4B4A-BEB5-50F70517E213}" srcId="{DB849CB9-26DB-493F-9BC1-7B3FFAF2D0B0}" destId="{CD2B1CED-857B-4605-BB9A-FF6630D0A73A}" srcOrd="8" destOrd="0" parTransId="{80441468-4CC4-4758-BD74-5DCBE6E35490}" sibTransId="{9FCD6D6B-256A-42C0-827A-5A1755FC9CD4}"/>
    <dgm:cxn modelId="{6E0BA1F7-E2CE-4609-B6EB-F3BF636379F8}" srcId="{DB849CB9-26DB-493F-9BC1-7B3FFAF2D0B0}" destId="{61C3038A-F8DF-4E92-AD59-B100725A0594}" srcOrd="2" destOrd="0" parTransId="{EA7257B8-591F-426F-A471-E340593C1FB1}" sibTransId="{79044CD3-DDAA-4003-9891-4C1966070FE0}"/>
    <dgm:cxn modelId="{F48028FA-CB7B-43CB-B087-075AC66BF1ED}" type="presOf" srcId="{AE500029-4FDD-4F4B-9D2E-CC29E5BC7027}" destId="{9CAB07AB-CE92-410C-B67B-5C4D8E902D2A}" srcOrd="0" destOrd="0" presId="urn:microsoft.com/office/officeart/2005/8/layout/cycle6"/>
    <dgm:cxn modelId="{A92EA1FF-8CCE-4E66-8BD5-56439B95DEF7}" type="presOf" srcId="{DB849CB9-26DB-493F-9BC1-7B3FFAF2D0B0}" destId="{F48110C4-7D65-489B-A701-83D0DC5AE8EC}" srcOrd="0" destOrd="0" presId="urn:microsoft.com/office/officeart/2005/8/layout/cycle6"/>
    <dgm:cxn modelId="{6F69C911-369B-44F7-9C97-F7F96E2FA293}" type="presParOf" srcId="{F48110C4-7D65-489B-A701-83D0DC5AE8EC}" destId="{1AF6340D-53D1-41C5-8C0B-08EA9545C9CA}" srcOrd="0" destOrd="0" presId="urn:microsoft.com/office/officeart/2005/8/layout/cycle6"/>
    <dgm:cxn modelId="{FF3FE373-4B26-4B59-9FD0-3D77BE766A15}" type="presParOf" srcId="{F48110C4-7D65-489B-A701-83D0DC5AE8EC}" destId="{DA17744F-7756-497E-9D79-4C7A05934046}" srcOrd="1" destOrd="0" presId="urn:microsoft.com/office/officeart/2005/8/layout/cycle6"/>
    <dgm:cxn modelId="{2C38A5EC-FF65-48A7-B427-8CBB4B1BC020}" type="presParOf" srcId="{F48110C4-7D65-489B-A701-83D0DC5AE8EC}" destId="{E9DE802E-AA1C-47D2-B31C-D706D532217F}" srcOrd="2" destOrd="0" presId="urn:microsoft.com/office/officeart/2005/8/layout/cycle6"/>
    <dgm:cxn modelId="{1D0BAE15-8F1F-40DD-B9D0-5A09FBE8146E}" type="presParOf" srcId="{F48110C4-7D65-489B-A701-83D0DC5AE8EC}" destId="{60C3DCEE-F136-4943-9423-34ABC7ECBA28}" srcOrd="3" destOrd="0" presId="urn:microsoft.com/office/officeart/2005/8/layout/cycle6"/>
    <dgm:cxn modelId="{2D9FB7EC-788F-4DCA-BA96-45271BD1C68E}" type="presParOf" srcId="{F48110C4-7D65-489B-A701-83D0DC5AE8EC}" destId="{B9476E57-7CE0-47CE-B6E4-5CAE7027C874}" srcOrd="4" destOrd="0" presId="urn:microsoft.com/office/officeart/2005/8/layout/cycle6"/>
    <dgm:cxn modelId="{4E62C4DF-0E30-4715-A0EF-D03E8C33B00E}" type="presParOf" srcId="{F48110C4-7D65-489B-A701-83D0DC5AE8EC}" destId="{9CAB07AB-CE92-410C-B67B-5C4D8E902D2A}" srcOrd="5" destOrd="0" presId="urn:microsoft.com/office/officeart/2005/8/layout/cycle6"/>
    <dgm:cxn modelId="{F7247D54-048D-4324-8C84-61B8EFEEB6AB}" type="presParOf" srcId="{F48110C4-7D65-489B-A701-83D0DC5AE8EC}" destId="{4892BA54-D813-4A68-B3E7-D96A4C75350B}" srcOrd="6" destOrd="0" presId="urn:microsoft.com/office/officeart/2005/8/layout/cycle6"/>
    <dgm:cxn modelId="{ED5D1DC8-1B6D-4A34-9E7D-33811ED85649}" type="presParOf" srcId="{F48110C4-7D65-489B-A701-83D0DC5AE8EC}" destId="{E5E16593-B9D1-4553-AFA1-64DE3FE97FB1}" srcOrd="7" destOrd="0" presId="urn:microsoft.com/office/officeart/2005/8/layout/cycle6"/>
    <dgm:cxn modelId="{075ED98B-21A7-47D6-9095-04237B95C8EC}" type="presParOf" srcId="{F48110C4-7D65-489B-A701-83D0DC5AE8EC}" destId="{9A59F23A-A123-44F1-AA94-485DEFC35334}" srcOrd="8" destOrd="0" presId="urn:microsoft.com/office/officeart/2005/8/layout/cycle6"/>
    <dgm:cxn modelId="{4ECD8D6A-5EDE-42AA-924B-A68B7C1D51C7}" type="presParOf" srcId="{F48110C4-7D65-489B-A701-83D0DC5AE8EC}" destId="{7F0EF2DB-CA93-47D2-9888-0F64D5429897}" srcOrd="9" destOrd="0" presId="urn:microsoft.com/office/officeart/2005/8/layout/cycle6"/>
    <dgm:cxn modelId="{86FE4081-6567-4167-9855-402ECA65C4AC}" type="presParOf" srcId="{F48110C4-7D65-489B-A701-83D0DC5AE8EC}" destId="{0FF3A428-76C3-4980-A906-0D3407BA83D6}" srcOrd="10" destOrd="0" presId="urn:microsoft.com/office/officeart/2005/8/layout/cycle6"/>
    <dgm:cxn modelId="{4AC041CF-C7BF-49D7-AE79-B0C535073F35}" type="presParOf" srcId="{F48110C4-7D65-489B-A701-83D0DC5AE8EC}" destId="{5FED0FA7-BC7F-41E0-8CAF-C97921FF36FC}" srcOrd="11" destOrd="0" presId="urn:microsoft.com/office/officeart/2005/8/layout/cycle6"/>
    <dgm:cxn modelId="{86ABD50E-8C44-461B-87D1-1AED602DE47E}" type="presParOf" srcId="{F48110C4-7D65-489B-A701-83D0DC5AE8EC}" destId="{4D19C0EA-C762-4CE8-913E-EABD0E5484DC}" srcOrd="12" destOrd="0" presId="urn:microsoft.com/office/officeart/2005/8/layout/cycle6"/>
    <dgm:cxn modelId="{A785583F-D040-4DB0-93B3-C34FBABCDE40}" type="presParOf" srcId="{F48110C4-7D65-489B-A701-83D0DC5AE8EC}" destId="{33BAD236-73A4-4723-A81B-B9F75E7D7030}" srcOrd="13" destOrd="0" presId="urn:microsoft.com/office/officeart/2005/8/layout/cycle6"/>
    <dgm:cxn modelId="{FF371412-DFB4-473F-AD52-EA26610A5BA1}" type="presParOf" srcId="{F48110C4-7D65-489B-A701-83D0DC5AE8EC}" destId="{3D6F80AD-6340-4645-9BCC-9CC839122757}" srcOrd="14" destOrd="0" presId="urn:microsoft.com/office/officeart/2005/8/layout/cycle6"/>
    <dgm:cxn modelId="{8B55A0B9-CE7B-4B21-93A8-006205FAB1C2}" type="presParOf" srcId="{F48110C4-7D65-489B-A701-83D0DC5AE8EC}" destId="{528AFA7E-4BAB-480B-A44C-BB6650F77F5D}" srcOrd="15" destOrd="0" presId="urn:microsoft.com/office/officeart/2005/8/layout/cycle6"/>
    <dgm:cxn modelId="{52347E4E-2D2A-458C-B241-355721D39386}" type="presParOf" srcId="{F48110C4-7D65-489B-A701-83D0DC5AE8EC}" destId="{B462E8CE-E696-4236-905E-97099BC38008}" srcOrd="16" destOrd="0" presId="urn:microsoft.com/office/officeart/2005/8/layout/cycle6"/>
    <dgm:cxn modelId="{111C3A2C-9D96-4C5D-9F94-6C75A666D432}" type="presParOf" srcId="{F48110C4-7D65-489B-A701-83D0DC5AE8EC}" destId="{1343E8DF-26C2-49CF-9606-81DA3D5CDE84}" srcOrd="17" destOrd="0" presId="urn:microsoft.com/office/officeart/2005/8/layout/cycle6"/>
    <dgm:cxn modelId="{74E6F29E-599F-4E84-8E06-89870DFE3330}" type="presParOf" srcId="{F48110C4-7D65-489B-A701-83D0DC5AE8EC}" destId="{8A8AB859-16A8-4B90-86A5-A979887A79EE}" srcOrd="18" destOrd="0" presId="urn:microsoft.com/office/officeart/2005/8/layout/cycle6"/>
    <dgm:cxn modelId="{8113408E-2983-4DF6-A3FD-D6432B49C07E}" type="presParOf" srcId="{F48110C4-7D65-489B-A701-83D0DC5AE8EC}" destId="{4317596B-D96B-4E75-AD8B-9CC507AEB411}" srcOrd="19" destOrd="0" presId="urn:microsoft.com/office/officeart/2005/8/layout/cycle6"/>
    <dgm:cxn modelId="{0B9B6AF8-B137-45C5-B53C-C5D6315E1F73}" type="presParOf" srcId="{F48110C4-7D65-489B-A701-83D0DC5AE8EC}" destId="{8B833E3F-CBA5-496B-A09F-2E54FBEE637D}" srcOrd="20" destOrd="0" presId="urn:microsoft.com/office/officeart/2005/8/layout/cycle6"/>
    <dgm:cxn modelId="{F7B135A9-DF18-425B-AFE9-0820BC4D0593}" type="presParOf" srcId="{F48110C4-7D65-489B-A701-83D0DC5AE8EC}" destId="{82B9AEF2-7358-4ACD-B5D1-32CFCBB75FA8}" srcOrd="21" destOrd="0" presId="urn:microsoft.com/office/officeart/2005/8/layout/cycle6"/>
    <dgm:cxn modelId="{A90536E3-CC11-4FB0-9102-234743CD9930}" type="presParOf" srcId="{F48110C4-7D65-489B-A701-83D0DC5AE8EC}" destId="{54C2FF6B-FAAC-4F5C-A4CA-B470EF3C66FC}" srcOrd="22" destOrd="0" presId="urn:microsoft.com/office/officeart/2005/8/layout/cycle6"/>
    <dgm:cxn modelId="{A5DFFA52-BA24-46C0-9890-53F516869EDF}" type="presParOf" srcId="{F48110C4-7D65-489B-A701-83D0DC5AE8EC}" destId="{2409D813-50DC-430D-9DC4-D4F889473FBF}" srcOrd="23" destOrd="0" presId="urn:microsoft.com/office/officeart/2005/8/layout/cycle6"/>
    <dgm:cxn modelId="{508CF65A-A4D7-41F1-9883-465C3B74EB04}" type="presParOf" srcId="{F48110C4-7D65-489B-A701-83D0DC5AE8EC}" destId="{9E632469-FD25-49F8-A3BA-3185905D2710}" srcOrd="24" destOrd="0" presId="urn:microsoft.com/office/officeart/2005/8/layout/cycle6"/>
    <dgm:cxn modelId="{AE5722DA-57CD-4A38-8F30-94DEDEA66C45}" type="presParOf" srcId="{F48110C4-7D65-489B-A701-83D0DC5AE8EC}" destId="{8FEB6B7F-1726-4EE0-BBCF-EC54C40EE5A0}" srcOrd="25" destOrd="0" presId="urn:microsoft.com/office/officeart/2005/8/layout/cycle6"/>
    <dgm:cxn modelId="{DAB34BD0-6F99-4A49-BE6B-D2A9CA1E8461}" type="presParOf" srcId="{F48110C4-7D65-489B-A701-83D0DC5AE8EC}" destId="{E93F9C88-6935-4B51-BEC8-146655D1ACB5}" srcOrd="26"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B849CB9-26DB-493F-9BC1-7B3FFAF2D0B0}" type="doc">
      <dgm:prSet loTypeId="urn:microsoft.com/office/officeart/2005/8/layout/cycle6" loCatId="cycle" qsTypeId="urn:microsoft.com/office/officeart/2005/8/quickstyle/simple1" qsCatId="simple" csTypeId="urn:microsoft.com/office/officeart/2005/8/colors/accent0_2" csCatId="mainScheme" phldr="1"/>
      <dgm:spPr/>
      <dgm:t>
        <a:bodyPr/>
        <a:lstStyle/>
        <a:p>
          <a:endParaRPr lang="cs-CZ"/>
        </a:p>
      </dgm:t>
    </dgm:pt>
    <dgm:pt modelId="{8DA66DDC-1E5A-4299-8A0E-881D8E75A2CC}">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Koncentrace EU dotací</a:t>
          </a:r>
        </a:p>
      </dgm:t>
    </dgm:pt>
    <dgm:pt modelId="{45B4CB81-8882-4D22-8D28-F64A5089339A}" type="parTrans" cxnId="{8ABC4EC6-D375-4671-A3A1-D96EFFAC3947}">
      <dgm:prSet/>
      <dgm:spPr/>
      <dgm:t>
        <a:bodyPr/>
        <a:lstStyle/>
        <a:p>
          <a:endParaRPr lang="cs-CZ" sz="1000">
            <a:solidFill>
              <a:schemeClr val="bg1">
                <a:lumMod val="10000"/>
              </a:schemeClr>
            </a:solidFill>
            <a:latin typeface="Fira Sans" panose="020B0503050000020004" pitchFamily="34" charset="0"/>
          </a:endParaRPr>
        </a:p>
      </dgm:t>
    </dgm:pt>
    <dgm:pt modelId="{98560292-C631-40A2-A164-33B1AF7A4306}" type="sibTrans" cxnId="{8ABC4EC6-D375-4671-A3A1-D96EFFAC3947}">
      <dgm:prSet/>
      <dgm:spPr>
        <a:solidFill>
          <a:srgbClr val="64BCA9"/>
        </a:solidFill>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335946D3-CE81-4097-9C35-1E1F6569FA42}">
      <dgm:prSet phldrT="[Text]" custT="1">
        <dgm:style>
          <a:lnRef idx="2">
            <a:schemeClr val="accent5"/>
          </a:lnRef>
          <a:fillRef idx="1">
            <a:schemeClr val="lt1"/>
          </a:fillRef>
          <a:effectRef idx="0">
            <a:schemeClr val="accent5"/>
          </a:effectRef>
          <a:fontRef idx="minor">
            <a:schemeClr val="dk1"/>
          </a:fontRef>
        </dgm:style>
      </dgm:prSet>
      <dgm:spPr>
        <a:solidFill>
          <a:srgbClr val="EAEAEA"/>
        </a:solidFill>
        <a:ln w="25400" cap="flat" cmpd="sng" algn="ctr">
          <a:no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gm:t>
    </dgm:pt>
    <dgm:pt modelId="{BC15C49E-B66A-4EA0-9A6A-9B01BB034923}" type="parTrans" cxnId="{1CBE8DB5-E03A-4256-B4B1-9F28955979DC}">
      <dgm:prSet/>
      <dgm:spPr/>
      <dgm:t>
        <a:bodyPr/>
        <a:lstStyle/>
        <a:p>
          <a:endParaRPr lang="cs-CZ" sz="1000">
            <a:solidFill>
              <a:schemeClr val="bg1">
                <a:lumMod val="10000"/>
              </a:schemeClr>
            </a:solidFill>
            <a:latin typeface="Fira Sans" panose="020B0503050000020004" pitchFamily="34" charset="0"/>
          </a:endParaRPr>
        </a:p>
      </dgm:t>
    </dgm:pt>
    <dgm:pt modelId="{AE500029-4FDD-4F4B-9D2E-CC29E5BC7027}" type="sibTrans" cxnId="{1CBE8DB5-E03A-4256-B4B1-9F28955979DC}">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61C3038A-F8DF-4E92-AD59-B100725A0594}">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Řízení samospráv</a:t>
          </a:r>
        </a:p>
      </dgm:t>
    </dgm:pt>
    <dgm:pt modelId="{EA7257B8-591F-426F-A471-E340593C1FB1}" type="parTrans" cxnId="{6E0BA1F7-E2CE-4609-B6EB-F3BF636379F8}">
      <dgm:prSet/>
      <dgm:spPr/>
      <dgm:t>
        <a:bodyPr/>
        <a:lstStyle/>
        <a:p>
          <a:endParaRPr lang="cs-CZ" sz="1000">
            <a:solidFill>
              <a:schemeClr val="bg1">
                <a:lumMod val="10000"/>
              </a:schemeClr>
            </a:solidFill>
            <a:latin typeface="Fira Sans" panose="020B0503050000020004" pitchFamily="34" charset="0"/>
          </a:endParaRPr>
        </a:p>
      </dgm:t>
    </dgm:pt>
    <dgm:pt modelId="{79044CD3-DDAA-4003-9891-4C1966070FE0}" type="sibTrans" cxnId="{6E0BA1F7-E2CE-4609-B6EB-F3BF636379F8}">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E25AE9C-AC8C-4D58-8F9A-F62CE0022D5B}">
      <dgm:prSet phldrT="[Tex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Motivace k soukromým investicím</a:t>
          </a:r>
        </a:p>
      </dgm:t>
    </dgm:pt>
    <dgm:pt modelId="{3DF2A404-A472-48AE-B55E-A08A9DE95A8A}" type="parTrans" cxnId="{B5837060-CD0D-454A-80FF-2FF57B65D03E}">
      <dgm:prSet/>
      <dgm:spPr/>
      <dgm:t>
        <a:bodyPr/>
        <a:lstStyle/>
        <a:p>
          <a:endParaRPr lang="cs-CZ" sz="1000">
            <a:solidFill>
              <a:schemeClr val="bg1">
                <a:lumMod val="10000"/>
              </a:schemeClr>
            </a:solidFill>
            <a:latin typeface="Fira Sans" panose="020B0503050000020004" pitchFamily="34" charset="0"/>
          </a:endParaRPr>
        </a:p>
      </dgm:t>
    </dgm:pt>
    <dgm:pt modelId="{3A83D1AE-4CA3-49D1-BED5-DC1B16F79E9E}" type="sibTrans" cxnId="{B5837060-CD0D-454A-80FF-2FF57B65D03E}">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0541C16E-1944-4558-8F91-1E2BFBF2C4D3}">
      <dgm:prSet custT="1"/>
      <dgm:spPr>
        <a:solidFill>
          <a:srgbClr val="EAEAEA"/>
        </a:solidFill>
        <a:ln>
          <a:noFill/>
        </a:ln>
      </dgm:spPr>
      <dgm:t>
        <a:bodyPr/>
        <a:lstStyle/>
        <a:p>
          <a:r>
            <a:rPr lang="cs-CZ" sz="1000" b="0">
              <a:solidFill>
                <a:schemeClr val="bg1">
                  <a:lumMod val="10000"/>
                </a:schemeClr>
              </a:solidFill>
              <a:latin typeface="Fira Sans" panose="020B0503050000020004" pitchFamily="34" charset="0"/>
            </a:rPr>
            <a:t>Chytřejší daně</a:t>
          </a:r>
        </a:p>
      </dgm:t>
    </dgm:pt>
    <dgm:pt modelId="{74B3290C-9CED-4B3B-8D13-53F98AC72B52}" type="parTrans" cxnId="{4E85D2B8-6129-4AA8-8720-C90C2083490A}">
      <dgm:prSet/>
      <dgm:spPr/>
      <dgm:t>
        <a:bodyPr/>
        <a:lstStyle/>
        <a:p>
          <a:endParaRPr lang="cs-CZ" sz="1000">
            <a:solidFill>
              <a:schemeClr val="bg1">
                <a:lumMod val="10000"/>
              </a:schemeClr>
            </a:solidFill>
            <a:latin typeface="Fira Sans" panose="020B0503050000020004" pitchFamily="34" charset="0"/>
          </a:endParaRPr>
        </a:p>
      </dgm:t>
    </dgm:pt>
    <dgm:pt modelId="{79141A15-B5C5-43BE-A996-25475570F7D8}" type="sibTrans" cxnId="{4E85D2B8-6129-4AA8-8720-C90C2083490A}">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5061020-A4FE-457E-B053-4BC20E225ADE}">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Podpora vzdělávání</a:t>
          </a:r>
        </a:p>
      </dgm:t>
    </dgm:pt>
    <dgm:pt modelId="{FB1F3FA9-3E85-4026-B041-C5FCFF660589}" type="parTrans" cxnId="{4E61D12F-FD3A-410A-9DE4-CB514013C5E1}">
      <dgm:prSet/>
      <dgm:spPr/>
      <dgm:t>
        <a:bodyPr/>
        <a:lstStyle/>
        <a:p>
          <a:endParaRPr lang="cs-CZ" sz="1000">
            <a:solidFill>
              <a:schemeClr val="bg1">
                <a:lumMod val="10000"/>
              </a:schemeClr>
            </a:solidFill>
            <a:latin typeface="Fira Sans" panose="020B0503050000020004" pitchFamily="34" charset="0"/>
          </a:endParaRPr>
        </a:p>
      </dgm:t>
    </dgm:pt>
    <dgm:pt modelId="{901714CC-5810-4859-B458-EA66EAEE3E1A}" type="sibTrans" cxnId="{4E61D12F-FD3A-410A-9DE4-CB514013C5E1}">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4C74EAB3-BCAB-476B-BAA7-0ECD8C020F1D}">
      <dgm:prSet custT="1"/>
      <dgm:spPr>
        <a:solidFill>
          <a:srgbClr val="64BCA9"/>
        </a:solidFill>
        <a:ln>
          <a:noFill/>
        </a:ln>
      </dgm:spPr>
      <dgm:t>
        <a:bodyPr/>
        <a:lstStyle/>
        <a:p>
          <a:r>
            <a:rPr lang="cs-CZ" sz="1000" b="1">
              <a:solidFill>
                <a:schemeClr val="bg1">
                  <a:lumMod val="10000"/>
                </a:schemeClr>
              </a:solidFill>
              <a:latin typeface="Fira Sans" panose="020B0503050000020004" pitchFamily="34" charset="0"/>
            </a:rPr>
            <a:t>Omezení šedé ekonomiky</a:t>
          </a:r>
        </a:p>
      </dgm:t>
    </dgm:pt>
    <dgm:pt modelId="{770663B0-B946-4505-BC7D-A73C703B55D6}" type="parTrans" cxnId="{AF8D667C-EA3E-4B0F-906D-CF8BB7814FCF}">
      <dgm:prSet/>
      <dgm:spPr/>
      <dgm:t>
        <a:bodyPr/>
        <a:lstStyle/>
        <a:p>
          <a:endParaRPr lang="cs-CZ" sz="1000">
            <a:solidFill>
              <a:schemeClr val="bg1">
                <a:lumMod val="10000"/>
              </a:schemeClr>
            </a:solidFill>
            <a:latin typeface="Fira Sans" panose="020B0503050000020004" pitchFamily="34" charset="0"/>
          </a:endParaRPr>
        </a:p>
      </dgm:t>
    </dgm:pt>
    <dgm:pt modelId="{1A1DE00F-F739-4D74-8165-4F41AA21E618}" type="sibTrans" cxnId="{AF8D667C-EA3E-4B0F-906D-CF8BB7814FCF}">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B2DAD1D-8172-415E-B516-6F72DF2C87ED}">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Stabilizující bytová politika</a:t>
          </a:r>
        </a:p>
      </dgm:t>
    </dgm:pt>
    <dgm:pt modelId="{C8035952-8E3A-4BD6-A7F5-4E4E4BAC17BA}" type="parTrans" cxnId="{E394623A-8816-44FD-B1F9-E62C259667D6}">
      <dgm:prSet/>
      <dgm:spPr/>
      <dgm:t>
        <a:bodyPr/>
        <a:lstStyle/>
        <a:p>
          <a:endParaRPr lang="cs-CZ" sz="1000">
            <a:solidFill>
              <a:schemeClr val="bg1">
                <a:lumMod val="10000"/>
              </a:schemeClr>
            </a:solidFill>
            <a:latin typeface="Fira Sans" panose="020B0503050000020004" pitchFamily="34" charset="0"/>
          </a:endParaRPr>
        </a:p>
      </dgm:t>
    </dgm:pt>
    <dgm:pt modelId="{F0EC7CBB-5484-4BD6-A634-1E2C9CA1721C}" type="sibTrans" cxnId="{E394623A-8816-44FD-B1F9-E62C259667D6}">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CD2B1CED-857B-4605-BB9A-FF6630D0A73A}">
      <dgm:prSet custT="1"/>
      <dgm:spPr>
        <a:solidFill>
          <a:schemeClr val="tx1">
            <a:lumMod val="10000"/>
            <a:lumOff val="90000"/>
          </a:schemeClr>
        </a:solidFill>
        <a:ln>
          <a:noFill/>
        </a:ln>
      </dgm:spPr>
      <dgm:t>
        <a:bodyPr/>
        <a:lstStyle/>
        <a:p>
          <a:r>
            <a:rPr lang="cs-CZ" sz="1000">
              <a:solidFill>
                <a:schemeClr val="bg1">
                  <a:lumMod val="10000"/>
                </a:schemeClr>
              </a:solidFill>
              <a:latin typeface="Fira Sans" panose="020B0503050000020004" pitchFamily="34" charset="0"/>
            </a:rPr>
            <a:t>Lepší regionální plánování</a:t>
          </a:r>
        </a:p>
      </dgm:t>
    </dgm:pt>
    <dgm:pt modelId="{80441468-4CC4-4758-BD74-5DCBE6E35490}" type="parTrans" cxnId="{17CB0FD6-A918-4B4A-BEB5-50F70517E213}">
      <dgm:prSet/>
      <dgm:spPr/>
      <dgm:t>
        <a:bodyPr/>
        <a:lstStyle/>
        <a:p>
          <a:endParaRPr lang="cs-CZ" sz="1000">
            <a:solidFill>
              <a:schemeClr val="bg1">
                <a:lumMod val="10000"/>
              </a:schemeClr>
            </a:solidFill>
            <a:latin typeface="Fira Sans" panose="020B0503050000020004" pitchFamily="34" charset="0"/>
          </a:endParaRPr>
        </a:p>
      </dgm:t>
    </dgm:pt>
    <dgm:pt modelId="{9FCD6D6B-256A-42C0-827A-5A1755FC9CD4}" type="sibTrans" cxnId="{17CB0FD6-A918-4B4A-BEB5-50F70517E213}">
      <dgm:prSet/>
      <dgm:spPr>
        <a:ln>
          <a:solidFill>
            <a:schemeClr val="accent2"/>
          </a:solidFill>
        </a:ln>
      </dgm:spPr>
      <dgm:t>
        <a:bodyPr/>
        <a:lstStyle/>
        <a:p>
          <a:endParaRPr lang="cs-CZ" sz="1000">
            <a:solidFill>
              <a:schemeClr val="bg1">
                <a:lumMod val="10000"/>
              </a:schemeClr>
            </a:solidFill>
            <a:latin typeface="Fira Sans" panose="020B0503050000020004" pitchFamily="34" charset="0"/>
          </a:endParaRPr>
        </a:p>
      </dgm:t>
    </dgm:pt>
    <dgm:pt modelId="{F48110C4-7D65-489B-A701-83D0DC5AE8EC}" type="pres">
      <dgm:prSet presAssocID="{DB849CB9-26DB-493F-9BC1-7B3FFAF2D0B0}" presName="cycle" presStyleCnt="0">
        <dgm:presLayoutVars>
          <dgm:dir/>
          <dgm:resizeHandles val="exact"/>
        </dgm:presLayoutVars>
      </dgm:prSet>
      <dgm:spPr/>
    </dgm:pt>
    <dgm:pt modelId="{1AF6340D-53D1-41C5-8C0B-08EA9545C9CA}" type="pres">
      <dgm:prSet presAssocID="{8DA66DDC-1E5A-4299-8A0E-881D8E75A2CC}" presName="node" presStyleLbl="node1" presStyleIdx="0" presStyleCnt="9" custScaleX="139153" custScaleY="202948" custRadScaleRad="99673" custRadScaleInc="-5788">
        <dgm:presLayoutVars>
          <dgm:bulletEnabled val="1"/>
        </dgm:presLayoutVars>
      </dgm:prSet>
      <dgm:spPr/>
    </dgm:pt>
    <dgm:pt modelId="{DA17744F-7756-497E-9D79-4C7A05934046}" type="pres">
      <dgm:prSet presAssocID="{8DA66DDC-1E5A-4299-8A0E-881D8E75A2CC}" presName="spNode" presStyleCnt="0"/>
      <dgm:spPr/>
    </dgm:pt>
    <dgm:pt modelId="{E9DE802E-AA1C-47D2-B31C-D706D532217F}" type="pres">
      <dgm:prSet presAssocID="{98560292-C631-40A2-A164-33B1AF7A4306}" presName="sibTrans" presStyleLbl="sibTrans1D1" presStyleIdx="0" presStyleCnt="9"/>
      <dgm:spPr/>
    </dgm:pt>
    <dgm:pt modelId="{60C3DCEE-F136-4943-9423-34ABC7ECBA28}" type="pres">
      <dgm:prSet presAssocID="{335946D3-CE81-4097-9C35-1E1F6569FA42}" presName="node" presStyleLbl="node1" presStyleIdx="1" presStyleCnt="9" custScaleX="131916" custScaleY="202948" custRadScaleRad="98998" custRadScaleInc="19231">
        <dgm:presLayoutVars>
          <dgm:bulletEnabled val="1"/>
        </dgm:presLayoutVars>
      </dgm:prSet>
      <dgm:spPr>
        <a:xfrm>
          <a:off x="4085154" y="261999"/>
          <a:ext cx="1007997" cy="1007999"/>
        </a:xfrm>
        <a:prstGeom prst="roundRect">
          <a:avLst/>
        </a:prstGeom>
      </dgm:spPr>
    </dgm:pt>
    <dgm:pt modelId="{B9476E57-7CE0-47CE-B6E4-5CAE7027C874}" type="pres">
      <dgm:prSet presAssocID="{335946D3-CE81-4097-9C35-1E1F6569FA42}" presName="spNode" presStyleCnt="0"/>
      <dgm:spPr/>
    </dgm:pt>
    <dgm:pt modelId="{9CAB07AB-CE92-410C-B67B-5C4D8E902D2A}" type="pres">
      <dgm:prSet presAssocID="{AE500029-4FDD-4F4B-9D2E-CC29E5BC7027}" presName="sibTrans" presStyleLbl="sibTrans1D1" presStyleIdx="1" presStyleCnt="9"/>
      <dgm:spPr/>
    </dgm:pt>
    <dgm:pt modelId="{4892BA54-D813-4A68-B3E7-D96A4C75350B}" type="pres">
      <dgm:prSet presAssocID="{61C3038A-F8DF-4E92-AD59-B100725A0594}" presName="node" presStyleLbl="node1" presStyleIdx="2" presStyleCnt="9" custScaleX="131916" custScaleY="202948" custRadScaleRad="99169" custRadScaleInc="24360">
        <dgm:presLayoutVars>
          <dgm:bulletEnabled val="1"/>
        </dgm:presLayoutVars>
      </dgm:prSet>
      <dgm:spPr/>
    </dgm:pt>
    <dgm:pt modelId="{E5E16593-B9D1-4553-AFA1-64DE3FE97FB1}" type="pres">
      <dgm:prSet presAssocID="{61C3038A-F8DF-4E92-AD59-B100725A0594}" presName="spNode" presStyleCnt="0"/>
      <dgm:spPr/>
    </dgm:pt>
    <dgm:pt modelId="{9A59F23A-A123-44F1-AA94-485DEFC35334}" type="pres">
      <dgm:prSet presAssocID="{79044CD3-DDAA-4003-9891-4C1966070FE0}" presName="sibTrans" presStyleLbl="sibTrans1D1" presStyleIdx="2" presStyleCnt="9"/>
      <dgm:spPr/>
    </dgm:pt>
    <dgm:pt modelId="{7F0EF2DB-CA93-47D2-9888-0F64D5429897}" type="pres">
      <dgm:prSet presAssocID="{FE25AE9C-AC8C-4D58-8F9A-F62CE0022D5B}" presName="node" presStyleLbl="node1" presStyleIdx="3" presStyleCnt="9" custScaleX="131916" custScaleY="202948">
        <dgm:presLayoutVars>
          <dgm:bulletEnabled val="1"/>
        </dgm:presLayoutVars>
      </dgm:prSet>
      <dgm:spPr/>
    </dgm:pt>
    <dgm:pt modelId="{0FF3A428-76C3-4980-A906-0D3407BA83D6}" type="pres">
      <dgm:prSet presAssocID="{FE25AE9C-AC8C-4D58-8F9A-F62CE0022D5B}" presName="spNode" presStyleCnt="0"/>
      <dgm:spPr/>
    </dgm:pt>
    <dgm:pt modelId="{5FED0FA7-BC7F-41E0-8CAF-C97921FF36FC}" type="pres">
      <dgm:prSet presAssocID="{3A83D1AE-4CA3-49D1-BED5-DC1B16F79E9E}" presName="sibTrans" presStyleLbl="sibTrans1D1" presStyleIdx="3" presStyleCnt="9"/>
      <dgm:spPr/>
    </dgm:pt>
    <dgm:pt modelId="{4D19C0EA-C762-4CE8-913E-EABD0E5484DC}" type="pres">
      <dgm:prSet presAssocID="{0541C16E-1944-4558-8F91-1E2BFBF2C4D3}" presName="node" presStyleLbl="node1" presStyleIdx="4" presStyleCnt="9" custScaleX="131916" custScaleY="202948" custRadScaleRad="98172" custRadScaleInc="18830">
        <dgm:presLayoutVars>
          <dgm:bulletEnabled val="1"/>
        </dgm:presLayoutVars>
      </dgm:prSet>
      <dgm:spPr/>
    </dgm:pt>
    <dgm:pt modelId="{33BAD236-73A4-4723-A81B-B9F75E7D7030}" type="pres">
      <dgm:prSet presAssocID="{0541C16E-1944-4558-8F91-1E2BFBF2C4D3}" presName="spNode" presStyleCnt="0"/>
      <dgm:spPr/>
    </dgm:pt>
    <dgm:pt modelId="{3D6F80AD-6340-4645-9BCC-9CC839122757}" type="pres">
      <dgm:prSet presAssocID="{79141A15-B5C5-43BE-A996-25475570F7D8}" presName="sibTrans" presStyleLbl="sibTrans1D1" presStyleIdx="4" presStyleCnt="9"/>
      <dgm:spPr/>
    </dgm:pt>
    <dgm:pt modelId="{528AFA7E-4BAB-480B-A44C-BB6650F77F5D}" type="pres">
      <dgm:prSet presAssocID="{45061020-A4FE-457E-B053-4BC20E225ADE}" presName="node" presStyleLbl="node1" presStyleIdx="5" presStyleCnt="9" custScaleX="131916" custScaleY="202948" custRadScaleRad="98713" custRadScaleInc="-21101">
        <dgm:presLayoutVars>
          <dgm:bulletEnabled val="1"/>
        </dgm:presLayoutVars>
      </dgm:prSet>
      <dgm:spPr/>
    </dgm:pt>
    <dgm:pt modelId="{B462E8CE-E696-4236-905E-97099BC38008}" type="pres">
      <dgm:prSet presAssocID="{45061020-A4FE-457E-B053-4BC20E225ADE}" presName="spNode" presStyleCnt="0"/>
      <dgm:spPr/>
    </dgm:pt>
    <dgm:pt modelId="{1343E8DF-26C2-49CF-9606-81DA3D5CDE84}" type="pres">
      <dgm:prSet presAssocID="{901714CC-5810-4859-B458-EA66EAEE3E1A}" presName="sibTrans" presStyleLbl="sibTrans1D1" presStyleIdx="5" presStyleCnt="9"/>
      <dgm:spPr/>
    </dgm:pt>
    <dgm:pt modelId="{8A8AB859-16A8-4B90-86A5-A979887A79EE}" type="pres">
      <dgm:prSet presAssocID="{4C74EAB3-BCAB-476B-BAA7-0ECD8C020F1D}" presName="node" presStyleLbl="node1" presStyleIdx="6" presStyleCnt="9" custScaleX="131916" custScaleY="202948">
        <dgm:presLayoutVars>
          <dgm:bulletEnabled val="1"/>
        </dgm:presLayoutVars>
      </dgm:prSet>
      <dgm:spPr/>
    </dgm:pt>
    <dgm:pt modelId="{4317596B-D96B-4E75-AD8B-9CC507AEB411}" type="pres">
      <dgm:prSet presAssocID="{4C74EAB3-BCAB-476B-BAA7-0ECD8C020F1D}" presName="spNode" presStyleCnt="0"/>
      <dgm:spPr/>
    </dgm:pt>
    <dgm:pt modelId="{8B833E3F-CBA5-496B-A09F-2E54FBEE637D}" type="pres">
      <dgm:prSet presAssocID="{1A1DE00F-F739-4D74-8165-4F41AA21E618}" presName="sibTrans" presStyleLbl="sibTrans1D1" presStyleIdx="6" presStyleCnt="9"/>
      <dgm:spPr/>
    </dgm:pt>
    <dgm:pt modelId="{82B9AEF2-7358-4ACD-B5D1-32CFCBB75FA8}" type="pres">
      <dgm:prSet presAssocID="{CB2DAD1D-8172-415E-B516-6F72DF2C87ED}" presName="node" presStyleLbl="node1" presStyleIdx="7" presStyleCnt="9" custScaleX="132582" custScaleY="203221" custRadScaleRad="99668" custRadScaleInc="-18782">
        <dgm:presLayoutVars>
          <dgm:bulletEnabled val="1"/>
        </dgm:presLayoutVars>
      </dgm:prSet>
      <dgm:spPr/>
    </dgm:pt>
    <dgm:pt modelId="{54C2FF6B-FAAC-4F5C-A4CA-B470EF3C66FC}" type="pres">
      <dgm:prSet presAssocID="{CB2DAD1D-8172-415E-B516-6F72DF2C87ED}" presName="spNode" presStyleCnt="0"/>
      <dgm:spPr/>
    </dgm:pt>
    <dgm:pt modelId="{2409D813-50DC-430D-9DC4-D4F889473FBF}" type="pres">
      <dgm:prSet presAssocID="{F0EC7CBB-5484-4BD6-A634-1E2C9CA1721C}" presName="sibTrans" presStyleLbl="sibTrans1D1" presStyleIdx="7" presStyleCnt="9"/>
      <dgm:spPr/>
    </dgm:pt>
    <dgm:pt modelId="{9E632469-FD25-49F8-A3BA-3185905D2710}" type="pres">
      <dgm:prSet presAssocID="{CD2B1CED-857B-4605-BB9A-FF6630D0A73A}" presName="node" presStyleLbl="node1" presStyleIdx="8" presStyleCnt="9" custScaleX="131916" custScaleY="202948" custRadScaleRad="97871" custRadScaleInc="-13804">
        <dgm:presLayoutVars>
          <dgm:bulletEnabled val="1"/>
        </dgm:presLayoutVars>
      </dgm:prSet>
      <dgm:spPr/>
    </dgm:pt>
    <dgm:pt modelId="{8FEB6B7F-1726-4EE0-BBCF-EC54C40EE5A0}" type="pres">
      <dgm:prSet presAssocID="{CD2B1CED-857B-4605-BB9A-FF6630D0A73A}" presName="spNode" presStyleCnt="0"/>
      <dgm:spPr/>
    </dgm:pt>
    <dgm:pt modelId="{E93F9C88-6935-4B51-BEC8-146655D1ACB5}" type="pres">
      <dgm:prSet presAssocID="{9FCD6D6B-256A-42C0-827A-5A1755FC9CD4}" presName="sibTrans" presStyleLbl="sibTrans1D1" presStyleIdx="8" presStyleCnt="9"/>
      <dgm:spPr/>
    </dgm:pt>
  </dgm:ptLst>
  <dgm:cxnLst>
    <dgm:cxn modelId="{19D95308-0553-4600-8CCD-6936C10B4B14}" type="presOf" srcId="{9FCD6D6B-256A-42C0-827A-5A1755FC9CD4}" destId="{E93F9C88-6935-4B51-BEC8-146655D1ACB5}" srcOrd="0" destOrd="0" presId="urn:microsoft.com/office/officeart/2005/8/layout/cycle6"/>
    <dgm:cxn modelId="{9892B912-B6A4-4A97-BBF4-556EB7C4185C}" type="presOf" srcId="{79141A15-B5C5-43BE-A996-25475570F7D8}" destId="{3D6F80AD-6340-4645-9BCC-9CC839122757}" srcOrd="0" destOrd="0" presId="urn:microsoft.com/office/officeart/2005/8/layout/cycle6"/>
    <dgm:cxn modelId="{1C8CA215-762A-4415-8E6D-D991EE0C98C2}" type="presOf" srcId="{CD2B1CED-857B-4605-BB9A-FF6630D0A73A}" destId="{9E632469-FD25-49F8-A3BA-3185905D2710}" srcOrd="0" destOrd="0" presId="urn:microsoft.com/office/officeart/2005/8/layout/cycle6"/>
    <dgm:cxn modelId="{4E61D12F-FD3A-410A-9DE4-CB514013C5E1}" srcId="{DB849CB9-26DB-493F-9BC1-7B3FFAF2D0B0}" destId="{45061020-A4FE-457E-B053-4BC20E225ADE}" srcOrd="5" destOrd="0" parTransId="{FB1F3FA9-3E85-4026-B041-C5FCFF660589}" sibTransId="{901714CC-5810-4859-B458-EA66EAEE3E1A}"/>
    <dgm:cxn modelId="{2C34A433-6607-45EE-B7C2-CB11C72D1220}" type="presOf" srcId="{79044CD3-DDAA-4003-9891-4C1966070FE0}" destId="{9A59F23A-A123-44F1-AA94-485DEFC35334}" srcOrd="0" destOrd="0" presId="urn:microsoft.com/office/officeart/2005/8/layout/cycle6"/>
    <dgm:cxn modelId="{373ACE34-BA8F-48EF-9D20-600D8F367550}" type="presOf" srcId="{0541C16E-1944-4558-8F91-1E2BFBF2C4D3}" destId="{4D19C0EA-C762-4CE8-913E-EABD0E5484DC}" srcOrd="0" destOrd="0" presId="urn:microsoft.com/office/officeart/2005/8/layout/cycle6"/>
    <dgm:cxn modelId="{E394623A-8816-44FD-B1F9-E62C259667D6}" srcId="{DB849CB9-26DB-493F-9BC1-7B3FFAF2D0B0}" destId="{CB2DAD1D-8172-415E-B516-6F72DF2C87ED}" srcOrd="7" destOrd="0" parTransId="{C8035952-8E3A-4BD6-A7F5-4E4E4BAC17BA}" sibTransId="{F0EC7CBB-5484-4BD6-A634-1E2C9CA1721C}"/>
    <dgm:cxn modelId="{DD77F83D-8C8D-4CAF-AADD-4CA7A26FB3C0}" type="presOf" srcId="{3A83D1AE-4CA3-49D1-BED5-DC1B16F79E9E}" destId="{5FED0FA7-BC7F-41E0-8CAF-C97921FF36FC}" srcOrd="0" destOrd="0" presId="urn:microsoft.com/office/officeart/2005/8/layout/cycle6"/>
    <dgm:cxn modelId="{B5837060-CD0D-454A-80FF-2FF57B65D03E}" srcId="{DB849CB9-26DB-493F-9BC1-7B3FFAF2D0B0}" destId="{FE25AE9C-AC8C-4D58-8F9A-F62CE0022D5B}" srcOrd="3" destOrd="0" parTransId="{3DF2A404-A472-48AE-B55E-A08A9DE95A8A}" sibTransId="{3A83D1AE-4CA3-49D1-BED5-DC1B16F79E9E}"/>
    <dgm:cxn modelId="{2566F96C-F373-4362-A34E-2367EABB4789}" type="presOf" srcId="{FE25AE9C-AC8C-4D58-8F9A-F62CE0022D5B}" destId="{7F0EF2DB-CA93-47D2-9888-0F64D5429897}" srcOrd="0" destOrd="0" presId="urn:microsoft.com/office/officeart/2005/8/layout/cycle6"/>
    <dgm:cxn modelId="{E6E9BB6E-B5CE-4603-BDA4-4AE1356356EF}" type="presOf" srcId="{8DA66DDC-1E5A-4299-8A0E-881D8E75A2CC}" destId="{1AF6340D-53D1-41C5-8C0B-08EA9545C9CA}" srcOrd="0" destOrd="0" presId="urn:microsoft.com/office/officeart/2005/8/layout/cycle6"/>
    <dgm:cxn modelId="{17A4B057-35C8-41F1-9648-864A5C9B578D}" type="presOf" srcId="{CB2DAD1D-8172-415E-B516-6F72DF2C87ED}" destId="{82B9AEF2-7358-4ACD-B5D1-32CFCBB75FA8}" srcOrd="0" destOrd="0" presId="urn:microsoft.com/office/officeart/2005/8/layout/cycle6"/>
    <dgm:cxn modelId="{378F9878-6035-4F48-89E1-BFD8A4F16BDB}" type="presOf" srcId="{61C3038A-F8DF-4E92-AD59-B100725A0594}" destId="{4892BA54-D813-4A68-B3E7-D96A4C75350B}" srcOrd="0" destOrd="0" presId="urn:microsoft.com/office/officeart/2005/8/layout/cycle6"/>
    <dgm:cxn modelId="{94F8827A-900A-4D58-A084-AE208E3CFEB5}" type="presOf" srcId="{1A1DE00F-F739-4D74-8165-4F41AA21E618}" destId="{8B833E3F-CBA5-496B-A09F-2E54FBEE637D}" srcOrd="0" destOrd="0" presId="urn:microsoft.com/office/officeart/2005/8/layout/cycle6"/>
    <dgm:cxn modelId="{AF8D667C-EA3E-4B0F-906D-CF8BB7814FCF}" srcId="{DB849CB9-26DB-493F-9BC1-7B3FFAF2D0B0}" destId="{4C74EAB3-BCAB-476B-BAA7-0ECD8C020F1D}" srcOrd="6" destOrd="0" parTransId="{770663B0-B946-4505-BC7D-A73C703B55D6}" sibTransId="{1A1DE00F-F739-4D74-8165-4F41AA21E618}"/>
    <dgm:cxn modelId="{4CE94693-C180-4EC4-9FCF-513C240B9E67}" type="presOf" srcId="{98560292-C631-40A2-A164-33B1AF7A4306}" destId="{E9DE802E-AA1C-47D2-B31C-D706D532217F}" srcOrd="0" destOrd="0" presId="urn:microsoft.com/office/officeart/2005/8/layout/cycle6"/>
    <dgm:cxn modelId="{C3F4569C-0137-47FF-9FCA-D223C87684A5}" type="presOf" srcId="{45061020-A4FE-457E-B053-4BC20E225ADE}" destId="{528AFA7E-4BAB-480B-A44C-BB6650F77F5D}" srcOrd="0" destOrd="0" presId="urn:microsoft.com/office/officeart/2005/8/layout/cycle6"/>
    <dgm:cxn modelId="{B9952EB2-29F7-4765-B9B8-7D6F2CDFB527}" type="presOf" srcId="{F0EC7CBB-5484-4BD6-A634-1E2C9CA1721C}" destId="{2409D813-50DC-430D-9DC4-D4F889473FBF}" srcOrd="0" destOrd="0" presId="urn:microsoft.com/office/officeart/2005/8/layout/cycle6"/>
    <dgm:cxn modelId="{1CBE8DB5-E03A-4256-B4B1-9F28955979DC}" srcId="{DB849CB9-26DB-493F-9BC1-7B3FFAF2D0B0}" destId="{335946D3-CE81-4097-9C35-1E1F6569FA42}" srcOrd="1" destOrd="0" parTransId="{BC15C49E-B66A-4EA0-9A6A-9B01BB034923}" sibTransId="{AE500029-4FDD-4F4B-9D2E-CC29E5BC7027}"/>
    <dgm:cxn modelId="{4E85D2B8-6129-4AA8-8720-C90C2083490A}" srcId="{DB849CB9-26DB-493F-9BC1-7B3FFAF2D0B0}" destId="{0541C16E-1944-4558-8F91-1E2BFBF2C4D3}" srcOrd="4" destOrd="0" parTransId="{74B3290C-9CED-4B3B-8D13-53F98AC72B52}" sibTransId="{79141A15-B5C5-43BE-A996-25475570F7D8}"/>
    <dgm:cxn modelId="{DABF91B9-8897-4255-84DD-793AC22AF8DB}" type="presOf" srcId="{4C74EAB3-BCAB-476B-BAA7-0ECD8C020F1D}" destId="{8A8AB859-16A8-4B90-86A5-A979887A79EE}" srcOrd="0" destOrd="0" presId="urn:microsoft.com/office/officeart/2005/8/layout/cycle6"/>
    <dgm:cxn modelId="{34D9E2BA-6362-4232-A9F8-921720D860C4}" type="presOf" srcId="{335946D3-CE81-4097-9C35-1E1F6569FA42}" destId="{60C3DCEE-F136-4943-9423-34ABC7ECBA28}" srcOrd="0" destOrd="0" presId="urn:microsoft.com/office/officeart/2005/8/layout/cycle6"/>
    <dgm:cxn modelId="{0455ABBC-94C4-469B-966A-38C9C019DBBE}" type="presOf" srcId="{901714CC-5810-4859-B458-EA66EAEE3E1A}" destId="{1343E8DF-26C2-49CF-9606-81DA3D5CDE84}" srcOrd="0" destOrd="0" presId="urn:microsoft.com/office/officeart/2005/8/layout/cycle6"/>
    <dgm:cxn modelId="{8ABC4EC6-D375-4671-A3A1-D96EFFAC3947}" srcId="{DB849CB9-26DB-493F-9BC1-7B3FFAF2D0B0}" destId="{8DA66DDC-1E5A-4299-8A0E-881D8E75A2CC}" srcOrd="0" destOrd="0" parTransId="{45B4CB81-8882-4D22-8D28-F64A5089339A}" sibTransId="{98560292-C631-40A2-A164-33B1AF7A4306}"/>
    <dgm:cxn modelId="{17CB0FD6-A918-4B4A-BEB5-50F70517E213}" srcId="{DB849CB9-26DB-493F-9BC1-7B3FFAF2D0B0}" destId="{CD2B1CED-857B-4605-BB9A-FF6630D0A73A}" srcOrd="8" destOrd="0" parTransId="{80441468-4CC4-4758-BD74-5DCBE6E35490}" sibTransId="{9FCD6D6B-256A-42C0-827A-5A1755FC9CD4}"/>
    <dgm:cxn modelId="{6E0BA1F7-E2CE-4609-B6EB-F3BF636379F8}" srcId="{DB849CB9-26DB-493F-9BC1-7B3FFAF2D0B0}" destId="{61C3038A-F8DF-4E92-AD59-B100725A0594}" srcOrd="2" destOrd="0" parTransId="{EA7257B8-591F-426F-A471-E340593C1FB1}" sibTransId="{79044CD3-DDAA-4003-9891-4C1966070FE0}"/>
    <dgm:cxn modelId="{F48028FA-CB7B-43CB-B087-075AC66BF1ED}" type="presOf" srcId="{AE500029-4FDD-4F4B-9D2E-CC29E5BC7027}" destId="{9CAB07AB-CE92-410C-B67B-5C4D8E902D2A}" srcOrd="0" destOrd="0" presId="urn:microsoft.com/office/officeart/2005/8/layout/cycle6"/>
    <dgm:cxn modelId="{A92EA1FF-8CCE-4E66-8BD5-56439B95DEF7}" type="presOf" srcId="{DB849CB9-26DB-493F-9BC1-7B3FFAF2D0B0}" destId="{F48110C4-7D65-489B-A701-83D0DC5AE8EC}" srcOrd="0" destOrd="0" presId="urn:microsoft.com/office/officeart/2005/8/layout/cycle6"/>
    <dgm:cxn modelId="{6F69C911-369B-44F7-9C97-F7F96E2FA293}" type="presParOf" srcId="{F48110C4-7D65-489B-A701-83D0DC5AE8EC}" destId="{1AF6340D-53D1-41C5-8C0B-08EA9545C9CA}" srcOrd="0" destOrd="0" presId="urn:microsoft.com/office/officeart/2005/8/layout/cycle6"/>
    <dgm:cxn modelId="{FF3FE373-4B26-4B59-9FD0-3D77BE766A15}" type="presParOf" srcId="{F48110C4-7D65-489B-A701-83D0DC5AE8EC}" destId="{DA17744F-7756-497E-9D79-4C7A05934046}" srcOrd="1" destOrd="0" presId="urn:microsoft.com/office/officeart/2005/8/layout/cycle6"/>
    <dgm:cxn modelId="{2C38A5EC-FF65-48A7-B427-8CBB4B1BC020}" type="presParOf" srcId="{F48110C4-7D65-489B-A701-83D0DC5AE8EC}" destId="{E9DE802E-AA1C-47D2-B31C-D706D532217F}" srcOrd="2" destOrd="0" presId="urn:microsoft.com/office/officeart/2005/8/layout/cycle6"/>
    <dgm:cxn modelId="{1D0BAE15-8F1F-40DD-B9D0-5A09FBE8146E}" type="presParOf" srcId="{F48110C4-7D65-489B-A701-83D0DC5AE8EC}" destId="{60C3DCEE-F136-4943-9423-34ABC7ECBA28}" srcOrd="3" destOrd="0" presId="urn:microsoft.com/office/officeart/2005/8/layout/cycle6"/>
    <dgm:cxn modelId="{2D9FB7EC-788F-4DCA-BA96-45271BD1C68E}" type="presParOf" srcId="{F48110C4-7D65-489B-A701-83D0DC5AE8EC}" destId="{B9476E57-7CE0-47CE-B6E4-5CAE7027C874}" srcOrd="4" destOrd="0" presId="urn:microsoft.com/office/officeart/2005/8/layout/cycle6"/>
    <dgm:cxn modelId="{4E62C4DF-0E30-4715-A0EF-D03E8C33B00E}" type="presParOf" srcId="{F48110C4-7D65-489B-A701-83D0DC5AE8EC}" destId="{9CAB07AB-CE92-410C-B67B-5C4D8E902D2A}" srcOrd="5" destOrd="0" presId="urn:microsoft.com/office/officeart/2005/8/layout/cycle6"/>
    <dgm:cxn modelId="{F7247D54-048D-4324-8C84-61B8EFEEB6AB}" type="presParOf" srcId="{F48110C4-7D65-489B-A701-83D0DC5AE8EC}" destId="{4892BA54-D813-4A68-B3E7-D96A4C75350B}" srcOrd="6" destOrd="0" presId="urn:microsoft.com/office/officeart/2005/8/layout/cycle6"/>
    <dgm:cxn modelId="{ED5D1DC8-1B6D-4A34-9E7D-33811ED85649}" type="presParOf" srcId="{F48110C4-7D65-489B-A701-83D0DC5AE8EC}" destId="{E5E16593-B9D1-4553-AFA1-64DE3FE97FB1}" srcOrd="7" destOrd="0" presId="urn:microsoft.com/office/officeart/2005/8/layout/cycle6"/>
    <dgm:cxn modelId="{075ED98B-21A7-47D6-9095-04237B95C8EC}" type="presParOf" srcId="{F48110C4-7D65-489B-A701-83D0DC5AE8EC}" destId="{9A59F23A-A123-44F1-AA94-485DEFC35334}" srcOrd="8" destOrd="0" presId="urn:microsoft.com/office/officeart/2005/8/layout/cycle6"/>
    <dgm:cxn modelId="{4ECD8D6A-5EDE-42AA-924B-A68B7C1D51C7}" type="presParOf" srcId="{F48110C4-7D65-489B-A701-83D0DC5AE8EC}" destId="{7F0EF2DB-CA93-47D2-9888-0F64D5429897}" srcOrd="9" destOrd="0" presId="urn:microsoft.com/office/officeart/2005/8/layout/cycle6"/>
    <dgm:cxn modelId="{86FE4081-6567-4167-9855-402ECA65C4AC}" type="presParOf" srcId="{F48110C4-7D65-489B-A701-83D0DC5AE8EC}" destId="{0FF3A428-76C3-4980-A906-0D3407BA83D6}" srcOrd="10" destOrd="0" presId="urn:microsoft.com/office/officeart/2005/8/layout/cycle6"/>
    <dgm:cxn modelId="{4AC041CF-C7BF-49D7-AE79-B0C535073F35}" type="presParOf" srcId="{F48110C4-7D65-489B-A701-83D0DC5AE8EC}" destId="{5FED0FA7-BC7F-41E0-8CAF-C97921FF36FC}" srcOrd="11" destOrd="0" presId="urn:microsoft.com/office/officeart/2005/8/layout/cycle6"/>
    <dgm:cxn modelId="{86ABD50E-8C44-461B-87D1-1AED602DE47E}" type="presParOf" srcId="{F48110C4-7D65-489B-A701-83D0DC5AE8EC}" destId="{4D19C0EA-C762-4CE8-913E-EABD0E5484DC}" srcOrd="12" destOrd="0" presId="urn:microsoft.com/office/officeart/2005/8/layout/cycle6"/>
    <dgm:cxn modelId="{A785583F-D040-4DB0-93B3-C34FBABCDE40}" type="presParOf" srcId="{F48110C4-7D65-489B-A701-83D0DC5AE8EC}" destId="{33BAD236-73A4-4723-A81B-B9F75E7D7030}" srcOrd="13" destOrd="0" presId="urn:microsoft.com/office/officeart/2005/8/layout/cycle6"/>
    <dgm:cxn modelId="{FF371412-DFB4-473F-AD52-EA26610A5BA1}" type="presParOf" srcId="{F48110C4-7D65-489B-A701-83D0DC5AE8EC}" destId="{3D6F80AD-6340-4645-9BCC-9CC839122757}" srcOrd="14" destOrd="0" presId="urn:microsoft.com/office/officeart/2005/8/layout/cycle6"/>
    <dgm:cxn modelId="{8B55A0B9-CE7B-4B21-93A8-006205FAB1C2}" type="presParOf" srcId="{F48110C4-7D65-489B-A701-83D0DC5AE8EC}" destId="{528AFA7E-4BAB-480B-A44C-BB6650F77F5D}" srcOrd="15" destOrd="0" presId="urn:microsoft.com/office/officeart/2005/8/layout/cycle6"/>
    <dgm:cxn modelId="{52347E4E-2D2A-458C-B241-355721D39386}" type="presParOf" srcId="{F48110C4-7D65-489B-A701-83D0DC5AE8EC}" destId="{B462E8CE-E696-4236-905E-97099BC38008}" srcOrd="16" destOrd="0" presId="urn:microsoft.com/office/officeart/2005/8/layout/cycle6"/>
    <dgm:cxn modelId="{111C3A2C-9D96-4C5D-9F94-6C75A666D432}" type="presParOf" srcId="{F48110C4-7D65-489B-A701-83D0DC5AE8EC}" destId="{1343E8DF-26C2-49CF-9606-81DA3D5CDE84}" srcOrd="17" destOrd="0" presId="urn:microsoft.com/office/officeart/2005/8/layout/cycle6"/>
    <dgm:cxn modelId="{74E6F29E-599F-4E84-8E06-89870DFE3330}" type="presParOf" srcId="{F48110C4-7D65-489B-A701-83D0DC5AE8EC}" destId="{8A8AB859-16A8-4B90-86A5-A979887A79EE}" srcOrd="18" destOrd="0" presId="urn:microsoft.com/office/officeart/2005/8/layout/cycle6"/>
    <dgm:cxn modelId="{8113408E-2983-4DF6-A3FD-D6432B49C07E}" type="presParOf" srcId="{F48110C4-7D65-489B-A701-83D0DC5AE8EC}" destId="{4317596B-D96B-4E75-AD8B-9CC507AEB411}" srcOrd="19" destOrd="0" presId="urn:microsoft.com/office/officeart/2005/8/layout/cycle6"/>
    <dgm:cxn modelId="{0B9B6AF8-B137-45C5-B53C-C5D6315E1F73}" type="presParOf" srcId="{F48110C4-7D65-489B-A701-83D0DC5AE8EC}" destId="{8B833E3F-CBA5-496B-A09F-2E54FBEE637D}" srcOrd="20" destOrd="0" presId="urn:microsoft.com/office/officeart/2005/8/layout/cycle6"/>
    <dgm:cxn modelId="{F7B135A9-DF18-425B-AFE9-0820BC4D0593}" type="presParOf" srcId="{F48110C4-7D65-489B-A701-83D0DC5AE8EC}" destId="{82B9AEF2-7358-4ACD-B5D1-32CFCBB75FA8}" srcOrd="21" destOrd="0" presId="urn:microsoft.com/office/officeart/2005/8/layout/cycle6"/>
    <dgm:cxn modelId="{A90536E3-CC11-4FB0-9102-234743CD9930}" type="presParOf" srcId="{F48110C4-7D65-489B-A701-83D0DC5AE8EC}" destId="{54C2FF6B-FAAC-4F5C-A4CA-B470EF3C66FC}" srcOrd="22" destOrd="0" presId="urn:microsoft.com/office/officeart/2005/8/layout/cycle6"/>
    <dgm:cxn modelId="{A5DFFA52-BA24-46C0-9890-53F516869EDF}" type="presParOf" srcId="{F48110C4-7D65-489B-A701-83D0DC5AE8EC}" destId="{2409D813-50DC-430D-9DC4-D4F889473FBF}" srcOrd="23" destOrd="0" presId="urn:microsoft.com/office/officeart/2005/8/layout/cycle6"/>
    <dgm:cxn modelId="{508CF65A-A4D7-41F1-9883-465C3B74EB04}" type="presParOf" srcId="{F48110C4-7D65-489B-A701-83D0DC5AE8EC}" destId="{9E632469-FD25-49F8-A3BA-3185905D2710}" srcOrd="24" destOrd="0" presId="urn:microsoft.com/office/officeart/2005/8/layout/cycle6"/>
    <dgm:cxn modelId="{AE5722DA-57CD-4A38-8F30-94DEDEA66C45}" type="presParOf" srcId="{F48110C4-7D65-489B-A701-83D0DC5AE8EC}" destId="{8FEB6B7F-1726-4EE0-BBCF-EC54C40EE5A0}" srcOrd="25" destOrd="0" presId="urn:microsoft.com/office/officeart/2005/8/layout/cycle6"/>
    <dgm:cxn modelId="{DAB34BD0-6F99-4A49-BE6B-D2A9CA1E8461}" type="presParOf" srcId="{F48110C4-7D65-489B-A701-83D0DC5AE8EC}" destId="{E93F9C88-6935-4B51-BEC8-146655D1ACB5}" srcOrd="26"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551E4B-891E-476B-B9FD-2E524A2E8205}">
      <dsp:nvSpPr>
        <dsp:cNvPr id="0" name=""/>
        <dsp:cNvSpPr/>
      </dsp:nvSpPr>
      <dsp:spPr>
        <a:xfrm>
          <a:off x="0" y="258564"/>
          <a:ext cx="1011973" cy="5059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cs-CZ" sz="1300" kern="1200"/>
            <a:t>ECF</a:t>
          </a:r>
        </a:p>
      </dsp:txBody>
      <dsp:txXfrm>
        <a:off x="14820" y="273384"/>
        <a:ext cx="982333" cy="476346"/>
      </dsp:txXfrm>
    </dsp:sp>
    <dsp:sp modelId="{D009C874-46C7-4197-9DED-31EBAB8ECCFC}">
      <dsp:nvSpPr>
        <dsp:cNvPr id="0" name=""/>
        <dsp:cNvSpPr/>
      </dsp:nvSpPr>
      <dsp:spPr>
        <a:xfrm rot="20103511">
          <a:off x="988192" y="362194"/>
          <a:ext cx="509979" cy="83671"/>
        </a:xfrm>
        <a:custGeom>
          <a:avLst/>
          <a:gdLst/>
          <a:ahLst/>
          <a:cxnLst/>
          <a:rect l="0" t="0" r="0" b="0"/>
          <a:pathLst>
            <a:path>
              <a:moveTo>
                <a:pt x="0" y="41835"/>
              </a:moveTo>
              <a:lnTo>
                <a:pt x="509979" y="4183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p>
      </dsp:txBody>
      <dsp:txXfrm>
        <a:off x="1230432" y="391280"/>
        <a:ext cx="25498" cy="25498"/>
      </dsp:txXfrm>
    </dsp:sp>
    <dsp:sp modelId="{C4D39FC6-1033-40E2-8247-0E87D5B18F50}">
      <dsp:nvSpPr>
        <dsp:cNvPr id="0" name=""/>
        <dsp:cNvSpPr/>
      </dsp:nvSpPr>
      <dsp:spPr>
        <a:xfrm>
          <a:off x="1474391" y="43509"/>
          <a:ext cx="2600315" cy="505986"/>
        </a:xfrm>
        <a:prstGeom prst="roundRect">
          <a:avLst>
            <a:gd name="adj" fmla="val 10000"/>
          </a:avLst>
        </a:prstGeom>
        <a:solidFill>
          <a:schemeClr val="bg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cs-CZ" sz="1400" kern="1200"/>
            <a:t>Specifický program pro konkurenceschopnost</a:t>
          </a:r>
        </a:p>
      </dsp:txBody>
      <dsp:txXfrm>
        <a:off x="1489211" y="58329"/>
        <a:ext cx="2570675" cy="476346"/>
      </dsp:txXfrm>
    </dsp:sp>
    <dsp:sp modelId="{C803F903-9371-4297-B7C0-947B0C8902F8}">
      <dsp:nvSpPr>
        <dsp:cNvPr id="0" name=""/>
        <dsp:cNvSpPr/>
      </dsp:nvSpPr>
      <dsp:spPr>
        <a:xfrm rot="2100845">
          <a:off x="960879" y="631700"/>
          <a:ext cx="564605" cy="83671"/>
        </a:xfrm>
        <a:custGeom>
          <a:avLst/>
          <a:gdLst/>
          <a:ahLst/>
          <a:cxnLst/>
          <a:rect l="0" t="0" r="0" b="0"/>
          <a:pathLst>
            <a:path>
              <a:moveTo>
                <a:pt x="0" y="41835"/>
              </a:moveTo>
              <a:lnTo>
                <a:pt x="564605" y="4183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p>
      </dsp:txBody>
      <dsp:txXfrm>
        <a:off x="1229067" y="659421"/>
        <a:ext cx="28230" cy="28230"/>
      </dsp:txXfrm>
    </dsp:sp>
    <dsp:sp modelId="{A2842D82-B252-472A-83C9-A404F17619AB}">
      <dsp:nvSpPr>
        <dsp:cNvPr id="0" name=""/>
        <dsp:cNvSpPr/>
      </dsp:nvSpPr>
      <dsp:spPr>
        <a:xfrm>
          <a:off x="1474391" y="582522"/>
          <a:ext cx="2600315" cy="5059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cs-CZ" sz="1300" kern="1200"/>
            <a:t>Specifický program pro obranný výzkum a inovace</a:t>
          </a:r>
        </a:p>
      </dsp:txBody>
      <dsp:txXfrm>
        <a:off x="1489211" y="597342"/>
        <a:ext cx="2570675" cy="47634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6340D-53D1-41C5-8C0B-08EA9545C9CA}">
      <dsp:nvSpPr>
        <dsp:cNvPr id="0" name=""/>
        <dsp:cNvSpPr/>
      </dsp:nvSpPr>
      <dsp:spPr>
        <a:xfrm>
          <a:off x="2308820" y="-232877"/>
          <a:ext cx="100061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Koncentrace EU dotací</a:t>
          </a:r>
        </a:p>
      </dsp:txBody>
      <dsp:txXfrm>
        <a:off x="2355126" y="-186571"/>
        <a:ext cx="908002" cy="855964"/>
      </dsp:txXfrm>
    </dsp:sp>
    <dsp:sp modelId="{E9DE802E-AA1C-47D2-B31C-D706D532217F}">
      <dsp:nvSpPr>
        <dsp:cNvPr id="0" name=""/>
        <dsp:cNvSpPr/>
      </dsp:nvSpPr>
      <dsp:spPr>
        <a:xfrm>
          <a:off x="958200" y="217940"/>
          <a:ext cx="3593037" cy="3593037"/>
        </a:xfrm>
        <a:custGeom>
          <a:avLst/>
          <a:gdLst/>
          <a:ahLst/>
          <a:cxnLst/>
          <a:rect l="0" t="0" r="0" b="0"/>
          <a:pathLst>
            <a:path>
              <a:moveTo>
                <a:pt x="2353831" y="88630"/>
              </a:moveTo>
              <a:arcTo wR="1796518" hR="1796518" stAng="17284343" swAng="512531"/>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60C3DCEE-F136-4943-9423-34ABC7ECBA28}">
      <dsp:nvSpPr>
        <dsp:cNvPr id="0" name=""/>
        <dsp:cNvSpPr/>
      </dsp:nvSpPr>
      <dsp:spPr>
        <a:xfrm>
          <a:off x="3561974" y="247688"/>
          <a:ext cx="948574" cy="948576"/>
        </a:xfrm>
        <a:prstGeom prst="roundRect">
          <a:avLst/>
        </a:prstGeom>
        <a:solidFill>
          <a:srgbClr val="EAEAEA"/>
        </a:solidFill>
        <a:ln w="25400" cap="flat" cmpd="sng" algn="ctr">
          <a:no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sp:txBody>
      <dsp:txXfrm>
        <a:off x="3608280" y="293994"/>
        <a:ext cx="855962" cy="855964"/>
      </dsp:txXfrm>
    </dsp:sp>
    <dsp:sp modelId="{9CAB07AB-CE92-410C-B67B-5C4D8E902D2A}">
      <dsp:nvSpPr>
        <dsp:cNvPr id="0" name=""/>
        <dsp:cNvSpPr/>
      </dsp:nvSpPr>
      <dsp:spPr>
        <a:xfrm>
          <a:off x="1036007" y="271735"/>
          <a:ext cx="3593037" cy="3593037"/>
        </a:xfrm>
        <a:custGeom>
          <a:avLst/>
          <a:gdLst/>
          <a:ahLst/>
          <a:cxnLst/>
          <a:rect l="0" t="0" r="0" b="0"/>
          <a:pathLst>
            <a:path>
              <a:moveTo>
                <a:pt x="3368045" y="926011"/>
              </a:moveTo>
              <a:arcTo wR="1796518" hR="1796518" stAng="19861011" swAng="317906"/>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892BA54-D813-4A68-B3E7-D96A4C75350B}">
      <dsp:nvSpPr>
        <dsp:cNvPr id="0" name=""/>
        <dsp:cNvSpPr/>
      </dsp:nvSpPr>
      <dsp:spPr>
        <a:xfrm>
          <a:off x="4128191" y="1348138"/>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Řízení samospráv</a:t>
          </a:r>
        </a:p>
      </dsp:txBody>
      <dsp:txXfrm>
        <a:off x="4174497" y="1394444"/>
        <a:ext cx="855962" cy="855964"/>
      </dsp:txXfrm>
    </dsp:sp>
    <dsp:sp modelId="{9A59F23A-A123-44F1-AA94-485DEFC35334}">
      <dsp:nvSpPr>
        <dsp:cNvPr id="0" name=""/>
        <dsp:cNvSpPr/>
      </dsp:nvSpPr>
      <dsp:spPr>
        <a:xfrm>
          <a:off x="1004803" y="399983"/>
          <a:ext cx="3593037" cy="3593037"/>
        </a:xfrm>
        <a:custGeom>
          <a:avLst/>
          <a:gdLst/>
          <a:ahLst/>
          <a:cxnLst/>
          <a:rect l="0" t="0" r="0" b="0"/>
          <a:pathLst>
            <a:path>
              <a:moveTo>
                <a:pt x="3590149" y="1898328"/>
              </a:moveTo>
              <a:arcTo wR="1796518" hR="1796518" stAng="194924" swAng="300059"/>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7F0EF2DB-CA93-47D2-9888-0F64D5429897}">
      <dsp:nvSpPr>
        <dsp:cNvPr id="0" name=""/>
        <dsp:cNvSpPr/>
      </dsp:nvSpPr>
      <dsp:spPr>
        <a:xfrm>
          <a:off x="3914789" y="2455862"/>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Motivace k soukromým investicím</a:t>
          </a:r>
        </a:p>
      </dsp:txBody>
      <dsp:txXfrm>
        <a:off x="3961095" y="2502168"/>
        <a:ext cx="855962" cy="855964"/>
      </dsp:txXfrm>
    </dsp:sp>
    <dsp:sp modelId="{5FED0FA7-BC7F-41E0-8CAF-C97921FF36FC}">
      <dsp:nvSpPr>
        <dsp:cNvPr id="0" name=""/>
        <dsp:cNvSpPr/>
      </dsp:nvSpPr>
      <dsp:spPr>
        <a:xfrm>
          <a:off x="1317298" y="40883"/>
          <a:ext cx="3593037" cy="3593037"/>
        </a:xfrm>
        <a:custGeom>
          <a:avLst/>
          <a:gdLst/>
          <a:ahLst/>
          <a:cxnLst/>
          <a:rect l="0" t="0" r="0" b="0"/>
          <a:pathLst>
            <a:path>
              <a:moveTo>
                <a:pt x="2673572" y="3364401"/>
              </a:moveTo>
              <a:arcTo wR="1796518" hR="1796518" stAng="3646674" swAng="324577"/>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D19C0EA-C762-4CE8-913E-EABD0E5484DC}">
      <dsp:nvSpPr>
        <dsp:cNvPr id="0" name=""/>
        <dsp:cNvSpPr/>
      </dsp:nvSpPr>
      <dsp:spPr>
        <a:xfrm>
          <a:off x="2888993" y="3239752"/>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Chytřejší daně</a:t>
          </a:r>
        </a:p>
      </dsp:txBody>
      <dsp:txXfrm>
        <a:off x="2935299" y="3286058"/>
        <a:ext cx="855962" cy="855964"/>
      </dsp:txXfrm>
    </dsp:sp>
    <dsp:sp modelId="{3D6F80AD-6340-4645-9BCC-9CC839122757}">
      <dsp:nvSpPr>
        <dsp:cNvPr id="0" name=""/>
        <dsp:cNvSpPr/>
      </dsp:nvSpPr>
      <dsp:spPr>
        <a:xfrm>
          <a:off x="969386" y="205873"/>
          <a:ext cx="3593037" cy="3593037"/>
        </a:xfrm>
        <a:custGeom>
          <a:avLst/>
          <a:gdLst/>
          <a:ahLst/>
          <a:cxnLst/>
          <a:rect l="0" t="0" r="0" b="0"/>
          <a:pathLst>
            <a:path>
              <a:moveTo>
                <a:pt x="1918554" y="3588887"/>
              </a:moveTo>
              <a:arcTo wR="1796518" hR="1796518" stAng="5166297" swAng="19796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528AFA7E-4BAB-480B-A44C-BB6650F77F5D}">
      <dsp:nvSpPr>
        <dsp:cNvPr id="0" name=""/>
        <dsp:cNvSpPr/>
      </dsp:nvSpPr>
      <dsp:spPr>
        <a:xfrm>
          <a:off x="1834948" y="324577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Podpora vzdělávání</a:t>
          </a:r>
        </a:p>
      </dsp:txBody>
      <dsp:txXfrm>
        <a:off x="1881254" y="3292084"/>
        <a:ext cx="855962" cy="855964"/>
      </dsp:txXfrm>
    </dsp:sp>
    <dsp:sp modelId="{1343E8DF-26C2-49CF-9606-81DA3D5CDE84}">
      <dsp:nvSpPr>
        <dsp:cNvPr id="0" name=""/>
        <dsp:cNvSpPr/>
      </dsp:nvSpPr>
      <dsp:spPr>
        <a:xfrm>
          <a:off x="805504" y="69590"/>
          <a:ext cx="3593037" cy="3593037"/>
        </a:xfrm>
        <a:custGeom>
          <a:avLst/>
          <a:gdLst/>
          <a:ahLst/>
          <a:cxnLst/>
          <a:rect l="0" t="0" r="0" b="0"/>
          <a:pathLst>
            <a:path>
              <a:moveTo>
                <a:pt x="1027794" y="3420261"/>
              </a:moveTo>
              <a:arcTo wR="1796518" hR="1796518" stAng="6920049" swAng="34234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A8AB859-16A8-4B90-86A5-A979887A79EE}">
      <dsp:nvSpPr>
        <dsp:cNvPr id="0" name=""/>
        <dsp:cNvSpPr/>
      </dsp:nvSpPr>
      <dsp:spPr>
        <a:xfrm>
          <a:off x="803127"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Omezení šedé ekonomiky</a:t>
          </a:r>
        </a:p>
      </dsp:txBody>
      <dsp:txXfrm>
        <a:off x="849433" y="2502168"/>
        <a:ext cx="855962" cy="855964"/>
      </dsp:txXfrm>
    </dsp:sp>
    <dsp:sp modelId="{8B833E3F-CBA5-496B-A09F-2E54FBEE637D}">
      <dsp:nvSpPr>
        <dsp:cNvPr id="0" name=""/>
        <dsp:cNvSpPr/>
      </dsp:nvSpPr>
      <dsp:spPr>
        <a:xfrm>
          <a:off x="1049505" y="291958"/>
          <a:ext cx="3593037" cy="3593037"/>
        </a:xfrm>
        <a:custGeom>
          <a:avLst/>
          <a:gdLst/>
          <a:ahLst/>
          <a:cxnLst/>
          <a:rect l="0" t="0" r="0" b="0"/>
          <a:pathLst>
            <a:path>
              <a:moveTo>
                <a:pt x="37589" y="2162094"/>
              </a:moveTo>
              <a:arcTo wR="1796518" hR="1796518" stAng="10095527" swAng="346763"/>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2B9AEF2-7358-4ACD-B5D1-32CFCBB75FA8}">
      <dsp:nvSpPr>
        <dsp:cNvPr id="0" name=""/>
        <dsp:cNvSpPr/>
      </dsp:nvSpPr>
      <dsp:spPr>
        <a:xfrm>
          <a:off x="581310" y="1323383"/>
          <a:ext cx="953363" cy="949852"/>
        </a:xfrm>
        <a:prstGeom prst="roundRect">
          <a:avLst/>
        </a:prstGeom>
        <a:solidFill>
          <a:srgbClr val="64BCA9"/>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solidFill>
                <a:schemeClr val="bg1">
                  <a:lumMod val="10000"/>
                </a:schemeClr>
              </a:solidFill>
              <a:latin typeface="Fira Sans" panose="020B0503050000020004" pitchFamily="34" charset="0"/>
            </a:rPr>
            <a:t>Stabilizující bytová politika</a:t>
          </a:r>
        </a:p>
      </dsp:txBody>
      <dsp:txXfrm>
        <a:off x="627678" y="1369751"/>
        <a:ext cx="860627" cy="857116"/>
      </dsp:txXfrm>
    </dsp:sp>
    <dsp:sp modelId="{2409D813-50DC-430D-9DC4-D4F889473FBF}">
      <dsp:nvSpPr>
        <dsp:cNvPr id="0" name=""/>
        <dsp:cNvSpPr/>
      </dsp:nvSpPr>
      <dsp:spPr>
        <a:xfrm>
          <a:off x="865624" y="554887"/>
          <a:ext cx="3593037" cy="3593037"/>
        </a:xfrm>
        <a:custGeom>
          <a:avLst/>
          <a:gdLst/>
          <a:ahLst/>
          <a:cxnLst/>
          <a:rect l="0" t="0" r="0" b="0"/>
          <a:pathLst>
            <a:path>
              <a:moveTo>
                <a:pt x="324123" y="767182"/>
              </a:moveTo>
              <a:arcTo wR="1796518" hR="1796518" stAng="12897420" swAng="30043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9E632469-FD25-49F8-A3BA-3185905D2710}">
      <dsp:nvSpPr>
        <dsp:cNvPr id="0" name=""/>
        <dsp:cNvSpPr/>
      </dsp:nvSpPr>
      <dsp:spPr>
        <a:xfrm>
          <a:off x="1186086" y="247684"/>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Lepší regionální plánování</a:t>
          </a:r>
        </a:p>
      </dsp:txBody>
      <dsp:txXfrm>
        <a:off x="1232392" y="293990"/>
        <a:ext cx="855962" cy="855964"/>
      </dsp:txXfrm>
    </dsp:sp>
    <dsp:sp modelId="{E93F9C88-6935-4B51-BEC8-146655D1ACB5}">
      <dsp:nvSpPr>
        <dsp:cNvPr id="0" name=""/>
        <dsp:cNvSpPr/>
      </dsp:nvSpPr>
      <dsp:spPr>
        <a:xfrm>
          <a:off x="1308896" y="133498"/>
          <a:ext cx="3593037" cy="3593037"/>
        </a:xfrm>
        <a:custGeom>
          <a:avLst/>
          <a:gdLst/>
          <a:ahLst/>
          <a:cxnLst/>
          <a:rect l="0" t="0" r="0" b="0"/>
          <a:pathLst>
            <a:path>
              <a:moveTo>
                <a:pt x="827449" y="283777"/>
              </a:moveTo>
              <a:arcTo wR="1796518" hR="1796518" stAng="14241371" swAng="37550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6340D-53D1-41C5-8C0B-08EA9545C9CA}">
      <dsp:nvSpPr>
        <dsp:cNvPr id="0" name=""/>
        <dsp:cNvSpPr/>
      </dsp:nvSpPr>
      <dsp:spPr>
        <a:xfrm>
          <a:off x="2308820" y="-232877"/>
          <a:ext cx="100061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Koncentrace EU dotací</a:t>
          </a:r>
        </a:p>
      </dsp:txBody>
      <dsp:txXfrm>
        <a:off x="2355126" y="-186571"/>
        <a:ext cx="908002" cy="855964"/>
      </dsp:txXfrm>
    </dsp:sp>
    <dsp:sp modelId="{E9DE802E-AA1C-47D2-B31C-D706D532217F}">
      <dsp:nvSpPr>
        <dsp:cNvPr id="0" name=""/>
        <dsp:cNvSpPr/>
      </dsp:nvSpPr>
      <dsp:spPr>
        <a:xfrm>
          <a:off x="958200" y="217940"/>
          <a:ext cx="3593037" cy="3593037"/>
        </a:xfrm>
        <a:custGeom>
          <a:avLst/>
          <a:gdLst/>
          <a:ahLst/>
          <a:cxnLst/>
          <a:rect l="0" t="0" r="0" b="0"/>
          <a:pathLst>
            <a:path>
              <a:moveTo>
                <a:pt x="2353831" y="88630"/>
              </a:moveTo>
              <a:arcTo wR="1796518" hR="1796518" stAng="17284343" swAng="512531"/>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60C3DCEE-F136-4943-9423-34ABC7ECBA28}">
      <dsp:nvSpPr>
        <dsp:cNvPr id="0" name=""/>
        <dsp:cNvSpPr/>
      </dsp:nvSpPr>
      <dsp:spPr>
        <a:xfrm>
          <a:off x="3561974" y="247688"/>
          <a:ext cx="948574" cy="948576"/>
        </a:xfrm>
        <a:prstGeom prst="roundRect">
          <a:avLst/>
        </a:prstGeom>
        <a:solidFill>
          <a:srgbClr val="EAEAEA"/>
        </a:solidFill>
        <a:ln w="25400" cap="flat" cmpd="sng" algn="ctr">
          <a:no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sp:txBody>
      <dsp:txXfrm>
        <a:off x="3608280" y="293994"/>
        <a:ext cx="855962" cy="855964"/>
      </dsp:txXfrm>
    </dsp:sp>
    <dsp:sp modelId="{9CAB07AB-CE92-410C-B67B-5C4D8E902D2A}">
      <dsp:nvSpPr>
        <dsp:cNvPr id="0" name=""/>
        <dsp:cNvSpPr/>
      </dsp:nvSpPr>
      <dsp:spPr>
        <a:xfrm>
          <a:off x="1036007" y="271735"/>
          <a:ext cx="3593037" cy="3593037"/>
        </a:xfrm>
        <a:custGeom>
          <a:avLst/>
          <a:gdLst/>
          <a:ahLst/>
          <a:cxnLst/>
          <a:rect l="0" t="0" r="0" b="0"/>
          <a:pathLst>
            <a:path>
              <a:moveTo>
                <a:pt x="3368045" y="926011"/>
              </a:moveTo>
              <a:arcTo wR="1796518" hR="1796518" stAng="19861011" swAng="317906"/>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892BA54-D813-4A68-B3E7-D96A4C75350B}">
      <dsp:nvSpPr>
        <dsp:cNvPr id="0" name=""/>
        <dsp:cNvSpPr/>
      </dsp:nvSpPr>
      <dsp:spPr>
        <a:xfrm>
          <a:off x="4128191" y="1348138"/>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Řízení samospráv</a:t>
          </a:r>
        </a:p>
      </dsp:txBody>
      <dsp:txXfrm>
        <a:off x="4174497" y="1394444"/>
        <a:ext cx="855962" cy="855964"/>
      </dsp:txXfrm>
    </dsp:sp>
    <dsp:sp modelId="{9A59F23A-A123-44F1-AA94-485DEFC35334}">
      <dsp:nvSpPr>
        <dsp:cNvPr id="0" name=""/>
        <dsp:cNvSpPr/>
      </dsp:nvSpPr>
      <dsp:spPr>
        <a:xfrm>
          <a:off x="1004803" y="399983"/>
          <a:ext cx="3593037" cy="3593037"/>
        </a:xfrm>
        <a:custGeom>
          <a:avLst/>
          <a:gdLst/>
          <a:ahLst/>
          <a:cxnLst/>
          <a:rect l="0" t="0" r="0" b="0"/>
          <a:pathLst>
            <a:path>
              <a:moveTo>
                <a:pt x="3590149" y="1898328"/>
              </a:moveTo>
              <a:arcTo wR="1796518" hR="1796518" stAng="194924" swAng="300059"/>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7F0EF2DB-CA93-47D2-9888-0F64D5429897}">
      <dsp:nvSpPr>
        <dsp:cNvPr id="0" name=""/>
        <dsp:cNvSpPr/>
      </dsp:nvSpPr>
      <dsp:spPr>
        <a:xfrm>
          <a:off x="3914789" y="2455862"/>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Motivace k soukromým investicím</a:t>
          </a:r>
        </a:p>
      </dsp:txBody>
      <dsp:txXfrm>
        <a:off x="3961095" y="2502168"/>
        <a:ext cx="855962" cy="855964"/>
      </dsp:txXfrm>
    </dsp:sp>
    <dsp:sp modelId="{5FED0FA7-BC7F-41E0-8CAF-C97921FF36FC}">
      <dsp:nvSpPr>
        <dsp:cNvPr id="0" name=""/>
        <dsp:cNvSpPr/>
      </dsp:nvSpPr>
      <dsp:spPr>
        <a:xfrm>
          <a:off x="1317298" y="40883"/>
          <a:ext cx="3593037" cy="3593037"/>
        </a:xfrm>
        <a:custGeom>
          <a:avLst/>
          <a:gdLst/>
          <a:ahLst/>
          <a:cxnLst/>
          <a:rect l="0" t="0" r="0" b="0"/>
          <a:pathLst>
            <a:path>
              <a:moveTo>
                <a:pt x="2673572" y="3364401"/>
              </a:moveTo>
              <a:arcTo wR="1796518" hR="1796518" stAng="3646674" swAng="324577"/>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D19C0EA-C762-4CE8-913E-EABD0E5484DC}">
      <dsp:nvSpPr>
        <dsp:cNvPr id="0" name=""/>
        <dsp:cNvSpPr/>
      </dsp:nvSpPr>
      <dsp:spPr>
        <a:xfrm>
          <a:off x="2888993" y="3239752"/>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Chytřejší daně</a:t>
          </a:r>
        </a:p>
      </dsp:txBody>
      <dsp:txXfrm>
        <a:off x="2935299" y="3286058"/>
        <a:ext cx="855962" cy="855964"/>
      </dsp:txXfrm>
    </dsp:sp>
    <dsp:sp modelId="{3D6F80AD-6340-4645-9BCC-9CC839122757}">
      <dsp:nvSpPr>
        <dsp:cNvPr id="0" name=""/>
        <dsp:cNvSpPr/>
      </dsp:nvSpPr>
      <dsp:spPr>
        <a:xfrm>
          <a:off x="969386" y="205873"/>
          <a:ext cx="3593037" cy="3593037"/>
        </a:xfrm>
        <a:custGeom>
          <a:avLst/>
          <a:gdLst/>
          <a:ahLst/>
          <a:cxnLst/>
          <a:rect l="0" t="0" r="0" b="0"/>
          <a:pathLst>
            <a:path>
              <a:moveTo>
                <a:pt x="1918554" y="3588887"/>
              </a:moveTo>
              <a:arcTo wR="1796518" hR="1796518" stAng="5166297" swAng="19796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528AFA7E-4BAB-480B-A44C-BB6650F77F5D}">
      <dsp:nvSpPr>
        <dsp:cNvPr id="0" name=""/>
        <dsp:cNvSpPr/>
      </dsp:nvSpPr>
      <dsp:spPr>
        <a:xfrm>
          <a:off x="1834948" y="324577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Podpora vzdělávání</a:t>
          </a:r>
        </a:p>
      </dsp:txBody>
      <dsp:txXfrm>
        <a:off x="1881254" y="3292084"/>
        <a:ext cx="855962" cy="855964"/>
      </dsp:txXfrm>
    </dsp:sp>
    <dsp:sp modelId="{1343E8DF-26C2-49CF-9606-81DA3D5CDE84}">
      <dsp:nvSpPr>
        <dsp:cNvPr id="0" name=""/>
        <dsp:cNvSpPr/>
      </dsp:nvSpPr>
      <dsp:spPr>
        <a:xfrm>
          <a:off x="805504" y="69590"/>
          <a:ext cx="3593037" cy="3593037"/>
        </a:xfrm>
        <a:custGeom>
          <a:avLst/>
          <a:gdLst/>
          <a:ahLst/>
          <a:cxnLst/>
          <a:rect l="0" t="0" r="0" b="0"/>
          <a:pathLst>
            <a:path>
              <a:moveTo>
                <a:pt x="1027794" y="3420261"/>
              </a:moveTo>
              <a:arcTo wR="1796518" hR="1796518" stAng="6920049" swAng="34234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A8AB859-16A8-4B90-86A5-A979887A79EE}">
      <dsp:nvSpPr>
        <dsp:cNvPr id="0" name=""/>
        <dsp:cNvSpPr/>
      </dsp:nvSpPr>
      <dsp:spPr>
        <a:xfrm>
          <a:off x="803127"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Omezení šedé ekonomiky</a:t>
          </a:r>
        </a:p>
      </dsp:txBody>
      <dsp:txXfrm>
        <a:off x="849433" y="2502168"/>
        <a:ext cx="855962" cy="855964"/>
      </dsp:txXfrm>
    </dsp:sp>
    <dsp:sp modelId="{8B833E3F-CBA5-496B-A09F-2E54FBEE637D}">
      <dsp:nvSpPr>
        <dsp:cNvPr id="0" name=""/>
        <dsp:cNvSpPr/>
      </dsp:nvSpPr>
      <dsp:spPr>
        <a:xfrm>
          <a:off x="1049505" y="291958"/>
          <a:ext cx="3593037" cy="3593037"/>
        </a:xfrm>
        <a:custGeom>
          <a:avLst/>
          <a:gdLst/>
          <a:ahLst/>
          <a:cxnLst/>
          <a:rect l="0" t="0" r="0" b="0"/>
          <a:pathLst>
            <a:path>
              <a:moveTo>
                <a:pt x="37589" y="2162094"/>
              </a:moveTo>
              <a:arcTo wR="1796518" hR="1796518" stAng="10095527" swAng="346763"/>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2B9AEF2-7358-4ACD-B5D1-32CFCBB75FA8}">
      <dsp:nvSpPr>
        <dsp:cNvPr id="0" name=""/>
        <dsp:cNvSpPr/>
      </dsp:nvSpPr>
      <dsp:spPr>
        <a:xfrm>
          <a:off x="581310" y="1323383"/>
          <a:ext cx="953363" cy="949852"/>
        </a:xfrm>
        <a:prstGeom prst="roundRect">
          <a:avLst/>
        </a:prstGeom>
        <a:solidFill>
          <a:schemeClr val="accent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Stabilizující bytová politika</a:t>
          </a:r>
        </a:p>
      </dsp:txBody>
      <dsp:txXfrm>
        <a:off x="627678" y="1369751"/>
        <a:ext cx="860627" cy="857116"/>
      </dsp:txXfrm>
    </dsp:sp>
    <dsp:sp modelId="{2409D813-50DC-430D-9DC4-D4F889473FBF}">
      <dsp:nvSpPr>
        <dsp:cNvPr id="0" name=""/>
        <dsp:cNvSpPr/>
      </dsp:nvSpPr>
      <dsp:spPr>
        <a:xfrm>
          <a:off x="865624" y="554887"/>
          <a:ext cx="3593037" cy="3593037"/>
        </a:xfrm>
        <a:custGeom>
          <a:avLst/>
          <a:gdLst/>
          <a:ahLst/>
          <a:cxnLst/>
          <a:rect l="0" t="0" r="0" b="0"/>
          <a:pathLst>
            <a:path>
              <a:moveTo>
                <a:pt x="324123" y="767182"/>
              </a:moveTo>
              <a:arcTo wR="1796518" hR="1796518" stAng="12897420" swAng="30043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9E632469-FD25-49F8-A3BA-3185905D2710}">
      <dsp:nvSpPr>
        <dsp:cNvPr id="0" name=""/>
        <dsp:cNvSpPr/>
      </dsp:nvSpPr>
      <dsp:spPr>
        <a:xfrm>
          <a:off x="1186086" y="247684"/>
          <a:ext cx="948574" cy="948576"/>
        </a:xfrm>
        <a:prstGeom prst="roundRect">
          <a:avLst/>
        </a:prstGeom>
        <a:solidFill>
          <a:srgbClr val="64BCA9"/>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Lepší regionální plánování</a:t>
          </a:r>
        </a:p>
      </dsp:txBody>
      <dsp:txXfrm>
        <a:off x="1232392" y="293990"/>
        <a:ext cx="855962" cy="855964"/>
      </dsp:txXfrm>
    </dsp:sp>
    <dsp:sp modelId="{E93F9C88-6935-4B51-BEC8-146655D1ACB5}">
      <dsp:nvSpPr>
        <dsp:cNvPr id="0" name=""/>
        <dsp:cNvSpPr/>
      </dsp:nvSpPr>
      <dsp:spPr>
        <a:xfrm>
          <a:off x="1308896" y="133498"/>
          <a:ext cx="3593037" cy="3593037"/>
        </a:xfrm>
        <a:custGeom>
          <a:avLst/>
          <a:gdLst/>
          <a:ahLst/>
          <a:cxnLst/>
          <a:rect l="0" t="0" r="0" b="0"/>
          <a:pathLst>
            <a:path>
              <a:moveTo>
                <a:pt x="827449" y="283777"/>
              </a:moveTo>
              <a:arcTo wR="1796518" hR="1796518" stAng="14241371" swAng="37550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551E4B-891E-476B-B9FD-2E524A2E8205}">
      <dsp:nvSpPr>
        <dsp:cNvPr id="0" name=""/>
        <dsp:cNvSpPr/>
      </dsp:nvSpPr>
      <dsp:spPr>
        <a:xfrm>
          <a:off x="0" y="258564"/>
          <a:ext cx="1011973" cy="5059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cs-CZ" sz="1500" kern="1200"/>
            <a:t>ECF</a:t>
          </a:r>
        </a:p>
      </dsp:txBody>
      <dsp:txXfrm>
        <a:off x="14820" y="273384"/>
        <a:ext cx="982333" cy="476346"/>
      </dsp:txXfrm>
    </dsp:sp>
    <dsp:sp modelId="{D009C874-46C7-4197-9DED-31EBAB8ECCFC}">
      <dsp:nvSpPr>
        <dsp:cNvPr id="0" name=""/>
        <dsp:cNvSpPr/>
      </dsp:nvSpPr>
      <dsp:spPr>
        <a:xfrm rot="20103511">
          <a:off x="988192" y="362194"/>
          <a:ext cx="509979" cy="83671"/>
        </a:xfrm>
        <a:custGeom>
          <a:avLst/>
          <a:gdLst/>
          <a:ahLst/>
          <a:cxnLst/>
          <a:rect l="0" t="0" r="0" b="0"/>
          <a:pathLst>
            <a:path>
              <a:moveTo>
                <a:pt x="0" y="41835"/>
              </a:moveTo>
              <a:lnTo>
                <a:pt x="509979" y="4183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p>
      </dsp:txBody>
      <dsp:txXfrm>
        <a:off x="1230432" y="391280"/>
        <a:ext cx="25498" cy="25498"/>
      </dsp:txXfrm>
    </dsp:sp>
    <dsp:sp modelId="{C4D39FC6-1033-40E2-8247-0E87D5B18F50}">
      <dsp:nvSpPr>
        <dsp:cNvPr id="0" name=""/>
        <dsp:cNvSpPr/>
      </dsp:nvSpPr>
      <dsp:spPr>
        <a:xfrm>
          <a:off x="1474391" y="43509"/>
          <a:ext cx="2600315" cy="505986"/>
        </a:xfrm>
        <a:prstGeom prst="roundRect">
          <a:avLst>
            <a:gd name="adj" fmla="val 10000"/>
          </a:avLst>
        </a:prstGeom>
        <a:solidFill>
          <a:schemeClr val="bg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cs-CZ" sz="1500" kern="1200"/>
        </a:p>
      </dsp:txBody>
      <dsp:txXfrm>
        <a:off x="1489211" y="58329"/>
        <a:ext cx="2570675" cy="476346"/>
      </dsp:txXfrm>
    </dsp:sp>
    <dsp:sp modelId="{C803F903-9371-4297-B7C0-947B0C8902F8}">
      <dsp:nvSpPr>
        <dsp:cNvPr id="0" name=""/>
        <dsp:cNvSpPr/>
      </dsp:nvSpPr>
      <dsp:spPr>
        <a:xfrm rot="2100845">
          <a:off x="960879" y="631700"/>
          <a:ext cx="564605" cy="83671"/>
        </a:xfrm>
        <a:custGeom>
          <a:avLst/>
          <a:gdLst/>
          <a:ahLst/>
          <a:cxnLst/>
          <a:rect l="0" t="0" r="0" b="0"/>
          <a:pathLst>
            <a:path>
              <a:moveTo>
                <a:pt x="0" y="41835"/>
              </a:moveTo>
              <a:lnTo>
                <a:pt x="564605" y="4183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p>
      </dsp:txBody>
      <dsp:txXfrm>
        <a:off x="1229067" y="659421"/>
        <a:ext cx="28230" cy="28230"/>
      </dsp:txXfrm>
    </dsp:sp>
    <dsp:sp modelId="{A2842D82-B252-472A-83C9-A404F17619AB}">
      <dsp:nvSpPr>
        <dsp:cNvPr id="0" name=""/>
        <dsp:cNvSpPr/>
      </dsp:nvSpPr>
      <dsp:spPr>
        <a:xfrm>
          <a:off x="1474391" y="582522"/>
          <a:ext cx="2600315" cy="5059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cs-CZ" sz="1500" kern="1200"/>
            <a:t>Specifický program pro obranný výzkum a inovace</a:t>
          </a:r>
        </a:p>
      </dsp:txBody>
      <dsp:txXfrm>
        <a:off x="1489211" y="597342"/>
        <a:ext cx="2570675" cy="4763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6340D-53D1-41C5-8C0B-08EA9545C9CA}">
      <dsp:nvSpPr>
        <dsp:cNvPr id="0" name=""/>
        <dsp:cNvSpPr/>
      </dsp:nvSpPr>
      <dsp:spPr>
        <a:xfrm>
          <a:off x="2308820" y="-232877"/>
          <a:ext cx="1000614" cy="948576"/>
        </a:xfrm>
        <a:prstGeom prst="roundRect">
          <a:avLst/>
        </a:prstGeom>
        <a:solidFill>
          <a:srgbClr val="64BCA9"/>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solidFill>
                <a:schemeClr val="bg1">
                  <a:lumMod val="10000"/>
                </a:schemeClr>
              </a:solidFill>
              <a:latin typeface="Fira Sans" panose="020B0503050000020004" pitchFamily="34" charset="0"/>
            </a:rPr>
            <a:t>Koncentrace EU dotací</a:t>
          </a:r>
        </a:p>
      </dsp:txBody>
      <dsp:txXfrm>
        <a:off x="2355126" y="-186571"/>
        <a:ext cx="908002" cy="855964"/>
      </dsp:txXfrm>
    </dsp:sp>
    <dsp:sp modelId="{E9DE802E-AA1C-47D2-B31C-D706D532217F}">
      <dsp:nvSpPr>
        <dsp:cNvPr id="0" name=""/>
        <dsp:cNvSpPr/>
      </dsp:nvSpPr>
      <dsp:spPr>
        <a:xfrm>
          <a:off x="958200" y="217940"/>
          <a:ext cx="3593037" cy="3593037"/>
        </a:xfrm>
        <a:custGeom>
          <a:avLst/>
          <a:gdLst/>
          <a:ahLst/>
          <a:cxnLst/>
          <a:rect l="0" t="0" r="0" b="0"/>
          <a:pathLst>
            <a:path>
              <a:moveTo>
                <a:pt x="2353831" y="88630"/>
              </a:moveTo>
              <a:arcTo wR="1796518" hR="1796518" stAng="17284343" swAng="512531"/>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60C3DCEE-F136-4943-9423-34ABC7ECBA28}">
      <dsp:nvSpPr>
        <dsp:cNvPr id="0" name=""/>
        <dsp:cNvSpPr/>
      </dsp:nvSpPr>
      <dsp:spPr>
        <a:xfrm>
          <a:off x="3561974" y="247688"/>
          <a:ext cx="948574" cy="948576"/>
        </a:xfrm>
        <a:prstGeom prst="roundRect">
          <a:avLst/>
        </a:prstGeom>
        <a:solidFill>
          <a:schemeClr val="tx1">
            <a:lumMod val="10000"/>
            <a:lumOff val="90000"/>
          </a:schemeClr>
        </a:solidFill>
        <a:ln w="25400" cap="flat" cmpd="sng" algn="ctr">
          <a:no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cs-CZ" sz="1000" kern="1200">
              <a:solidFill>
                <a:srgbClr val="F59AFF">
                  <a:lumMod val="10000"/>
                </a:srgbClr>
              </a:solidFill>
              <a:latin typeface="Fira Sans" panose="020B0503050000020004" pitchFamily="34" charset="0"/>
              <a:ea typeface="+mn-ea"/>
              <a:cs typeface="+mn-cs"/>
            </a:rPr>
            <a:t>Reforma RUD</a:t>
          </a:r>
        </a:p>
      </dsp:txBody>
      <dsp:txXfrm>
        <a:off x="3608280" y="293994"/>
        <a:ext cx="855962" cy="855964"/>
      </dsp:txXfrm>
    </dsp:sp>
    <dsp:sp modelId="{9CAB07AB-CE92-410C-B67B-5C4D8E902D2A}">
      <dsp:nvSpPr>
        <dsp:cNvPr id="0" name=""/>
        <dsp:cNvSpPr/>
      </dsp:nvSpPr>
      <dsp:spPr>
        <a:xfrm>
          <a:off x="1036007" y="271735"/>
          <a:ext cx="3593037" cy="3593037"/>
        </a:xfrm>
        <a:custGeom>
          <a:avLst/>
          <a:gdLst/>
          <a:ahLst/>
          <a:cxnLst/>
          <a:rect l="0" t="0" r="0" b="0"/>
          <a:pathLst>
            <a:path>
              <a:moveTo>
                <a:pt x="3368045" y="926011"/>
              </a:moveTo>
              <a:arcTo wR="1796518" hR="1796518" stAng="19861011" swAng="317906"/>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892BA54-D813-4A68-B3E7-D96A4C75350B}">
      <dsp:nvSpPr>
        <dsp:cNvPr id="0" name=""/>
        <dsp:cNvSpPr/>
      </dsp:nvSpPr>
      <dsp:spPr>
        <a:xfrm>
          <a:off x="4128191" y="134813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Řízení samospráv</a:t>
          </a:r>
        </a:p>
      </dsp:txBody>
      <dsp:txXfrm>
        <a:off x="4174497" y="1394444"/>
        <a:ext cx="855962" cy="855964"/>
      </dsp:txXfrm>
    </dsp:sp>
    <dsp:sp modelId="{9A59F23A-A123-44F1-AA94-485DEFC35334}">
      <dsp:nvSpPr>
        <dsp:cNvPr id="0" name=""/>
        <dsp:cNvSpPr/>
      </dsp:nvSpPr>
      <dsp:spPr>
        <a:xfrm>
          <a:off x="1004803" y="399983"/>
          <a:ext cx="3593037" cy="3593037"/>
        </a:xfrm>
        <a:custGeom>
          <a:avLst/>
          <a:gdLst/>
          <a:ahLst/>
          <a:cxnLst/>
          <a:rect l="0" t="0" r="0" b="0"/>
          <a:pathLst>
            <a:path>
              <a:moveTo>
                <a:pt x="3590149" y="1898328"/>
              </a:moveTo>
              <a:arcTo wR="1796518" hR="1796518" stAng="194924" swAng="300059"/>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7F0EF2DB-CA93-47D2-9888-0F64D5429897}">
      <dsp:nvSpPr>
        <dsp:cNvPr id="0" name=""/>
        <dsp:cNvSpPr/>
      </dsp:nvSpPr>
      <dsp:spPr>
        <a:xfrm>
          <a:off x="3914789"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Motivace k soukromým investicím</a:t>
          </a:r>
        </a:p>
      </dsp:txBody>
      <dsp:txXfrm>
        <a:off x="3961095" y="2502168"/>
        <a:ext cx="855962" cy="855964"/>
      </dsp:txXfrm>
    </dsp:sp>
    <dsp:sp modelId="{5FED0FA7-BC7F-41E0-8CAF-C97921FF36FC}">
      <dsp:nvSpPr>
        <dsp:cNvPr id="0" name=""/>
        <dsp:cNvSpPr/>
      </dsp:nvSpPr>
      <dsp:spPr>
        <a:xfrm>
          <a:off x="1317298" y="40883"/>
          <a:ext cx="3593037" cy="3593037"/>
        </a:xfrm>
        <a:custGeom>
          <a:avLst/>
          <a:gdLst/>
          <a:ahLst/>
          <a:cxnLst/>
          <a:rect l="0" t="0" r="0" b="0"/>
          <a:pathLst>
            <a:path>
              <a:moveTo>
                <a:pt x="2673572" y="3364401"/>
              </a:moveTo>
              <a:arcTo wR="1796518" hR="1796518" stAng="3646674" swAng="324577"/>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D19C0EA-C762-4CE8-913E-EABD0E5484DC}">
      <dsp:nvSpPr>
        <dsp:cNvPr id="0" name=""/>
        <dsp:cNvSpPr/>
      </dsp:nvSpPr>
      <dsp:spPr>
        <a:xfrm>
          <a:off x="2888993" y="323975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Chytřejší daně</a:t>
          </a:r>
        </a:p>
      </dsp:txBody>
      <dsp:txXfrm>
        <a:off x="2935299" y="3286058"/>
        <a:ext cx="855962" cy="855964"/>
      </dsp:txXfrm>
    </dsp:sp>
    <dsp:sp modelId="{3D6F80AD-6340-4645-9BCC-9CC839122757}">
      <dsp:nvSpPr>
        <dsp:cNvPr id="0" name=""/>
        <dsp:cNvSpPr/>
      </dsp:nvSpPr>
      <dsp:spPr>
        <a:xfrm>
          <a:off x="969386" y="205873"/>
          <a:ext cx="3593037" cy="3593037"/>
        </a:xfrm>
        <a:custGeom>
          <a:avLst/>
          <a:gdLst/>
          <a:ahLst/>
          <a:cxnLst/>
          <a:rect l="0" t="0" r="0" b="0"/>
          <a:pathLst>
            <a:path>
              <a:moveTo>
                <a:pt x="1918554" y="3588887"/>
              </a:moveTo>
              <a:arcTo wR="1796518" hR="1796518" stAng="5166297" swAng="19796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528AFA7E-4BAB-480B-A44C-BB6650F77F5D}">
      <dsp:nvSpPr>
        <dsp:cNvPr id="0" name=""/>
        <dsp:cNvSpPr/>
      </dsp:nvSpPr>
      <dsp:spPr>
        <a:xfrm>
          <a:off x="1834948" y="324577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Podpora vzdělávání</a:t>
          </a:r>
        </a:p>
      </dsp:txBody>
      <dsp:txXfrm>
        <a:off x="1881254" y="3292084"/>
        <a:ext cx="855962" cy="855964"/>
      </dsp:txXfrm>
    </dsp:sp>
    <dsp:sp modelId="{1343E8DF-26C2-49CF-9606-81DA3D5CDE84}">
      <dsp:nvSpPr>
        <dsp:cNvPr id="0" name=""/>
        <dsp:cNvSpPr/>
      </dsp:nvSpPr>
      <dsp:spPr>
        <a:xfrm>
          <a:off x="805504" y="69590"/>
          <a:ext cx="3593037" cy="3593037"/>
        </a:xfrm>
        <a:custGeom>
          <a:avLst/>
          <a:gdLst/>
          <a:ahLst/>
          <a:cxnLst/>
          <a:rect l="0" t="0" r="0" b="0"/>
          <a:pathLst>
            <a:path>
              <a:moveTo>
                <a:pt x="1027794" y="3420261"/>
              </a:moveTo>
              <a:arcTo wR="1796518" hR="1796518" stAng="6920049" swAng="34234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A8AB859-16A8-4B90-86A5-A979887A79EE}">
      <dsp:nvSpPr>
        <dsp:cNvPr id="0" name=""/>
        <dsp:cNvSpPr/>
      </dsp:nvSpPr>
      <dsp:spPr>
        <a:xfrm>
          <a:off x="803127"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Omezení šedé ekonomiky</a:t>
          </a:r>
        </a:p>
      </dsp:txBody>
      <dsp:txXfrm>
        <a:off x="849433" y="2502168"/>
        <a:ext cx="855962" cy="855964"/>
      </dsp:txXfrm>
    </dsp:sp>
    <dsp:sp modelId="{8B833E3F-CBA5-496B-A09F-2E54FBEE637D}">
      <dsp:nvSpPr>
        <dsp:cNvPr id="0" name=""/>
        <dsp:cNvSpPr/>
      </dsp:nvSpPr>
      <dsp:spPr>
        <a:xfrm>
          <a:off x="1049505" y="291958"/>
          <a:ext cx="3593037" cy="3593037"/>
        </a:xfrm>
        <a:custGeom>
          <a:avLst/>
          <a:gdLst/>
          <a:ahLst/>
          <a:cxnLst/>
          <a:rect l="0" t="0" r="0" b="0"/>
          <a:pathLst>
            <a:path>
              <a:moveTo>
                <a:pt x="37589" y="2162094"/>
              </a:moveTo>
              <a:arcTo wR="1796518" hR="1796518" stAng="10095527" swAng="346763"/>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2B9AEF2-7358-4ACD-B5D1-32CFCBB75FA8}">
      <dsp:nvSpPr>
        <dsp:cNvPr id="0" name=""/>
        <dsp:cNvSpPr/>
      </dsp:nvSpPr>
      <dsp:spPr>
        <a:xfrm>
          <a:off x="581310" y="1323383"/>
          <a:ext cx="953363" cy="949852"/>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Stabilizující bytová politika</a:t>
          </a:r>
        </a:p>
      </dsp:txBody>
      <dsp:txXfrm>
        <a:off x="627678" y="1369751"/>
        <a:ext cx="860627" cy="857116"/>
      </dsp:txXfrm>
    </dsp:sp>
    <dsp:sp modelId="{2409D813-50DC-430D-9DC4-D4F889473FBF}">
      <dsp:nvSpPr>
        <dsp:cNvPr id="0" name=""/>
        <dsp:cNvSpPr/>
      </dsp:nvSpPr>
      <dsp:spPr>
        <a:xfrm>
          <a:off x="865624" y="554887"/>
          <a:ext cx="3593037" cy="3593037"/>
        </a:xfrm>
        <a:custGeom>
          <a:avLst/>
          <a:gdLst/>
          <a:ahLst/>
          <a:cxnLst/>
          <a:rect l="0" t="0" r="0" b="0"/>
          <a:pathLst>
            <a:path>
              <a:moveTo>
                <a:pt x="324123" y="767182"/>
              </a:moveTo>
              <a:arcTo wR="1796518" hR="1796518" stAng="12897420" swAng="30043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9E632469-FD25-49F8-A3BA-3185905D2710}">
      <dsp:nvSpPr>
        <dsp:cNvPr id="0" name=""/>
        <dsp:cNvSpPr/>
      </dsp:nvSpPr>
      <dsp:spPr>
        <a:xfrm>
          <a:off x="1186086" y="247684"/>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Lepší regionální plánování</a:t>
          </a:r>
        </a:p>
      </dsp:txBody>
      <dsp:txXfrm>
        <a:off x="1232392" y="293990"/>
        <a:ext cx="855962" cy="855964"/>
      </dsp:txXfrm>
    </dsp:sp>
    <dsp:sp modelId="{E93F9C88-6935-4B51-BEC8-146655D1ACB5}">
      <dsp:nvSpPr>
        <dsp:cNvPr id="0" name=""/>
        <dsp:cNvSpPr/>
      </dsp:nvSpPr>
      <dsp:spPr>
        <a:xfrm>
          <a:off x="1308896" y="133498"/>
          <a:ext cx="3593037" cy="3593037"/>
        </a:xfrm>
        <a:custGeom>
          <a:avLst/>
          <a:gdLst/>
          <a:ahLst/>
          <a:cxnLst/>
          <a:rect l="0" t="0" r="0" b="0"/>
          <a:pathLst>
            <a:path>
              <a:moveTo>
                <a:pt x="827449" y="283777"/>
              </a:moveTo>
              <a:arcTo wR="1796518" hR="1796518" stAng="14241371" swAng="37550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6340D-53D1-41C5-8C0B-08EA9545C9CA}">
      <dsp:nvSpPr>
        <dsp:cNvPr id="0" name=""/>
        <dsp:cNvSpPr/>
      </dsp:nvSpPr>
      <dsp:spPr>
        <a:xfrm>
          <a:off x="2308820" y="-232877"/>
          <a:ext cx="100061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Koncentrace EU dotací</a:t>
          </a:r>
        </a:p>
      </dsp:txBody>
      <dsp:txXfrm>
        <a:off x="2355126" y="-186571"/>
        <a:ext cx="908002" cy="855964"/>
      </dsp:txXfrm>
    </dsp:sp>
    <dsp:sp modelId="{E9DE802E-AA1C-47D2-B31C-D706D532217F}">
      <dsp:nvSpPr>
        <dsp:cNvPr id="0" name=""/>
        <dsp:cNvSpPr/>
      </dsp:nvSpPr>
      <dsp:spPr>
        <a:xfrm>
          <a:off x="958200" y="217940"/>
          <a:ext cx="3593037" cy="3593037"/>
        </a:xfrm>
        <a:custGeom>
          <a:avLst/>
          <a:gdLst/>
          <a:ahLst/>
          <a:cxnLst/>
          <a:rect l="0" t="0" r="0" b="0"/>
          <a:pathLst>
            <a:path>
              <a:moveTo>
                <a:pt x="2353831" y="88630"/>
              </a:moveTo>
              <a:arcTo wR="1796518" hR="1796518" stAng="17284343" swAng="512531"/>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60C3DCEE-F136-4943-9423-34ABC7ECBA28}">
      <dsp:nvSpPr>
        <dsp:cNvPr id="0" name=""/>
        <dsp:cNvSpPr/>
      </dsp:nvSpPr>
      <dsp:spPr>
        <a:xfrm>
          <a:off x="3561974" y="247688"/>
          <a:ext cx="948574" cy="948576"/>
        </a:xfrm>
        <a:prstGeom prst="roundRect">
          <a:avLst/>
        </a:prstGeom>
        <a:solidFill>
          <a:srgbClr val="64BCA9"/>
        </a:solidFill>
        <a:ln w="25400" cap="flat" cmpd="sng" algn="ctr">
          <a:no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cs-CZ" sz="1000" b="1" kern="1200">
              <a:solidFill>
                <a:srgbClr val="F59AFF">
                  <a:lumMod val="10000"/>
                </a:srgbClr>
              </a:solidFill>
              <a:latin typeface="Fira Sans" panose="020B0503050000020004" pitchFamily="34" charset="0"/>
              <a:ea typeface="+mn-ea"/>
              <a:cs typeface="+mn-cs"/>
            </a:rPr>
            <a:t>Reforma RUD</a:t>
          </a:r>
        </a:p>
      </dsp:txBody>
      <dsp:txXfrm>
        <a:off x="3608280" y="293994"/>
        <a:ext cx="855962" cy="855964"/>
      </dsp:txXfrm>
    </dsp:sp>
    <dsp:sp modelId="{9CAB07AB-CE92-410C-B67B-5C4D8E902D2A}">
      <dsp:nvSpPr>
        <dsp:cNvPr id="0" name=""/>
        <dsp:cNvSpPr/>
      </dsp:nvSpPr>
      <dsp:spPr>
        <a:xfrm>
          <a:off x="1036007" y="271735"/>
          <a:ext cx="3593037" cy="3593037"/>
        </a:xfrm>
        <a:custGeom>
          <a:avLst/>
          <a:gdLst/>
          <a:ahLst/>
          <a:cxnLst/>
          <a:rect l="0" t="0" r="0" b="0"/>
          <a:pathLst>
            <a:path>
              <a:moveTo>
                <a:pt x="3368045" y="926011"/>
              </a:moveTo>
              <a:arcTo wR="1796518" hR="1796518" stAng="19861011" swAng="317906"/>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892BA54-D813-4A68-B3E7-D96A4C75350B}">
      <dsp:nvSpPr>
        <dsp:cNvPr id="0" name=""/>
        <dsp:cNvSpPr/>
      </dsp:nvSpPr>
      <dsp:spPr>
        <a:xfrm>
          <a:off x="4128191" y="134813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Řízení samospráv</a:t>
          </a:r>
        </a:p>
      </dsp:txBody>
      <dsp:txXfrm>
        <a:off x="4174497" y="1394444"/>
        <a:ext cx="855962" cy="855964"/>
      </dsp:txXfrm>
    </dsp:sp>
    <dsp:sp modelId="{9A59F23A-A123-44F1-AA94-485DEFC35334}">
      <dsp:nvSpPr>
        <dsp:cNvPr id="0" name=""/>
        <dsp:cNvSpPr/>
      </dsp:nvSpPr>
      <dsp:spPr>
        <a:xfrm>
          <a:off x="1004803" y="399983"/>
          <a:ext cx="3593037" cy="3593037"/>
        </a:xfrm>
        <a:custGeom>
          <a:avLst/>
          <a:gdLst/>
          <a:ahLst/>
          <a:cxnLst/>
          <a:rect l="0" t="0" r="0" b="0"/>
          <a:pathLst>
            <a:path>
              <a:moveTo>
                <a:pt x="3590149" y="1898328"/>
              </a:moveTo>
              <a:arcTo wR="1796518" hR="1796518" stAng="194924" swAng="300059"/>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7F0EF2DB-CA93-47D2-9888-0F64D5429897}">
      <dsp:nvSpPr>
        <dsp:cNvPr id="0" name=""/>
        <dsp:cNvSpPr/>
      </dsp:nvSpPr>
      <dsp:spPr>
        <a:xfrm>
          <a:off x="3914789"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Motivace k soukromým investicím</a:t>
          </a:r>
        </a:p>
      </dsp:txBody>
      <dsp:txXfrm>
        <a:off x="3961095" y="2502168"/>
        <a:ext cx="855962" cy="855964"/>
      </dsp:txXfrm>
    </dsp:sp>
    <dsp:sp modelId="{5FED0FA7-BC7F-41E0-8CAF-C97921FF36FC}">
      <dsp:nvSpPr>
        <dsp:cNvPr id="0" name=""/>
        <dsp:cNvSpPr/>
      </dsp:nvSpPr>
      <dsp:spPr>
        <a:xfrm>
          <a:off x="1317298" y="40883"/>
          <a:ext cx="3593037" cy="3593037"/>
        </a:xfrm>
        <a:custGeom>
          <a:avLst/>
          <a:gdLst/>
          <a:ahLst/>
          <a:cxnLst/>
          <a:rect l="0" t="0" r="0" b="0"/>
          <a:pathLst>
            <a:path>
              <a:moveTo>
                <a:pt x="2673572" y="3364401"/>
              </a:moveTo>
              <a:arcTo wR="1796518" hR="1796518" stAng="3646674" swAng="324577"/>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D19C0EA-C762-4CE8-913E-EABD0E5484DC}">
      <dsp:nvSpPr>
        <dsp:cNvPr id="0" name=""/>
        <dsp:cNvSpPr/>
      </dsp:nvSpPr>
      <dsp:spPr>
        <a:xfrm>
          <a:off x="2888993" y="323975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Chytřejší daně</a:t>
          </a:r>
        </a:p>
      </dsp:txBody>
      <dsp:txXfrm>
        <a:off x="2935299" y="3286058"/>
        <a:ext cx="855962" cy="855964"/>
      </dsp:txXfrm>
    </dsp:sp>
    <dsp:sp modelId="{3D6F80AD-6340-4645-9BCC-9CC839122757}">
      <dsp:nvSpPr>
        <dsp:cNvPr id="0" name=""/>
        <dsp:cNvSpPr/>
      </dsp:nvSpPr>
      <dsp:spPr>
        <a:xfrm>
          <a:off x="969386" y="205873"/>
          <a:ext cx="3593037" cy="3593037"/>
        </a:xfrm>
        <a:custGeom>
          <a:avLst/>
          <a:gdLst/>
          <a:ahLst/>
          <a:cxnLst/>
          <a:rect l="0" t="0" r="0" b="0"/>
          <a:pathLst>
            <a:path>
              <a:moveTo>
                <a:pt x="1918554" y="3588887"/>
              </a:moveTo>
              <a:arcTo wR="1796518" hR="1796518" stAng="5166297" swAng="19796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528AFA7E-4BAB-480B-A44C-BB6650F77F5D}">
      <dsp:nvSpPr>
        <dsp:cNvPr id="0" name=""/>
        <dsp:cNvSpPr/>
      </dsp:nvSpPr>
      <dsp:spPr>
        <a:xfrm>
          <a:off x="1834948" y="324577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Podpora vzdělávání</a:t>
          </a:r>
        </a:p>
      </dsp:txBody>
      <dsp:txXfrm>
        <a:off x="1881254" y="3292084"/>
        <a:ext cx="855962" cy="855964"/>
      </dsp:txXfrm>
    </dsp:sp>
    <dsp:sp modelId="{1343E8DF-26C2-49CF-9606-81DA3D5CDE84}">
      <dsp:nvSpPr>
        <dsp:cNvPr id="0" name=""/>
        <dsp:cNvSpPr/>
      </dsp:nvSpPr>
      <dsp:spPr>
        <a:xfrm>
          <a:off x="805504" y="69590"/>
          <a:ext cx="3593037" cy="3593037"/>
        </a:xfrm>
        <a:custGeom>
          <a:avLst/>
          <a:gdLst/>
          <a:ahLst/>
          <a:cxnLst/>
          <a:rect l="0" t="0" r="0" b="0"/>
          <a:pathLst>
            <a:path>
              <a:moveTo>
                <a:pt x="1027794" y="3420261"/>
              </a:moveTo>
              <a:arcTo wR="1796518" hR="1796518" stAng="6920049" swAng="34234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A8AB859-16A8-4B90-86A5-A979887A79EE}">
      <dsp:nvSpPr>
        <dsp:cNvPr id="0" name=""/>
        <dsp:cNvSpPr/>
      </dsp:nvSpPr>
      <dsp:spPr>
        <a:xfrm>
          <a:off x="803127"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Omezení šedé ekonomiky</a:t>
          </a:r>
        </a:p>
      </dsp:txBody>
      <dsp:txXfrm>
        <a:off x="849433" y="2502168"/>
        <a:ext cx="855962" cy="855964"/>
      </dsp:txXfrm>
    </dsp:sp>
    <dsp:sp modelId="{8B833E3F-CBA5-496B-A09F-2E54FBEE637D}">
      <dsp:nvSpPr>
        <dsp:cNvPr id="0" name=""/>
        <dsp:cNvSpPr/>
      </dsp:nvSpPr>
      <dsp:spPr>
        <a:xfrm>
          <a:off x="1049505" y="291958"/>
          <a:ext cx="3593037" cy="3593037"/>
        </a:xfrm>
        <a:custGeom>
          <a:avLst/>
          <a:gdLst/>
          <a:ahLst/>
          <a:cxnLst/>
          <a:rect l="0" t="0" r="0" b="0"/>
          <a:pathLst>
            <a:path>
              <a:moveTo>
                <a:pt x="37589" y="2162094"/>
              </a:moveTo>
              <a:arcTo wR="1796518" hR="1796518" stAng="10095527" swAng="346763"/>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2B9AEF2-7358-4ACD-B5D1-32CFCBB75FA8}">
      <dsp:nvSpPr>
        <dsp:cNvPr id="0" name=""/>
        <dsp:cNvSpPr/>
      </dsp:nvSpPr>
      <dsp:spPr>
        <a:xfrm>
          <a:off x="581310" y="1323383"/>
          <a:ext cx="953363" cy="949852"/>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Stabilizující bytová politika</a:t>
          </a:r>
        </a:p>
      </dsp:txBody>
      <dsp:txXfrm>
        <a:off x="627678" y="1369751"/>
        <a:ext cx="860627" cy="857116"/>
      </dsp:txXfrm>
    </dsp:sp>
    <dsp:sp modelId="{2409D813-50DC-430D-9DC4-D4F889473FBF}">
      <dsp:nvSpPr>
        <dsp:cNvPr id="0" name=""/>
        <dsp:cNvSpPr/>
      </dsp:nvSpPr>
      <dsp:spPr>
        <a:xfrm>
          <a:off x="865624" y="554887"/>
          <a:ext cx="3593037" cy="3593037"/>
        </a:xfrm>
        <a:custGeom>
          <a:avLst/>
          <a:gdLst/>
          <a:ahLst/>
          <a:cxnLst/>
          <a:rect l="0" t="0" r="0" b="0"/>
          <a:pathLst>
            <a:path>
              <a:moveTo>
                <a:pt x="324123" y="767182"/>
              </a:moveTo>
              <a:arcTo wR="1796518" hR="1796518" stAng="12897420" swAng="30043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9E632469-FD25-49F8-A3BA-3185905D2710}">
      <dsp:nvSpPr>
        <dsp:cNvPr id="0" name=""/>
        <dsp:cNvSpPr/>
      </dsp:nvSpPr>
      <dsp:spPr>
        <a:xfrm>
          <a:off x="1186086" y="247684"/>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Lepší regionální plánování</a:t>
          </a:r>
        </a:p>
      </dsp:txBody>
      <dsp:txXfrm>
        <a:off x="1232392" y="293990"/>
        <a:ext cx="855962" cy="855964"/>
      </dsp:txXfrm>
    </dsp:sp>
    <dsp:sp modelId="{E93F9C88-6935-4B51-BEC8-146655D1ACB5}">
      <dsp:nvSpPr>
        <dsp:cNvPr id="0" name=""/>
        <dsp:cNvSpPr/>
      </dsp:nvSpPr>
      <dsp:spPr>
        <a:xfrm>
          <a:off x="1308896" y="133498"/>
          <a:ext cx="3593037" cy="3593037"/>
        </a:xfrm>
        <a:custGeom>
          <a:avLst/>
          <a:gdLst/>
          <a:ahLst/>
          <a:cxnLst/>
          <a:rect l="0" t="0" r="0" b="0"/>
          <a:pathLst>
            <a:path>
              <a:moveTo>
                <a:pt x="827449" y="283777"/>
              </a:moveTo>
              <a:arcTo wR="1796518" hR="1796518" stAng="14241371" swAng="37550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6340D-53D1-41C5-8C0B-08EA9545C9CA}">
      <dsp:nvSpPr>
        <dsp:cNvPr id="0" name=""/>
        <dsp:cNvSpPr/>
      </dsp:nvSpPr>
      <dsp:spPr>
        <a:xfrm>
          <a:off x="2308820" y="-232877"/>
          <a:ext cx="100061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Koncentrace EU dotací</a:t>
          </a:r>
        </a:p>
      </dsp:txBody>
      <dsp:txXfrm>
        <a:off x="2355126" y="-186571"/>
        <a:ext cx="908002" cy="855964"/>
      </dsp:txXfrm>
    </dsp:sp>
    <dsp:sp modelId="{E9DE802E-AA1C-47D2-B31C-D706D532217F}">
      <dsp:nvSpPr>
        <dsp:cNvPr id="0" name=""/>
        <dsp:cNvSpPr/>
      </dsp:nvSpPr>
      <dsp:spPr>
        <a:xfrm>
          <a:off x="958200" y="217940"/>
          <a:ext cx="3593037" cy="3593037"/>
        </a:xfrm>
        <a:custGeom>
          <a:avLst/>
          <a:gdLst/>
          <a:ahLst/>
          <a:cxnLst/>
          <a:rect l="0" t="0" r="0" b="0"/>
          <a:pathLst>
            <a:path>
              <a:moveTo>
                <a:pt x="2353831" y="88630"/>
              </a:moveTo>
              <a:arcTo wR="1796518" hR="1796518" stAng="17284343" swAng="512531"/>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60C3DCEE-F136-4943-9423-34ABC7ECBA28}">
      <dsp:nvSpPr>
        <dsp:cNvPr id="0" name=""/>
        <dsp:cNvSpPr/>
      </dsp:nvSpPr>
      <dsp:spPr>
        <a:xfrm>
          <a:off x="3561974" y="247688"/>
          <a:ext cx="948574" cy="948576"/>
        </a:xfrm>
        <a:prstGeom prst="roundRect">
          <a:avLst/>
        </a:prstGeom>
        <a:solidFill>
          <a:srgbClr val="EAEAEA"/>
        </a:solidFill>
        <a:ln w="25400" cap="flat" cmpd="sng" algn="ctr">
          <a:no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sp:txBody>
      <dsp:txXfrm>
        <a:off x="3608280" y="293994"/>
        <a:ext cx="855962" cy="855964"/>
      </dsp:txXfrm>
    </dsp:sp>
    <dsp:sp modelId="{9CAB07AB-CE92-410C-B67B-5C4D8E902D2A}">
      <dsp:nvSpPr>
        <dsp:cNvPr id="0" name=""/>
        <dsp:cNvSpPr/>
      </dsp:nvSpPr>
      <dsp:spPr>
        <a:xfrm>
          <a:off x="1036007" y="271735"/>
          <a:ext cx="3593037" cy="3593037"/>
        </a:xfrm>
        <a:custGeom>
          <a:avLst/>
          <a:gdLst/>
          <a:ahLst/>
          <a:cxnLst/>
          <a:rect l="0" t="0" r="0" b="0"/>
          <a:pathLst>
            <a:path>
              <a:moveTo>
                <a:pt x="3368045" y="926011"/>
              </a:moveTo>
              <a:arcTo wR="1796518" hR="1796518" stAng="19861011" swAng="317906"/>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892BA54-D813-4A68-B3E7-D96A4C75350B}">
      <dsp:nvSpPr>
        <dsp:cNvPr id="0" name=""/>
        <dsp:cNvSpPr/>
      </dsp:nvSpPr>
      <dsp:spPr>
        <a:xfrm>
          <a:off x="4128191" y="1348138"/>
          <a:ext cx="948574" cy="948576"/>
        </a:xfrm>
        <a:prstGeom prst="roundRect">
          <a:avLst/>
        </a:prstGeom>
        <a:solidFill>
          <a:srgbClr val="64BCA9"/>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solidFill>
                <a:schemeClr val="bg1">
                  <a:lumMod val="10000"/>
                </a:schemeClr>
              </a:solidFill>
              <a:latin typeface="Fira Sans" panose="020B0503050000020004" pitchFamily="34" charset="0"/>
            </a:rPr>
            <a:t>Řízení samospráv</a:t>
          </a:r>
        </a:p>
      </dsp:txBody>
      <dsp:txXfrm>
        <a:off x="4174497" y="1394444"/>
        <a:ext cx="855962" cy="855964"/>
      </dsp:txXfrm>
    </dsp:sp>
    <dsp:sp modelId="{9A59F23A-A123-44F1-AA94-485DEFC35334}">
      <dsp:nvSpPr>
        <dsp:cNvPr id="0" name=""/>
        <dsp:cNvSpPr/>
      </dsp:nvSpPr>
      <dsp:spPr>
        <a:xfrm>
          <a:off x="1004803" y="399983"/>
          <a:ext cx="3593037" cy="3593037"/>
        </a:xfrm>
        <a:custGeom>
          <a:avLst/>
          <a:gdLst/>
          <a:ahLst/>
          <a:cxnLst/>
          <a:rect l="0" t="0" r="0" b="0"/>
          <a:pathLst>
            <a:path>
              <a:moveTo>
                <a:pt x="3590149" y="1898328"/>
              </a:moveTo>
              <a:arcTo wR="1796518" hR="1796518" stAng="194924" swAng="300059"/>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7F0EF2DB-CA93-47D2-9888-0F64D5429897}">
      <dsp:nvSpPr>
        <dsp:cNvPr id="0" name=""/>
        <dsp:cNvSpPr/>
      </dsp:nvSpPr>
      <dsp:spPr>
        <a:xfrm>
          <a:off x="3914789"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Motivace k soukromým investicím</a:t>
          </a:r>
        </a:p>
      </dsp:txBody>
      <dsp:txXfrm>
        <a:off x="3961095" y="2502168"/>
        <a:ext cx="855962" cy="855964"/>
      </dsp:txXfrm>
    </dsp:sp>
    <dsp:sp modelId="{5FED0FA7-BC7F-41E0-8CAF-C97921FF36FC}">
      <dsp:nvSpPr>
        <dsp:cNvPr id="0" name=""/>
        <dsp:cNvSpPr/>
      </dsp:nvSpPr>
      <dsp:spPr>
        <a:xfrm>
          <a:off x="1317298" y="40883"/>
          <a:ext cx="3593037" cy="3593037"/>
        </a:xfrm>
        <a:custGeom>
          <a:avLst/>
          <a:gdLst/>
          <a:ahLst/>
          <a:cxnLst/>
          <a:rect l="0" t="0" r="0" b="0"/>
          <a:pathLst>
            <a:path>
              <a:moveTo>
                <a:pt x="2673572" y="3364401"/>
              </a:moveTo>
              <a:arcTo wR="1796518" hR="1796518" stAng="3646674" swAng="324577"/>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D19C0EA-C762-4CE8-913E-EABD0E5484DC}">
      <dsp:nvSpPr>
        <dsp:cNvPr id="0" name=""/>
        <dsp:cNvSpPr/>
      </dsp:nvSpPr>
      <dsp:spPr>
        <a:xfrm>
          <a:off x="2888993" y="323975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Chytřejší daně</a:t>
          </a:r>
        </a:p>
      </dsp:txBody>
      <dsp:txXfrm>
        <a:off x="2935299" y="3286058"/>
        <a:ext cx="855962" cy="855964"/>
      </dsp:txXfrm>
    </dsp:sp>
    <dsp:sp modelId="{3D6F80AD-6340-4645-9BCC-9CC839122757}">
      <dsp:nvSpPr>
        <dsp:cNvPr id="0" name=""/>
        <dsp:cNvSpPr/>
      </dsp:nvSpPr>
      <dsp:spPr>
        <a:xfrm>
          <a:off x="969386" y="205873"/>
          <a:ext cx="3593037" cy="3593037"/>
        </a:xfrm>
        <a:custGeom>
          <a:avLst/>
          <a:gdLst/>
          <a:ahLst/>
          <a:cxnLst/>
          <a:rect l="0" t="0" r="0" b="0"/>
          <a:pathLst>
            <a:path>
              <a:moveTo>
                <a:pt x="1918554" y="3588887"/>
              </a:moveTo>
              <a:arcTo wR="1796518" hR="1796518" stAng="5166297" swAng="19796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528AFA7E-4BAB-480B-A44C-BB6650F77F5D}">
      <dsp:nvSpPr>
        <dsp:cNvPr id="0" name=""/>
        <dsp:cNvSpPr/>
      </dsp:nvSpPr>
      <dsp:spPr>
        <a:xfrm>
          <a:off x="1834948" y="324577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Podpora vzdělávání</a:t>
          </a:r>
        </a:p>
      </dsp:txBody>
      <dsp:txXfrm>
        <a:off x="1881254" y="3292084"/>
        <a:ext cx="855962" cy="855964"/>
      </dsp:txXfrm>
    </dsp:sp>
    <dsp:sp modelId="{1343E8DF-26C2-49CF-9606-81DA3D5CDE84}">
      <dsp:nvSpPr>
        <dsp:cNvPr id="0" name=""/>
        <dsp:cNvSpPr/>
      </dsp:nvSpPr>
      <dsp:spPr>
        <a:xfrm>
          <a:off x="805504" y="69590"/>
          <a:ext cx="3593037" cy="3593037"/>
        </a:xfrm>
        <a:custGeom>
          <a:avLst/>
          <a:gdLst/>
          <a:ahLst/>
          <a:cxnLst/>
          <a:rect l="0" t="0" r="0" b="0"/>
          <a:pathLst>
            <a:path>
              <a:moveTo>
                <a:pt x="1027794" y="3420261"/>
              </a:moveTo>
              <a:arcTo wR="1796518" hR="1796518" stAng="6920049" swAng="34234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A8AB859-16A8-4B90-86A5-A979887A79EE}">
      <dsp:nvSpPr>
        <dsp:cNvPr id="0" name=""/>
        <dsp:cNvSpPr/>
      </dsp:nvSpPr>
      <dsp:spPr>
        <a:xfrm>
          <a:off x="803127"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Omezení šedé ekonomiky</a:t>
          </a:r>
        </a:p>
      </dsp:txBody>
      <dsp:txXfrm>
        <a:off x="849433" y="2502168"/>
        <a:ext cx="855962" cy="855964"/>
      </dsp:txXfrm>
    </dsp:sp>
    <dsp:sp modelId="{8B833E3F-CBA5-496B-A09F-2E54FBEE637D}">
      <dsp:nvSpPr>
        <dsp:cNvPr id="0" name=""/>
        <dsp:cNvSpPr/>
      </dsp:nvSpPr>
      <dsp:spPr>
        <a:xfrm>
          <a:off x="1049505" y="291958"/>
          <a:ext cx="3593037" cy="3593037"/>
        </a:xfrm>
        <a:custGeom>
          <a:avLst/>
          <a:gdLst/>
          <a:ahLst/>
          <a:cxnLst/>
          <a:rect l="0" t="0" r="0" b="0"/>
          <a:pathLst>
            <a:path>
              <a:moveTo>
                <a:pt x="37589" y="2162094"/>
              </a:moveTo>
              <a:arcTo wR="1796518" hR="1796518" stAng="10095527" swAng="346763"/>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2B9AEF2-7358-4ACD-B5D1-32CFCBB75FA8}">
      <dsp:nvSpPr>
        <dsp:cNvPr id="0" name=""/>
        <dsp:cNvSpPr/>
      </dsp:nvSpPr>
      <dsp:spPr>
        <a:xfrm>
          <a:off x="581310" y="1323383"/>
          <a:ext cx="953363" cy="949852"/>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Stabilizující bytová politika</a:t>
          </a:r>
        </a:p>
      </dsp:txBody>
      <dsp:txXfrm>
        <a:off x="627678" y="1369751"/>
        <a:ext cx="860627" cy="857116"/>
      </dsp:txXfrm>
    </dsp:sp>
    <dsp:sp modelId="{2409D813-50DC-430D-9DC4-D4F889473FBF}">
      <dsp:nvSpPr>
        <dsp:cNvPr id="0" name=""/>
        <dsp:cNvSpPr/>
      </dsp:nvSpPr>
      <dsp:spPr>
        <a:xfrm>
          <a:off x="865624" y="554887"/>
          <a:ext cx="3593037" cy="3593037"/>
        </a:xfrm>
        <a:custGeom>
          <a:avLst/>
          <a:gdLst/>
          <a:ahLst/>
          <a:cxnLst/>
          <a:rect l="0" t="0" r="0" b="0"/>
          <a:pathLst>
            <a:path>
              <a:moveTo>
                <a:pt x="324123" y="767182"/>
              </a:moveTo>
              <a:arcTo wR="1796518" hR="1796518" stAng="12897420" swAng="30043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9E632469-FD25-49F8-A3BA-3185905D2710}">
      <dsp:nvSpPr>
        <dsp:cNvPr id="0" name=""/>
        <dsp:cNvSpPr/>
      </dsp:nvSpPr>
      <dsp:spPr>
        <a:xfrm>
          <a:off x="1186086" y="247684"/>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Lepší regionální plánování</a:t>
          </a:r>
        </a:p>
      </dsp:txBody>
      <dsp:txXfrm>
        <a:off x="1232392" y="293990"/>
        <a:ext cx="855962" cy="855964"/>
      </dsp:txXfrm>
    </dsp:sp>
    <dsp:sp modelId="{E93F9C88-6935-4B51-BEC8-146655D1ACB5}">
      <dsp:nvSpPr>
        <dsp:cNvPr id="0" name=""/>
        <dsp:cNvSpPr/>
      </dsp:nvSpPr>
      <dsp:spPr>
        <a:xfrm>
          <a:off x="1308896" y="133498"/>
          <a:ext cx="3593037" cy="3593037"/>
        </a:xfrm>
        <a:custGeom>
          <a:avLst/>
          <a:gdLst/>
          <a:ahLst/>
          <a:cxnLst/>
          <a:rect l="0" t="0" r="0" b="0"/>
          <a:pathLst>
            <a:path>
              <a:moveTo>
                <a:pt x="827449" y="283777"/>
              </a:moveTo>
              <a:arcTo wR="1796518" hR="1796518" stAng="14241371" swAng="37550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6340D-53D1-41C5-8C0B-08EA9545C9CA}">
      <dsp:nvSpPr>
        <dsp:cNvPr id="0" name=""/>
        <dsp:cNvSpPr/>
      </dsp:nvSpPr>
      <dsp:spPr>
        <a:xfrm>
          <a:off x="2308820" y="-232877"/>
          <a:ext cx="100061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Koncentrace EU dotací</a:t>
          </a:r>
        </a:p>
      </dsp:txBody>
      <dsp:txXfrm>
        <a:off x="2355126" y="-186571"/>
        <a:ext cx="908002" cy="855964"/>
      </dsp:txXfrm>
    </dsp:sp>
    <dsp:sp modelId="{E9DE802E-AA1C-47D2-B31C-D706D532217F}">
      <dsp:nvSpPr>
        <dsp:cNvPr id="0" name=""/>
        <dsp:cNvSpPr/>
      </dsp:nvSpPr>
      <dsp:spPr>
        <a:xfrm>
          <a:off x="958200" y="217940"/>
          <a:ext cx="3593037" cy="3593037"/>
        </a:xfrm>
        <a:custGeom>
          <a:avLst/>
          <a:gdLst/>
          <a:ahLst/>
          <a:cxnLst/>
          <a:rect l="0" t="0" r="0" b="0"/>
          <a:pathLst>
            <a:path>
              <a:moveTo>
                <a:pt x="2353831" y="88630"/>
              </a:moveTo>
              <a:arcTo wR="1796518" hR="1796518" stAng="17284343" swAng="512531"/>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60C3DCEE-F136-4943-9423-34ABC7ECBA28}">
      <dsp:nvSpPr>
        <dsp:cNvPr id="0" name=""/>
        <dsp:cNvSpPr/>
      </dsp:nvSpPr>
      <dsp:spPr>
        <a:xfrm>
          <a:off x="3561974" y="247688"/>
          <a:ext cx="948574" cy="948576"/>
        </a:xfrm>
        <a:prstGeom prst="roundRect">
          <a:avLst/>
        </a:prstGeom>
        <a:solidFill>
          <a:srgbClr val="EAEAEA"/>
        </a:solidFill>
        <a:ln w="25400" cap="flat" cmpd="sng" algn="ctr">
          <a:no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sp:txBody>
      <dsp:txXfrm>
        <a:off x="3608280" y="293994"/>
        <a:ext cx="855962" cy="855964"/>
      </dsp:txXfrm>
    </dsp:sp>
    <dsp:sp modelId="{9CAB07AB-CE92-410C-B67B-5C4D8E902D2A}">
      <dsp:nvSpPr>
        <dsp:cNvPr id="0" name=""/>
        <dsp:cNvSpPr/>
      </dsp:nvSpPr>
      <dsp:spPr>
        <a:xfrm>
          <a:off x="1036007" y="271735"/>
          <a:ext cx="3593037" cy="3593037"/>
        </a:xfrm>
        <a:custGeom>
          <a:avLst/>
          <a:gdLst/>
          <a:ahLst/>
          <a:cxnLst/>
          <a:rect l="0" t="0" r="0" b="0"/>
          <a:pathLst>
            <a:path>
              <a:moveTo>
                <a:pt x="3368045" y="926011"/>
              </a:moveTo>
              <a:arcTo wR="1796518" hR="1796518" stAng="19861011" swAng="317906"/>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892BA54-D813-4A68-B3E7-D96A4C75350B}">
      <dsp:nvSpPr>
        <dsp:cNvPr id="0" name=""/>
        <dsp:cNvSpPr/>
      </dsp:nvSpPr>
      <dsp:spPr>
        <a:xfrm>
          <a:off x="4128191" y="1348138"/>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Řízení samospráv</a:t>
          </a:r>
        </a:p>
      </dsp:txBody>
      <dsp:txXfrm>
        <a:off x="4174497" y="1394444"/>
        <a:ext cx="855962" cy="855964"/>
      </dsp:txXfrm>
    </dsp:sp>
    <dsp:sp modelId="{9A59F23A-A123-44F1-AA94-485DEFC35334}">
      <dsp:nvSpPr>
        <dsp:cNvPr id="0" name=""/>
        <dsp:cNvSpPr/>
      </dsp:nvSpPr>
      <dsp:spPr>
        <a:xfrm>
          <a:off x="1004803" y="399983"/>
          <a:ext cx="3593037" cy="3593037"/>
        </a:xfrm>
        <a:custGeom>
          <a:avLst/>
          <a:gdLst/>
          <a:ahLst/>
          <a:cxnLst/>
          <a:rect l="0" t="0" r="0" b="0"/>
          <a:pathLst>
            <a:path>
              <a:moveTo>
                <a:pt x="3590149" y="1898328"/>
              </a:moveTo>
              <a:arcTo wR="1796518" hR="1796518" stAng="194924" swAng="300059"/>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7F0EF2DB-CA93-47D2-9888-0F64D5429897}">
      <dsp:nvSpPr>
        <dsp:cNvPr id="0" name=""/>
        <dsp:cNvSpPr/>
      </dsp:nvSpPr>
      <dsp:spPr>
        <a:xfrm>
          <a:off x="3914789" y="2455862"/>
          <a:ext cx="948574" cy="948576"/>
        </a:xfrm>
        <a:prstGeom prst="roundRect">
          <a:avLst/>
        </a:prstGeom>
        <a:solidFill>
          <a:srgbClr val="64BCA9"/>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solidFill>
                <a:schemeClr val="bg1">
                  <a:lumMod val="10000"/>
                </a:schemeClr>
              </a:solidFill>
              <a:latin typeface="Fira Sans" panose="020B0503050000020004" pitchFamily="34" charset="0"/>
            </a:rPr>
            <a:t>Motivace k soukromým investicím</a:t>
          </a:r>
        </a:p>
      </dsp:txBody>
      <dsp:txXfrm>
        <a:off x="3961095" y="2502168"/>
        <a:ext cx="855962" cy="855964"/>
      </dsp:txXfrm>
    </dsp:sp>
    <dsp:sp modelId="{5FED0FA7-BC7F-41E0-8CAF-C97921FF36FC}">
      <dsp:nvSpPr>
        <dsp:cNvPr id="0" name=""/>
        <dsp:cNvSpPr/>
      </dsp:nvSpPr>
      <dsp:spPr>
        <a:xfrm>
          <a:off x="1317298" y="40883"/>
          <a:ext cx="3593037" cy="3593037"/>
        </a:xfrm>
        <a:custGeom>
          <a:avLst/>
          <a:gdLst/>
          <a:ahLst/>
          <a:cxnLst/>
          <a:rect l="0" t="0" r="0" b="0"/>
          <a:pathLst>
            <a:path>
              <a:moveTo>
                <a:pt x="2673572" y="3364401"/>
              </a:moveTo>
              <a:arcTo wR="1796518" hR="1796518" stAng="3646674" swAng="324577"/>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D19C0EA-C762-4CE8-913E-EABD0E5484DC}">
      <dsp:nvSpPr>
        <dsp:cNvPr id="0" name=""/>
        <dsp:cNvSpPr/>
      </dsp:nvSpPr>
      <dsp:spPr>
        <a:xfrm>
          <a:off x="2888993" y="323975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Chytřejší daně</a:t>
          </a:r>
        </a:p>
      </dsp:txBody>
      <dsp:txXfrm>
        <a:off x="2935299" y="3286058"/>
        <a:ext cx="855962" cy="855964"/>
      </dsp:txXfrm>
    </dsp:sp>
    <dsp:sp modelId="{3D6F80AD-6340-4645-9BCC-9CC839122757}">
      <dsp:nvSpPr>
        <dsp:cNvPr id="0" name=""/>
        <dsp:cNvSpPr/>
      </dsp:nvSpPr>
      <dsp:spPr>
        <a:xfrm>
          <a:off x="969386" y="205873"/>
          <a:ext cx="3593037" cy="3593037"/>
        </a:xfrm>
        <a:custGeom>
          <a:avLst/>
          <a:gdLst/>
          <a:ahLst/>
          <a:cxnLst/>
          <a:rect l="0" t="0" r="0" b="0"/>
          <a:pathLst>
            <a:path>
              <a:moveTo>
                <a:pt x="1918554" y="3588887"/>
              </a:moveTo>
              <a:arcTo wR="1796518" hR="1796518" stAng="5166297" swAng="19796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528AFA7E-4BAB-480B-A44C-BB6650F77F5D}">
      <dsp:nvSpPr>
        <dsp:cNvPr id="0" name=""/>
        <dsp:cNvSpPr/>
      </dsp:nvSpPr>
      <dsp:spPr>
        <a:xfrm>
          <a:off x="1834948" y="324577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Podpora vzdělávání</a:t>
          </a:r>
        </a:p>
      </dsp:txBody>
      <dsp:txXfrm>
        <a:off x="1881254" y="3292084"/>
        <a:ext cx="855962" cy="855964"/>
      </dsp:txXfrm>
    </dsp:sp>
    <dsp:sp modelId="{1343E8DF-26C2-49CF-9606-81DA3D5CDE84}">
      <dsp:nvSpPr>
        <dsp:cNvPr id="0" name=""/>
        <dsp:cNvSpPr/>
      </dsp:nvSpPr>
      <dsp:spPr>
        <a:xfrm>
          <a:off x="805504" y="69590"/>
          <a:ext cx="3593037" cy="3593037"/>
        </a:xfrm>
        <a:custGeom>
          <a:avLst/>
          <a:gdLst/>
          <a:ahLst/>
          <a:cxnLst/>
          <a:rect l="0" t="0" r="0" b="0"/>
          <a:pathLst>
            <a:path>
              <a:moveTo>
                <a:pt x="1027794" y="3420261"/>
              </a:moveTo>
              <a:arcTo wR="1796518" hR="1796518" stAng="6920049" swAng="34234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A8AB859-16A8-4B90-86A5-A979887A79EE}">
      <dsp:nvSpPr>
        <dsp:cNvPr id="0" name=""/>
        <dsp:cNvSpPr/>
      </dsp:nvSpPr>
      <dsp:spPr>
        <a:xfrm>
          <a:off x="803127"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Omezení šedé ekonomiky</a:t>
          </a:r>
        </a:p>
      </dsp:txBody>
      <dsp:txXfrm>
        <a:off x="849433" y="2502168"/>
        <a:ext cx="855962" cy="855964"/>
      </dsp:txXfrm>
    </dsp:sp>
    <dsp:sp modelId="{8B833E3F-CBA5-496B-A09F-2E54FBEE637D}">
      <dsp:nvSpPr>
        <dsp:cNvPr id="0" name=""/>
        <dsp:cNvSpPr/>
      </dsp:nvSpPr>
      <dsp:spPr>
        <a:xfrm>
          <a:off x="1049505" y="291958"/>
          <a:ext cx="3593037" cy="3593037"/>
        </a:xfrm>
        <a:custGeom>
          <a:avLst/>
          <a:gdLst/>
          <a:ahLst/>
          <a:cxnLst/>
          <a:rect l="0" t="0" r="0" b="0"/>
          <a:pathLst>
            <a:path>
              <a:moveTo>
                <a:pt x="37589" y="2162094"/>
              </a:moveTo>
              <a:arcTo wR="1796518" hR="1796518" stAng="10095527" swAng="346763"/>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2B9AEF2-7358-4ACD-B5D1-32CFCBB75FA8}">
      <dsp:nvSpPr>
        <dsp:cNvPr id="0" name=""/>
        <dsp:cNvSpPr/>
      </dsp:nvSpPr>
      <dsp:spPr>
        <a:xfrm>
          <a:off x="581310" y="1323383"/>
          <a:ext cx="953363" cy="949852"/>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Stabilizující bytová politika</a:t>
          </a:r>
        </a:p>
      </dsp:txBody>
      <dsp:txXfrm>
        <a:off x="627678" y="1369751"/>
        <a:ext cx="860627" cy="857116"/>
      </dsp:txXfrm>
    </dsp:sp>
    <dsp:sp modelId="{2409D813-50DC-430D-9DC4-D4F889473FBF}">
      <dsp:nvSpPr>
        <dsp:cNvPr id="0" name=""/>
        <dsp:cNvSpPr/>
      </dsp:nvSpPr>
      <dsp:spPr>
        <a:xfrm>
          <a:off x="865624" y="554887"/>
          <a:ext cx="3593037" cy="3593037"/>
        </a:xfrm>
        <a:custGeom>
          <a:avLst/>
          <a:gdLst/>
          <a:ahLst/>
          <a:cxnLst/>
          <a:rect l="0" t="0" r="0" b="0"/>
          <a:pathLst>
            <a:path>
              <a:moveTo>
                <a:pt x="324123" y="767182"/>
              </a:moveTo>
              <a:arcTo wR="1796518" hR="1796518" stAng="12897420" swAng="30043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9E632469-FD25-49F8-A3BA-3185905D2710}">
      <dsp:nvSpPr>
        <dsp:cNvPr id="0" name=""/>
        <dsp:cNvSpPr/>
      </dsp:nvSpPr>
      <dsp:spPr>
        <a:xfrm>
          <a:off x="1186086" y="247684"/>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Lepší regionální plánování</a:t>
          </a:r>
        </a:p>
      </dsp:txBody>
      <dsp:txXfrm>
        <a:off x="1232392" y="293990"/>
        <a:ext cx="855962" cy="855964"/>
      </dsp:txXfrm>
    </dsp:sp>
    <dsp:sp modelId="{E93F9C88-6935-4B51-BEC8-146655D1ACB5}">
      <dsp:nvSpPr>
        <dsp:cNvPr id="0" name=""/>
        <dsp:cNvSpPr/>
      </dsp:nvSpPr>
      <dsp:spPr>
        <a:xfrm>
          <a:off x="1308896" y="133498"/>
          <a:ext cx="3593037" cy="3593037"/>
        </a:xfrm>
        <a:custGeom>
          <a:avLst/>
          <a:gdLst/>
          <a:ahLst/>
          <a:cxnLst/>
          <a:rect l="0" t="0" r="0" b="0"/>
          <a:pathLst>
            <a:path>
              <a:moveTo>
                <a:pt x="827449" y="283777"/>
              </a:moveTo>
              <a:arcTo wR="1796518" hR="1796518" stAng="14241371" swAng="37550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6340D-53D1-41C5-8C0B-08EA9545C9CA}">
      <dsp:nvSpPr>
        <dsp:cNvPr id="0" name=""/>
        <dsp:cNvSpPr/>
      </dsp:nvSpPr>
      <dsp:spPr>
        <a:xfrm>
          <a:off x="2308820" y="-232877"/>
          <a:ext cx="100061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Koncentrace EU dotací</a:t>
          </a:r>
        </a:p>
      </dsp:txBody>
      <dsp:txXfrm>
        <a:off x="2355126" y="-186571"/>
        <a:ext cx="908002" cy="855964"/>
      </dsp:txXfrm>
    </dsp:sp>
    <dsp:sp modelId="{E9DE802E-AA1C-47D2-B31C-D706D532217F}">
      <dsp:nvSpPr>
        <dsp:cNvPr id="0" name=""/>
        <dsp:cNvSpPr/>
      </dsp:nvSpPr>
      <dsp:spPr>
        <a:xfrm>
          <a:off x="958200" y="217940"/>
          <a:ext cx="3593037" cy="3593037"/>
        </a:xfrm>
        <a:custGeom>
          <a:avLst/>
          <a:gdLst/>
          <a:ahLst/>
          <a:cxnLst/>
          <a:rect l="0" t="0" r="0" b="0"/>
          <a:pathLst>
            <a:path>
              <a:moveTo>
                <a:pt x="2353831" y="88630"/>
              </a:moveTo>
              <a:arcTo wR="1796518" hR="1796518" stAng="17284343" swAng="512531"/>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60C3DCEE-F136-4943-9423-34ABC7ECBA28}">
      <dsp:nvSpPr>
        <dsp:cNvPr id="0" name=""/>
        <dsp:cNvSpPr/>
      </dsp:nvSpPr>
      <dsp:spPr>
        <a:xfrm>
          <a:off x="3561974" y="247688"/>
          <a:ext cx="948574" cy="948576"/>
        </a:xfrm>
        <a:prstGeom prst="roundRect">
          <a:avLst/>
        </a:prstGeom>
        <a:solidFill>
          <a:srgbClr val="EAEAEA"/>
        </a:solidFill>
        <a:ln w="25400" cap="flat" cmpd="sng" algn="ctr">
          <a:no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sp:txBody>
      <dsp:txXfrm>
        <a:off x="3608280" y="293994"/>
        <a:ext cx="855962" cy="855964"/>
      </dsp:txXfrm>
    </dsp:sp>
    <dsp:sp modelId="{9CAB07AB-CE92-410C-B67B-5C4D8E902D2A}">
      <dsp:nvSpPr>
        <dsp:cNvPr id="0" name=""/>
        <dsp:cNvSpPr/>
      </dsp:nvSpPr>
      <dsp:spPr>
        <a:xfrm>
          <a:off x="1036007" y="271735"/>
          <a:ext cx="3593037" cy="3593037"/>
        </a:xfrm>
        <a:custGeom>
          <a:avLst/>
          <a:gdLst/>
          <a:ahLst/>
          <a:cxnLst/>
          <a:rect l="0" t="0" r="0" b="0"/>
          <a:pathLst>
            <a:path>
              <a:moveTo>
                <a:pt x="3368045" y="926011"/>
              </a:moveTo>
              <a:arcTo wR="1796518" hR="1796518" stAng="19861011" swAng="317906"/>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892BA54-D813-4A68-B3E7-D96A4C75350B}">
      <dsp:nvSpPr>
        <dsp:cNvPr id="0" name=""/>
        <dsp:cNvSpPr/>
      </dsp:nvSpPr>
      <dsp:spPr>
        <a:xfrm>
          <a:off x="4128191" y="1348138"/>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Řízení samospráv</a:t>
          </a:r>
        </a:p>
      </dsp:txBody>
      <dsp:txXfrm>
        <a:off x="4174497" y="1394444"/>
        <a:ext cx="855962" cy="855964"/>
      </dsp:txXfrm>
    </dsp:sp>
    <dsp:sp modelId="{9A59F23A-A123-44F1-AA94-485DEFC35334}">
      <dsp:nvSpPr>
        <dsp:cNvPr id="0" name=""/>
        <dsp:cNvSpPr/>
      </dsp:nvSpPr>
      <dsp:spPr>
        <a:xfrm>
          <a:off x="1004803" y="399983"/>
          <a:ext cx="3593037" cy="3593037"/>
        </a:xfrm>
        <a:custGeom>
          <a:avLst/>
          <a:gdLst/>
          <a:ahLst/>
          <a:cxnLst/>
          <a:rect l="0" t="0" r="0" b="0"/>
          <a:pathLst>
            <a:path>
              <a:moveTo>
                <a:pt x="3590149" y="1898328"/>
              </a:moveTo>
              <a:arcTo wR="1796518" hR="1796518" stAng="194924" swAng="300059"/>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7F0EF2DB-CA93-47D2-9888-0F64D5429897}">
      <dsp:nvSpPr>
        <dsp:cNvPr id="0" name=""/>
        <dsp:cNvSpPr/>
      </dsp:nvSpPr>
      <dsp:spPr>
        <a:xfrm>
          <a:off x="3914789" y="2455862"/>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Motivace k soukromým investicím</a:t>
          </a:r>
        </a:p>
      </dsp:txBody>
      <dsp:txXfrm>
        <a:off x="3961095" y="2502168"/>
        <a:ext cx="855962" cy="855964"/>
      </dsp:txXfrm>
    </dsp:sp>
    <dsp:sp modelId="{5FED0FA7-BC7F-41E0-8CAF-C97921FF36FC}">
      <dsp:nvSpPr>
        <dsp:cNvPr id="0" name=""/>
        <dsp:cNvSpPr/>
      </dsp:nvSpPr>
      <dsp:spPr>
        <a:xfrm>
          <a:off x="1317298" y="40883"/>
          <a:ext cx="3593037" cy="3593037"/>
        </a:xfrm>
        <a:custGeom>
          <a:avLst/>
          <a:gdLst/>
          <a:ahLst/>
          <a:cxnLst/>
          <a:rect l="0" t="0" r="0" b="0"/>
          <a:pathLst>
            <a:path>
              <a:moveTo>
                <a:pt x="2673572" y="3364401"/>
              </a:moveTo>
              <a:arcTo wR="1796518" hR="1796518" stAng="3646674" swAng="324577"/>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D19C0EA-C762-4CE8-913E-EABD0E5484DC}">
      <dsp:nvSpPr>
        <dsp:cNvPr id="0" name=""/>
        <dsp:cNvSpPr/>
      </dsp:nvSpPr>
      <dsp:spPr>
        <a:xfrm>
          <a:off x="2888993" y="3239752"/>
          <a:ext cx="948574" cy="948576"/>
        </a:xfrm>
        <a:prstGeom prst="roundRect">
          <a:avLst/>
        </a:prstGeom>
        <a:solidFill>
          <a:srgbClr val="64BCA9"/>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solidFill>
                <a:schemeClr val="bg1">
                  <a:lumMod val="10000"/>
                </a:schemeClr>
              </a:solidFill>
              <a:latin typeface="Fira Sans" panose="020B0503050000020004" pitchFamily="34" charset="0"/>
            </a:rPr>
            <a:t>Chytřejší daně</a:t>
          </a:r>
        </a:p>
      </dsp:txBody>
      <dsp:txXfrm>
        <a:off x="2935299" y="3286058"/>
        <a:ext cx="855962" cy="855964"/>
      </dsp:txXfrm>
    </dsp:sp>
    <dsp:sp modelId="{3D6F80AD-6340-4645-9BCC-9CC839122757}">
      <dsp:nvSpPr>
        <dsp:cNvPr id="0" name=""/>
        <dsp:cNvSpPr/>
      </dsp:nvSpPr>
      <dsp:spPr>
        <a:xfrm>
          <a:off x="969386" y="205873"/>
          <a:ext cx="3593037" cy="3593037"/>
        </a:xfrm>
        <a:custGeom>
          <a:avLst/>
          <a:gdLst/>
          <a:ahLst/>
          <a:cxnLst/>
          <a:rect l="0" t="0" r="0" b="0"/>
          <a:pathLst>
            <a:path>
              <a:moveTo>
                <a:pt x="1918554" y="3588887"/>
              </a:moveTo>
              <a:arcTo wR="1796518" hR="1796518" stAng="5166297" swAng="19796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528AFA7E-4BAB-480B-A44C-BB6650F77F5D}">
      <dsp:nvSpPr>
        <dsp:cNvPr id="0" name=""/>
        <dsp:cNvSpPr/>
      </dsp:nvSpPr>
      <dsp:spPr>
        <a:xfrm>
          <a:off x="1834948" y="324577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Podpora vzdělávání</a:t>
          </a:r>
        </a:p>
      </dsp:txBody>
      <dsp:txXfrm>
        <a:off x="1881254" y="3292084"/>
        <a:ext cx="855962" cy="855964"/>
      </dsp:txXfrm>
    </dsp:sp>
    <dsp:sp modelId="{1343E8DF-26C2-49CF-9606-81DA3D5CDE84}">
      <dsp:nvSpPr>
        <dsp:cNvPr id="0" name=""/>
        <dsp:cNvSpPr/>
      </dsp:nvSpPr>
      <dsp:spPr>
        <a:xfrm>
          <a:off x="805504" y="69590"/>
          <a:ext cx="3593037" cy="3593037"/>
        </a:xfrm>
        <a:custGeom>
          <a:avLst/>
          <a:gdLst/>
          <a:ahLst/>
          <a:cxnLst/>
          <a:rect l="0" t="0" r="0" b="0"/>
          <a:pathLst>
            <a:path>
              <a:moveTo>
                <a:pt x="1027794" y="3420261"/>
              </a:moveTo>
              <a:arcTo wR="1796518" hR="1796518" stAng="6920049" swAng="34234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A8AB859-16A8-4B90-86A5-A979887A79EE}">
      <dsp:nvSpPr>
        <dsp:cNvPr id="0" name=""/>
        <dsp:cNvSpPr/>
      </dsp:nvSpPr>
      <dsp:spPr>
        <a:xfrm>
          <a:off x="803127"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Omezení šedé ekonomiky</a:t>
          </a:r>
        </a:p>
      </dsp:txBody>
      <dsp:txXfrm>
        <a:off x="849433" y="2502168"/>
        <a:ext cx="855962" cy="855964"/>
      </dsp:txXfrm>
    </dsp:sp>
    <dsp:sp modelId="{8B833E3F-CBA5-496B-A09F-2E54FBEE637D}">
      <dsp:nvSpPr>
        <dsp:cNvPr id="0" name=""/>
        <dsp:cNvSpPr/>
      </dsp:nvSpPr>
      <dsp:spPr>
        <a:xfrm>
          <a:off x="1049505" y="291958"/>
          <a:ext cx="3593037" cy="3593037"/>
        </a:xfrm>
        <a:custGeom>
          <a:avLst/>
          <a:gdLst/>
          <a:ahLst/>
          <a:cxnLst/>
          <a:rect l="0" t="0" r="0" b="0"/>
          <a:pathLst>
            <a:path>
              <a:moveTo>
                <a:pt x="37589" y="2162094"/>
              </a:moveTo>
              <a:arcTo wR="1796518" hR="1796518" stAng="10095527" swAng="346763"/>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2B9AEF2-7358-4ACD-B5D1-32CFCBB75FA8}">
      <dsp:nvSpPr>
        <dsp:cNvPr id="0" name=""/>
        <dsp:cNvSpPr/>
      </dsp:nvSpPr>
      <dsp:spPr>
        <a:xfrm>
          <a:off x="581310" y="1323383"/>
          <a:ext cx="953363" cy="949852"/>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Stabilizující bytová politika</a:t>
          </a:r>
        </a:p>
      </dsp:txBody>
      <dsp:txXfrm>
        <a:off x="627678" y="1369751"/>
        <a:ext cx="860627" cy="857116"/>
      </dsp:txXfrm>
    </dsp:sp>
    <dsp:sp modelId="{2409D813-50DC-430D-9DC4-D4F889473FBF}">
      <dsp:nvSpPr>
        <dsp:cNvPr id="0" name=""/>
        <dsp:cNvSpPr/>
      </dsp:nvSpPr>
      <dsp:spPr>
        <a:xfrm>
          <a:off x="865624" y="554887"/>
          <a:ext cx="3593037" cy="3593037"/>
        </a:xfrm>
        <a:custGeom>
          <a:avLst/>
          <a:gdLst/>
          <a:ahLst/>
          <a:cxnLst/>
          <a:rect l="0" t="0" r="0" b="0"/>
          <a:pathLst>
            <a:path>
              <a:moveTo>
                <a:pt x="324123" y="767182"/>
              </a:moveTo>
              <a:arcTo wR="1796518" hR="1796518" stAng="12897420" swAng="30043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9E632469-FD25-49F8-A3BA-3185905D2710}">
      <dsp:nvSpPr>
        <dsp:cNvPr id="0" name=""/>
        <dsp:cNvSpPr/>
      </dsp:nvSpPr>
      <dsp:spPr>
        <a:xfrm>
          <a:off x="1186086" y="247684"/>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Lepší regionální plánování</a:t>
          </a:r>
        </a:p>
      </dsp:txBody>
      <dsp:txXfrm>
        <a:off x="1232392" y="293990"/>
        <a:ext cx="855962" cy="855964"/>
      </dsp:txXfrm>
    </dsp:sp>
    <dsp:sp modelId="{E93F9C88-6935-4B51-BEC8-146655D1ACB5}">
      <dsp:nvSpPr>
        <dsp:cNvPr id="0" name=""/>
        <dsp:cNvSpPr/>
      </dsp:nvSpPr>
      <dsp:spPr>
        <a:xfrm>
          <a:off x="1308896" y="133498"/>
          <a:ext cx="3593037" cy="3593037"/>
        </a:xfrm>
        <a:custGeom>
          <a:avLst/>
          <a:gdLst/>
          <a:ahLst/>
          <a:cxnLst/>
          <a:rect l="0" t="0" r="0" b="0"/>
          <a:pathLst>
            <a:path>
              <a:moveTo>
                <a:pt x="827449" y="283777"/>
              </a:moveTo>
              <a:arcTo wR="1796518" hR="1796518" stAng="14241371" swAng="37550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6340D-53D1-41C5-8C0B-08EA9545C9CA}">
      <dsp:nvSpPr>
        <dsp:cNvPr id="0" name=""/>
        <dsp:cNvSpPr/>
      </dsp:nvSpPr>
      <dsp:spPr>
        <a:xfrm>
          <a:off x="2308820" y="-232877"/>
          <a:ext cx="100061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Koncentrace EU dotací</a:t>
          </a:r>
        </a:p>
      </dsp:txBody>
      <dsp:txXfrm>
        <a:off x="2355126" y="-186571"/>
        <a:ext cx="908002" cy="855964"/>
      </dsp:txXfrm>
    </dsp:sp>
    <dsp:sp modelId="{E9DE802E-AA1C-47D2-B31C-D706D532217F}">
      <dsp:nvSpPr>
        <dsp:cNvPr id="0" name=""/>
        <dsp:cNvSpPr/>
      </dsp:nvSpPr>
      <dsp:spPr>
        <a:xfrm>
          <a:off x="958200" y="217940"/>
          <a:ext cx="3593037" cy="3593037"/>
        </a:xfrm>
        <a:custGeom>
          <a:avLst/>
          <a:gdLst/>
          <a:ahLst/>
          <a:cxnLst/>
          <a:rect l="0" t="0" r="0" b="0"/>
          <a:pathLst>
            <a:path>
              <a:moveTo>
                <a:pt x="2353831" y="88630"/>
              </a:moveTo>
              <a:arcTo wR="1796518" hR="1796518" stAng="17284343" swAng="512531"/>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60C3DCEE-F136-4943-9423-34ABC7ECBA28}">
      <dsp:nvSpPr>
        <dsp:cNvPr id="0" name=""/>
        <dsp:cNvSpPr/>
      </dsp:nvSpPr>
      <dsp:spPr>
        <a:xfrm>
          <a:off x="3561974" y="247688"/>
          <a:ext cx="948574" cy="948576"/>
        </a:xfrm>
        <a:prstGeom prst="roundRect">
          <a:avLst/>
        </a:prstGeom>
        <a:solidFill>
          <a:srgbClr val="EAEAEA"/>
        </a:solidFill>
        <a:ln w="25400" cap="flat" cmpd="sng" algn="ctr">
          <a:no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sp:txBody>
      <dsp:txXfrm>
        <a:off x="3608280" y="293994"/>
        <a:ext cx="855962" cy="855964"/>
      </dsp:txXfrm>
    </dsp:sp>
    <dsp:sp modelId="{9CAB07AB-CE92-410C-B67B-5C4D8E902D2A}">
      <dsp:nvSpPr>
        <dsp:cNvPr id="0" name=""/>
        <dsp:cNvSpPr/>
      </dsp:nvSpPr>
      <dsp:spPr>
        <a:xfrm>
          <a:off x="1036007" y="271735"/>
          <a:ext cx="3593037" cy="3593037"/>
        </a:xfrm>
        <a:custGeom>
          <a:avLst/>
          <a:gdLst/>
          <a:ahLst/>
          <a:cxnLst/>
          <a:rect l="0" t="0" r="0" b="0"/>
          <a:pathLst>
            <a:path>
              <a:moveTo>
                <a:pt x="3368045" y="926011"/>
              </a:moveTo>
              <a:arcTo wR="1796518" hR="1796518" stAng="19861011" swAng="317906"/>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892BA54-D813-4A68-B3E7-D96A4C75350B}">
      <dsp:nvSpPr>
        <dsp:cNvPr id="0" name=""/>
        <dsp:cNvSpPr/>
      </dsp:nvSpPr>
      <dsp:spPr>
        <a:xfrm>
          <a:off x="4128191" y="1348138"/>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Řízení samospráv</a:t>
          </a:r>
        </a:p>
      </dsp:txBody>
      <dsp:txXfrm>
        <a:off x="4174497" y="1394444"/>
        <a:ext cx="855962" cy="855964"/>
      </dsp:txXfrm>
    </dsp:sp>
    <dsp:sp modelId="{9A59F23A-A123-44F1-AA94-485DEFC35334}">
      <dsp:nvSpPr>
        <dsp:cNvPr id="0" name=""/>
        <dsp:cNvSpPr/>
      </dsp:nvSpPr>
      <dsp:spPr>
        <a:xfrm>
          <a:off x="1004803" y="399983"/>
          <a:ext cx="3593037" cy="3593037"/>
        </a:xfrm>
        <a:custGeom>
          <a:avLst/>
          <a:gdLst/>
          <a:ahLst/>
          <a:cxnLst/>
          <a:rect l="0" t="0" r="0" b="0"/>
          <a:pathLst>
            <a:path>
              <a:moveTo>
                <a:pt x="3590149" y="1898328"/>
              </a:moveTo>
              <a:arcTo wR="1796518" hR="1796518" stAng="194924" swAng="300059"/>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7F0EF2DB-CA93-47D2-9888-0F64D5429897}">
      <dsp:nvSpPr>
        <dsp:cNvPr id="0" name=""/>
        <dsp:cNvSpPr/>
      </dsp:nvSpPr>
      <dsp:spPr>
        <a:xfrm>
          <a:off x="3914789" y="2455862"/>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Motivace k soukromým investicím</a:t>
          </a:r>
        </a:p>
      </dsp:txBody>
      <dsp:txXfrm>
        <a:off x="3961095" y="2502168"/>
        <a:ext cx="855962" cy="855964"/>
      </dsp:txXfrm>
    </dsp:sp>
    <dsp:sp modelId="{5FED0FA7-BC7F-41E0-8CAF-C97921FF36FC}">
      <dsp:nvSpPr>
        <dsp:cNvPr id="0" name=""/>
        <dsp:cNvSpPr/>
      </dsp:nvSpPr>
      <dsp:spPr>
        <a:xfrm>
          <a:off x="1317298" y="40883"/>
          <a:ext cx="3593037" cy="3593037"/>
        </a:xfrm>
        <a:custGeom>
          <a:avLst/>
          <a:gdLst/>
          <a:ahLst/>
          <a:cxnLst/>
          <a:rect l="0" t="0" r="0" b="0"/>
          <a:pathLst>
            <a:path>
              <a:moveTo>
                <a:pt x="2673572" y="3364401"/>
              </a:moveTo>
              <a:arcTo wR="1796518" hR="1796518" stAng="3646674" swAng="324577"/>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D19C0EA-C762-4CE8-913E-EABD0E5484DC}">
      <dsp:nvSpPr>
        <dsp:cNvPr id="0" name=""/>
        <dsp:cNvSpPr/>
      </dsp:nvSpPr>
      <dsp:spPr>
        <a:xfrm>
          <a:off x="2888993" y="3239752"/>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Chytřejší daně</a:t>
          </a:r>
        </a:p>
      </dsp:txBody>
      <dsp:txXfrm>
        <a:off x="2935299" y="3286058"/>
        <a:ext cx="855962" cy="855964"/>
      </dsp:txXfrm>
    </dsp:sp>
    <dsp:sp modelId="{3D6F80AD-6340-4645-9BCC-9CC839122757}">
      <dsp:nvSpPr>
        <dsp:cNvPr id="0" name=""/>
        <dsp:cNvSpPr/>
      </dsp:nvSpPr>
      <dsp:spPr>
        <a:xfrm>
          <a:off x="969386" y="205873"/>
          <a:ext cx="3593037" cy="3593037"/>
        </a:xfrm>
        <a:custGeom>
          <a:avLst/>
          <a:gdLst/>
          <a:ahLst/>
          <a:cxnLst/>
          <a:rect l="0" t="0" r="0" b="0"/>
          <a:pathLst>
            <a:path>
              <a:moveTo>
                <a:pt x="1918554" y="3588887"/>
              </a:moveTo>
              <a:arcTo wR="1796518" hR="1796518" stAng="5166297" swAng="19796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528AFA7E-4BAB-480B-A44C-BB6650F77F5D}">
      <dsp:nvSpPr>
        <dsp:cNvPr id="0" name=""/>
        <dsp:cNvSpPr/>
      </dsp:nvSpPr>
      <dsp:spPr>
        <a:xfrm>
          <a:off x="1834948" y="3245778"/>
          <a:ext cx="948574" cy="948576"/>
        </a:xfrm>
        <a:prstGeom prst="roundRect">
          <a:avLst/>
        </a:prstGeom>
        <a:solidFill>
          <a:srgbClr val="64BCA9"/>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solidFill>
                <a:schemeClr val="bg1">
                  <a:lumMod val="10000"/>
                </a:schemeClr>
              </a:solidFill>
              <a:latin typeface="Fira Sans" panose="020B0503050000020004" pitchFamily="34" charset="0"/>
            </a:rPr>
            <a:t>Podpora vzdělávání</a:t>
          </a:r>
        </a:p>
      </dsp:txBody>
      <dsp:txXfrm>
        <a:off x="1881254" y="3292084"/>
        <a:ext cx="855962" cy="855964"/>
      </dsp:txXfrm>
    </dsp:sp>
    <dsp:sp modelId="{1343E8DF-26C2-49CF-9606-81DA3D5CDE84}">
      <dsp:nvSpPr>
        <dsp:cNvPr id="0" name=""/>
        <dsp:cNvSpPr/>
      </dsp:nvSpPr>
      <dsp:spPr>
        <a:xfrm>
          <a:off x="805504" y="69590"/>
          <a:ext cx="3593037" cy="3593037"/>
        </a:xfrm>
        <a:custGeom>
          <a:avLst/>
          <a:gdLst/>
          <a:ahLst/>
          <a:cxnLst/>
          <a:rect l="0" t="0" r="0" b="0"/>
          <a:pathLst>
            <a:path>
              <a:moveTo>
                <a:pt x="1027794" y="3420261"/>
              </a:moveTo>
              <a:arcTo wR="1796518" hR="1796518" stAng="6920049" swAng="34234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A8AB859-16A8-4B90-86A5-A979887A79EE}">
      <dsp:nvSpPr>
        <dsp:cNvPr id="0" name=""/>
        <dsp:cNvSpPr/>
      </dsp:nvSpPr>
      <dsp:spPr>
        <a:xfrm>
          <a:off x="803127" y="2455862"/>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Omezení šedé ekonomiky</a:t>
          </a:r>
        </a:p>
      </dsp:txBody>
      <dsp:txXfrm>
        <a:off x="849433" y="2502168"/>
        <a:ext cx="855962" cy="855964"/>
      </dsp:txXfrm>
    </dsp:sp>
    <dsp:sp modelId="{8B833E3F-CBA5-496B-A09F-2E54FBEE637D}">
      <dsp:nvSpPr>
        <dsp:cNvPr id="0" name=""/>
        <dsp:cNvSpPr/>
      </dsp:nvSpPr>
      <dsp:spPr>
        <a:xfrm>
          <a:off x="1049505" y="291958"/>
          <a:ext cx="3593037" cy="3593037"/>
        </a:xfrm>
        <a:custGeom>
          <a:avLst/>
          <a:gdLst/>
          <a:ahLst/>
          <a:cxnLst/>
          <a:rect l="0" t="0" r="0" b="0"/>
          <a:pathLst>
            <a:path>
              <a:moveTo>
                <a:pt x="37589" y="2162094"/>
              </a:moveTo>
              <a:arcTo wR="1796518" hR="1796518" stAng="10095527" swAng="346763"/>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2B9AEF2-7358-4ACD-B5D1-32CFCBB75FA8}">
      <dsp:nvSpPr>
        <dsp:cNvPr id="0" name=""/>
        <dsp:cNvSpPr/>
      </dsp:nvSpPr>
      <dsp:spPr>
        <a:xfrm>
          <a:off x="581310" y="1323383"/>
          <a:ext cx="953363" cy="949852"/>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Stabilizující bytová politika</a:t>
          </a:r>
        </a:p>
      </dsp:txBody>
      <dsp:txXfrm>
        <a:off x="627678" y="1369751"/>
        <a:ext cx="860627" cy="857116"/>
      </dsp:txXfrm>
    </dsp:sp>
    <dsp:sp modelId="{2409D813-50DC-430D-9DC4-D4F889473FBF}">
      <dsp:nvSpPr>
        <dsp:cNvPr id="0" name=""/>
        <dsp:cNvSpPr/>
      </dsp:nvSpPr>
      <dsp:spPr>
        <a:xfrm>
          <a:off x="865624" y="554887"/>
          <a:ext cx="3593037" cy="3593037"/>
        </a:xfrm>
        <a:custGeom>
          <a:avLst/>
          <a:gdLst/>
          <a:ahLst/>
          <a:cxnLst/>
          <a:rect l="0" t="0" r="0" b="0"/>
          <a:pathLst>
            <a:path>
              <a:moveTo>
                <a:pt x="324123" y="767182"/>
              </a:moveTo>
              <a:arcTo wR="1796518" hR="1796518" stAng="12897420" swAng="30043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9E632469-FD25-49F8-A3BA-3185905D2710}">
      <dsp:nvSpPr>
        <dsp:cNvPr id="0" name=""/>
        <dsp:cNvSpPr/>
      </dsp:nvSpPr>
      <dsp:spPr>
        <a:xfrm>
          <a:off x="1186086" y="247684"/>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Lepší regionální plánování</a:t>
          </a:r>
        </a:p>
      </dsp:txBody>
      <dsp:txXfrm>
        <a:off x="1232392" y="293990"/>
        <a:ext cx="855962" cy="855964"/>
      </dsp:txXfrm>
    </dsp:sp>
    <dsp:sp modelId="{E93F9C88-6935-4B51-BEC8-146655D1ACB5}">
      <dsp:nvSpPr>
        <dsp:cNvPr id="0" name=""/>
        <dsp:cNvSpPr/>
      </dsp:nvSpPr>
      <dsp:spPr>
        <a:xfrm>
          <a:off x="1308896" y="133498"/>
          <a:ext cx="3593037" cy="3593037"/>
        </a:xfrm>
        <a:custGeom>
          <a:avLst/>
          <a:gdLst/>
          <a:ahLst/>
          <a:cxnLst/>
          <a:rect l="0" t="0" r="0" b="0"/>
          <a:pathLst>
            <a:path>
              <a:moveTo>
                <a:pt x="827449" y="283777"/>
              </a:moveTo>
              <a:arcTo wR="1796518" hR="1796518" stAng="14241371" swAng="37550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6340D-53D1-41C5-8C0B-08EA9545C9CA}">
      <dsp:nvSpPr>
        <dsp:cNvPr id="0" name=""/>
        <dsp:cNvSpPr/>
      </dsp:nvSpPr>
      <dsp:spPr>
        <a:xfrm>
          <a:off x="2308820" y="-232877"/>
          <a:ext cx="100061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Koncentrace EU dotací</a:t>
          </a:r>
        </a:p>
      </dsp:txBody>
      <dsp:txXfrm>
        <a:off x="2355126" y="-186571"/>
        <a:ext cx="908002" cy="855964"/>
      </dsp:txXfrm>
    </dsp:sp>
    <dsp:sp modelId="{E9DE802E-AA1C-47D2-B31C-D706D532217F}">
      <dsp:nvSpPr>
        <dsp:cNvPr id="0" name=""/>
        <dsp:cNvSpPr/>
      </dsp:nvSpPr>
      <dsp:spPr>
        <a:xfrm>
          <a:off x="958200" y="217940"/>
          <a:ext cx="3593037" cy="3593037"/>
        </a:xfrm>
        <a:custGeom>
          <a:avLst/>
          <a:gdLst/>
          <a:ahLst/>
          <a:cxnLst/>
          <a:rect l="0" t="0" r="0" b="0"/>
          <a:pathLst>
            <a:path>
              <a:moveTo>
                <a:pt x="2353831" y="88630"/>
              </a:moveTo>
              <a:arcTo wR="1796518" hR="1796518" stAng="17284343" swAng="512531"/>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60C3DCEE-F136-4943-9423-34ABC7ECBA28}">
      <dsp:nvSpPr>
        <dsp:cNvPr id="0" name=""/>
        <dsp:cNvSpPr/>
      </dsp:nvSpPr>
      <dsp:spPr>
        <a:xfrm>
          <a:off x="3561974" y="247688"/>
          <a:ext cx="948574" cy="948576"/>
        </a:xfrm>
        <a:prstGeom prst="roundRect">
          <a:avLst/>
        </a:prstGeom>
        <a:solidFill>
          <a:srgbClr val="EAEAEA"/>
        </a:solidFill>
        <a:ln w="25400" cap="flat" cmpd="sng" algn="ctr">
          <a:no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cs-CZ" sz="1000" b="0" kern="1200">
              <a:solidFill>
                <a:srgbClr val="F59AFF">
                  <a:lumMod val="10000"/>
                </a:srgbClr>
              </a:solidFill>
              <a:latin typeface="Fira Sans" panose="020B0503050000020004" pitchFamily="34" charset="0"/>
              <a:ea typeface="+mn-ea"/>
              <a:cs typeface="+mn-cs"/>
            </a:rPr>
            <a:t>Reforma RUD</a:t>
          </a:r>
        </a:p>
      </dsp:txBody>
      <dsp:txXfrm>
        <a:off x="3608280" y="293994"/>
        <a:ext cx="855962" cy="855964"/>
      </dsp:txXfrm>
    </dsp:sp>
    <dsp:sp modelId="{9CAB07AB-CE92-410C-B67B-5C4D8E902D2A}">
      <dsp:nvSpPr>
        <dsp:cNvPr id="0" name=""/>
        <dsp:cNvSpPr/>
      </dsp:nvSpPr>
      <dsp:spPr>
        <a:xfrm>
          <a:off x="1036007" y="271735"/>
          <a:ext cx="3593037" cy="3593037"/>
        </a:xfrm>
        <a:custGeom>
          <a:avLst/>
          <a:gdLst/>
          <a:ahLst/>
          <a:cxnLst/>
          <a:rect l="0" t="0" r="0" b="0"/>
          <a:pathLst>
            <a:path>
              <a:moveTo>
                <a:pt x="3368045" y="926011"/>
              </a:moveTo>
              <a:arcTo wR="1796518" hR="1796518" stAng="19861011" swAng="317906"/>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892BA54-D813-4A68-B3E7-D96A4C75350B}">
      <dsp:nvSpPr>
        <dsp:cNvPr id="0" name=""/>
        <dsp:cNvSpPr/>
      </dsp:nvSpPr>
      <dsp:spPr>
        <a:xfrm>
          <a:off x="4128191" y="1348138"/>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Řízení samospráv</a:t>
          </a:r>
        </a:p>
      </dsp:txBody>
      <dsp:txXfrm>
        <a:off x="4174497" y="1394444"/>
        <a:ext cx="855962" cy="855964"/>
      </dsp:txXfrm>
    </dsp:sp>
    <dsp:sp modelId="{9A59F23A-A123-44F1-AA94-485DEFC35334}">
      <dsp:nvSpPr>
        <dsp:cNvPr id="0" name=""/>
        <dsp:cNvSpPr/>
      </dsp:nvSpPr>
      <dsp:spPr>
        <a:xfrm>
          <a:off x="1004803" y="399983"/>
          <a:ext cx="3593037" cy="3593037"/>
        </a:xfrm>
        <a:custGeom>
          <a:avLst/>
          <a:gdLst/>
          <a:ahLst/>
          <a:cxnLst/>
          <a:rect l="0" t="0" r="0" b="0"/>
          <a:pathLst>
            <a:path>
              <a:moveTo>
                <a:pt x="3590149" y="1898328"/>
              </a:moveTo>
              <a:arcTo wR="1796518" hR="1796518" stAng="194924" swAng="300059"/>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7F0EF2DB-CA93-47D2-9888-0F64D5429897}">
      <dsp:nvSpPr>
        <dsp:cNvPr id="0" name=""/>
        <dsp:cNvSpPr/>
      </dsp:nvSpPr>
      <dsp:spPr>
        <a:xfrm>
          <a:off x="3914789" y="2455862"/>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Motivace k soukromým investicím</a:t>
          </a:r>
        </a:p>
      </dsp:txBody>
      <dsp:txXfrm>
        <a:off x="3961095" y="2502168"/>
        <a:ext cx="855962" cy="855964"/>
      </dsp:txXfrm>
    </dsp:sp>
    <dsp:sp modelId="{5FED0FA7-BC7F-41E0-8CAF-C97921FF36FC}">
      <dsp:nvSpPr>
        <dsp:cNvPr id="0" name=""/>
        <dsp:cNvSpPr/>
      </dsp:nvSpPr>
      <dsp:spPr>
        <a:xfrm>
          <a:off x="1317298" y="40883"/>
          <a:ext cx="3593037" cy="3593037"/>
        </a:xfrm>
        <a:custGeom>
          <a:avLst/>
          <a:gdLst/>
          <a:ahLst/>
          <a:cxnLst/>
          <a:rect l="0" t="0" r="0" b="0"/>
          <a:pathLst>
            <a:path>
              <a:moveTo>
                <a:pt x="2673572" y="3364401"/>
              </a:moveTo>
              <a:arcTo wR="1796518" hR="1796518" stAng="3646674" swAng="324577"/>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4D19C0EA-C762-4CE8-913E-EABD0E5484DC}">
      <dsp:nvSpPr>
        <dsp:cNvPr id="0" name=""/>
        <dsp:cNvSpPr/>
      </dsp:nvSpPr>
      <dsp:spPr>
        <a:xfrm>
          <a:off x="2888993" y="3239752"/>
          <a:ext cx="948574" cy="948576"/>
        </a:xfrm>
        <a:prstGeom prst="roundRect">
          <a:avLst/>
        </a:prstGeom>
        <a:solidFill>
          <a:srgbClr val="EAEAEA"/>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0" kern="1200">
              <a:solidFill>
                <a:schemeClr val="bg1">
                  <a:lumMod val="10000"/>
                </a:schemeClr>
              </a:solidFill>
              <a:latin typeface="Fira Sans" panose="020B0503050000020004" pitchFamily="34" charset="0"/>
            </a:rPr>
            <a:t>Chytřejší daně</a:t>
          </a:r>
        </a:p>
      </dsp:txBody>
      <dsp:txXfrm>
        <a:off x="2935299" y="3286058"/>
        <a:ext cx="855962" cy="855964"/>
      </dsp:txXfrm>
    </dsp:sp>
    <dsp:sp modelId="{3D6F80AD-6340-4645-9BCC-9CC839122757}">
      <dsp:nvSpPr>
        <dsp:cNvPr id="0" name=""/>
        <dsp:cNvSpPr/>
      </dsp:nvSpPr>
      <dsp:spPr>
        <a:xfrm>
          <a:off x="969386" y="205873"/>
          <a:ext cx="3593037" cy="3593037"/>
        </a:xfrm>
        <a:custGeom>
          <a:avLst/>
          <a:gdLst/>
          <a:ahLst/>
          <a:cxnLst/>
          <a:rect l="0" t="0" r="0" b="0"/>
          <a:pathLst>
            <a:path>
              <a:moveTo>
                <a:pt x="1918554" y="3588887"/>
              </a:moveTo>
              <a:arcTo wR="1796518" hR="1796518" stAng="5166297" swAng="19796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528AFA7E-4BAB-480B-A44C-BB6650F77F5D}">
      <dsp:nvSpPr>
        <dsp:cNvPr id="0" name=""/>
        <dsp:cNvSpPr/>
      </dsp:nvSpPr>
      <dsp:spPr>
        <a:xfrm>
          <a:off x="1834948" y="3245778"/>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Podpora vzdělávání</a:t>
          </a:r>
        </a:p>
      </dsp:txBody>
      <dsp:txXfrm>
        <a:off x="1881254" y="3292084"/>
        <a:ext cx="855962" cy="855964"/>
      </dsp:txXfrm>
    </dsp:sp>
    <dsp:sp modelId="{1343E8DF-26C2-49CF-9606-81DA3D5CDE84}">
      <dsp:nvSpPr>
        <dsp:cNvPr id="0" name=""/>
        <dsp:cNvSpPr/>
      </dsp:nvSpPr>
      <dsp:spPr>
        <a:xfrm>
          <a:off x="805504" y="69590"/>
          <a:ext cx="3593037" cy="3593037"/>
        </a:xfrm>
        <a:custGeom>
          <a:avLst/>
          <a:gdLst/>
          <a:ahLst/>
          <a:cxnLst/>
          <a:rect l="0" t="0" r="0" b="0"/>
          <a:pathLst>
            <a:path>
              <a:moveTo>
                <a:pt x="1027794" y="3420261"/>
              </a:moveTo>
              <a:arcTo wR="1796518" hR="1796518" stAng="6920049" swAng="342348"/>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A8AB859-16A8-4B90-86A5-A979887A79EE}">
      <dsp:nvSpPr>
        <dsp:cNvPr id="0" name=""/>
        <dsp:cNvSpPr/>
      </dsp:nvSpPr>
      <dsp:spPr>
        <a:xfrm>
          <a:off x="803127" y="2455862"/>
          <a:ext cx="948574" cy="948576"/>
        </a:xfrm>
        <a:prstGeom prst="roundRect">
          <a:avLst/>
        </a:prstGeom>
        <a:solidFill>
          <a:srgbClr val="64BCA9"/>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solidFill>
                <a:schemeClr val="bg1">
                  <a:lumMod val="10000"/>
                </a:schemeClr>
              </a:solidFill>
              <a:latin typeface="Fira Sans" panose="020B0503050000020004" pitchFamily="34" charset="0"/>
            </a:rPr>
            <a:t>Omezení šedé ekonomiky</a:t>
          </a:r>
        </a:p>
      </dsp:txBody>
      <dsp:txXfrm>
        <a:off x="849433" y="2502168"/>
        <a:ext cx="855962" cy="855964"/>
      </dsp:txXfrm>
    </dsp:sp>
    <dsp:sp modelId="{8B833E3F-CBA5-496B-A09F-2E54FBEE637D}">
      <dsp:nvSpPr>
        <dsp:cNvPr id="0" name=""/>
        <dsp:cNvSpPr/>
      </dsp:nvSpPr>
      <dsp:spPr>
        <a:xfrm>
          <a:off x="1049505" y="291958"/>
          <a:ext cx="3593037" cy="3593037"/>
        </a:xfrm>
        <a:custGeom>
          <a:avLst/>
          <a:gdLst/>
          <a:ahLst/>
          <a:cxnLst/>
          <a:rect l="0" t="0" r="0" b="0"/>
          <a:pathLst>
            <a:path>
              <a:moveTo>
                <a:pt x="37589" y="2162094"/>
              </a:moveTo>
              <a:arcTo wR="1796518" hR="1796518" stAng="10095527" swAng="346763"/>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82B9AEF2-7358-4ACD-B5D1-32CFCBB75FA8}">
      <dsp:nvSpPr>
        <dsp:cNvPr id="0" name=""/>
        <dsp:cNvSpPr/>
      </dsp:nvSpPr>
      <dsp:spPr>
        <a:xfrm>
          <a:off x="581310" y="1323383"/>
          <a:ext cx="953363" cy="949852"/>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Stabilizující bytová politika</a:t>
          </a:r>
        </a:p>
      </dsp:txBody>
      <dsp:txXfrm>
        <a:off x="627678" y="1369751"/>
        <a:ext cx="860627" cy="857116"/>
      </dsp:txXfrm>
    </dsp:sp>
    <dsp:sp modelId="{2409D813-50DC-430D-9DC4-D4F889473FBF}">
      <dsp:nvSpPr>
        <dsp:cNvPr id="0" name=""/>
        <dsp:cNvSpPr/>
      </dsp:nvSpPr>
      <dsp:spPr>
        <a:xfrm>
          <a:off x="865624" y="554887"/>
          <a:ext cx="3593037" cy="3593037"/>
        </a:xfrm>
        <a:custGeom>
          <a:avLst/>
          <a:gdLst/>
          <a:ahLst/>
          <a:cxnLst/>
          <a:rect l="0" t="0" r="0" b="0"/>
          <a:pathLst>
            <a:path>
              <a:moveTo>
                <a:pt x="324123" y="767182"/>
              </a:moveTo>
              <a:arcTo wR="1796518" hR="1796518" stAng="12897420" swAng="30043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 modelId="{9E632469-FD25-49F8-A3BA-3185905D2710}">
      <dsp:nvSpPr>
        <dsp:cNvPr id="0" name=""/>
        <dsp:cNvSpPr/>
      </dsp:nvSpPr>
      <dsp:spPr>
        <a:xfrm>
          <a:off x="1186086" y="247684"/>
          <a:ext cx="948574" cy="948576"/>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kern="1200">
              <a:solidFill>
                <a:schemeClr val="bg1">
                  <a:lumMod val="10000"/>
                </a:schemeClr>
              </a:solidFill>
              <a:latin typeface="Fira Sans" panose="020B0503050000020004" pitchFamily="34" charset="0"/>
            </a:rPr>
            <a:t>Lepší regionální plánování</a:t>
          </a:r>
        </a:p>
      </dsp:txBody>
      <dsp:txXfrm>
        <a:off x="1232392" y="293990"/>
        <a:ext cx="855962" cy="855964"/>
      </dsp:txXfrm>
    </dsp:sp>
    <dsp:sp modelId="{E93F9C88-6935-4B51-BEC8-146655D1ACB5}">
      <dsp:nvSpPr>
        <dsp:cNvPr id="0" name=""/>
        <dsp:cNvSpPr/>
      </dsp:nvSpPr>
      <dsp:spPr>
        <a:xfrm>
          <a:off x="1308896" y="133498"/>
          <a:ext cx="3593037" cy="3593037"/>
        </a:xfrm>
        <a:custGeom>
          <a:avLst/>
          <a:gdLst/>
          <a:ahLst/>
          <a:cxnLst/>
          <a:rect l="0" t="0" r="0" b="0"/>
          <a:pathLst>
            <a:path>
              <a:moveTo>
                <a:pt x="827449" y="283777"/>
              </a:moveTo>
              <a:arcTo wR="1796518" hR="1796518" stAng="14241371" swAng="375500"/>
            </a:path>
          </a:pathLst>
        </a:custGeom>
        <a:noFill/>
        <a:ln w="9525" cap="flat" cmpd="sng" algn="ctr">
          <a:solidFill>
            <a:schemeClr val="accent2"/>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2" y="2"/>
            <a:ext cx="2919748" cy="2983089"/>
          </a:xfrm>
          <a:prstGeom prst="rect">
            <a:avLst/>
          </a:prstGeom>
        </p:spPr>
        <p:txBody>
          <a:bodyPr vert="horz" lIns="179588" tIns="89794" rIns="179588" bIns="89794" rtlCol="0"/>
          <a:lstStyle>
            <a:lvl1pPr algn="l">
              <a:defRPr sz="2400"/>
            </a:lvl1pPr>
          </a:lstStyle>
          <a:p>
            <a:endParaRPr lang="cs-CZ"/>
          </a:p>
        </p:txBody>
      </p:sp>
      <p:sp>
        <p:nvSpPr>
          <p:cNvPr id="3" name="Zástupný symbol pro datum 2"/>
          <p:cNvSpPr>
            <a:spLocks noGrp="1"/>
          </p:cNvSpPr>
          <p:nvPr>
            <p:ph type="dt" sz="quarter" idx="1"/>
          </p:nvPr>
        </p:nvSpPr>
        <p:spPr>
          <a:xfrm>
            <a:off x="3816574" y="2"/>
            <a:ext cx="2919748" cy="2983089"/>
          </a:xfrm>
          <a:prstGeom prst="rect">
            <a:avLst/>
          </a:prstGeom>
        </p:spPr>
        <p:txBody>
          <a:bodyPr vert="horz" lIns="179588" tIns="89794" rIns="179588" bIns="89794" rtlCol="0"/>
          <a:lstStyle>
            <a:lvl1pPr algn="r">
              <a:defRPr sz="2400"/>
            </a:lvl1pPr>
          </a:lstStyle>
          <a:p>
            <a:fld id="{C070CB32-B8B9-4B99-9D27-6245FF352183}" type="datetimeFigureOut">
              <a:rPr lang="cs-CZ" smtClean="0"/>
              <a:t>15.09.2025</a:t>
            </a:fld>
            <a:endParaRPr lang="cs-CZ"/>
          </a:p>
        </p:txBody>
      </p:sp>
      <p:sp>
        <p:nvSpPr>
          <p:cNvPr id="4" name="Zástupný symbol pro zápatí 3"/>
          <p:cNvSpPr>
            <a:spLocks noGrp="1"/>
          </p:cNvSpPr>
          <p:nvPr>
            <p:ph type="ftr" sz="quarter" idx="2"/>
          </p:nvPr>
        </p:nvSpPr>
        <p:spPr>
          <a:xfrm>
            <a:off x="2" y="56472168"/>
            <a:ext cx="2919748" cy="2983083"/>
          </a:xfrm>
          <a:prstGeom prst="rect">
            <a:avLst/>
          </a:prstGeom>
        </p:spPr>
        <p:txBody>
          <a:bodyPr vert="horz" lIns="179588" tIns="89794" rIns="179588" bIns="89794" rtlCol="0" anchor="b"/>
          <a:lstStyle>
            <a:lvl1pPr algn="l">
              <a:defRPr sz="2400"/>
            </a:lvl1pPr>
          </a:lstStyle>
          <a:p>
            <a:endParaRPr lang="cs-CZ"/>
          </a:p>
        </p:txBody>
      </p:sp>
      <p:sp>
        <p:nvSpPr>
          <p:cNvPr id="5" name="Zástupný symbol pro číslo snímku 4"/>
          <p:cNvSpPr>
            <a:spLocks noGrp="1"/>
          </p:cNvSpPr>
          <p:nvPr>
            <p:ph type="sldNum" sz="quarter" idx="3"/>
          </p:nvPr>
        </p:nvSpPr>
        <p:spPr>
          <a:xfrm>
            <a:off x="3816574" y="56472168"/>
            <a:ext cx="2919748" cy="2983083"/>
          </a:xfrm>
          <a:prstGeom prst="rect">
            <a:avLst/>
          </a:prstGeom>
        </p:spPr>
        <p:txBody>
          <a:bodyPr vert="horz" lIns="179588" tIns="89794" rIns="179588" bIns="89794" rtlCol="0" anchor="b"/>
          <a:lstStyle>
            <a:lvl1pPr algn="r">
              <a:defRPr sz="2400"/>
            </a:lvl1pPr>
          </a:lstStyle>
          <a:p>
            <a:fld id="{76CEC3D9-4168-4690-BAB1-41C74C090117}" type="slidenum">
              <a:rPr lang="cs-CZ" smtClean="0"/>
              <a:t>‹#›</a:t>
            </a:fld>
            <a:endParaRPr lang="cs-CZ"/>
          </a:p>
        </p:txBody>
      </p:sp>
    </p:spTree>
    <p:extLst>
      <p:ext uri="{BB962C8B-B14F-4D97-AF65-F5344CB8AC3E}">
        <p14:creationId xmlns:p14="http://schemas.microsoft.com/office/powerpoint/2010/main" val="41115125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61354" y="1"/>
            <a:ext cx="2919748" cy="470815"/>
          </a:xfrm>
          <a:prstGeom prst="rect">
            <a:avLst/>
          </a:prstGeom>
        </p:spPr>
        <p:txBody>
          <a:bodyPr vert="horz" lIns="179588" tIns="89794" rIns="179588" bIns="89794" rtlCol="0"/>
          <a:lstStyle>
            <a:lvl1pPr algn="l">
              <a:defRPr sz="2400"/>
            </a:lvl1pPr>
          </a:lstStyle>
          <a:p>
            <a:endParaRPr lang="cs-CZ"/>
          </a:p>
        </p:txBody>
      </p:sp>
      <p:sp>
        <p:nvSpPr>
          <p:cNvPr id="3" name="Zástupný symbol pro datum 2"/>
          <p:cNvSpPr>
            <a:spLocks noGrp="1"/>
          </p:cNvSpPr>
          <p:nvPr>
            <p:ph type="dt" idx="1"/>
          </p:nvPr>
        </p:nvSpPr>
        <p:spPr>
          <a:xfrm>
            <a:off x="3816574" y="3"/>
            <a:ext cx="2919748" cy="470814"/>
          </a:xfrm>
          <a:prstGeom prst="rect">
            <a:avLst/>
          </a:prstGeom>
        </p:spPr>
        <p:txBody>
          <a:bodyPr vert="horz" lIns="179588" tIns="89794" rIns="179588" bIns="89794" rtlCol="0"/>
          <a:lstStyle>
            <a:lvl1pPr algn="r">
              <a:defRPr sz="2400"/>
            </a:lvl1pPr>
          </a:lstStyle>
          <a:p>
            <a:fld id="{57605558-CA49-4C57-A7DA-C61CC902B740}" type="datetimeFigureOut">
              <a:rPr lang="cs-CZ" smtClean="0"/>
              <a:t>15.09.2025</a:t>
            </a:fld>
            <a:endParaRPr lang="cs-CZ"/>
          </a:p>
        </p:txBody>
      </p:sp>
      <p:sp>
        <p:nvSpPr>
          <p:cNvPr id="4" name="Zástupný symbol pro obrázek snímku 3"/>
          <p:cNvSpPr>
            <a:spLocks noGrp="1" noRot="1" noChangeAspect="1"/>
          </p:cNvSpPr>
          <p:nvPr>
            <p:ph type="sldImg" idx="2"/>
          </p:nvPr>
        </p:nvSpPr>
        <p:spPr>
          <a:xfrm>
            <a:off x="684213" y="646113"/>
            <a:ext cx="5381625" cy="3725862"/>
          </a:xfrm>
          <a:prstGeom prst="rect">
            <a:avLst/>
          </a:prstGeom>
          <a:noFill/>
          <a:ln w="12700">
            <a:solidFill>
              <a:prstClr val="black"/>
            </a:solidFill>
          </a:ln>
        </p:spPr>
        <p:txBody>
          <a:bodyPr vert="horz" lIns="179588" tIns="89794" rIns="179588" bIns="89794" rtlCol="0" anchor="ctr"/>
          <a:lstStyle/>
          <a:p>
            <a:endParaRPr lang="cs-CZ"/>
          </a:p>
        </p:txBody>
      </p:sp>
      <p:sp>
        <p:nvSpPr>
          <p:cNvPr id="6" name="Zástupný symbol pro zápatí 5"/>
          <p:cNvSpPr>
            <a:spLocks noGrp="1"/>
          </p:cNvSpPr>
          <p:nvPr>
            <p:ph type="ftr" sz="quarter" idx="4"/>
          </p:nvPr>
        </p:nvSpPr>
        <p:spPr>
          <a:xfrm>
            <a:off x="2" y="56472168"/>
            <a:ext cx="2919748" cy="2983083"/>
          </a:xfrm>
          <a:prstGeom prst="rect">
            <a:avLst/>
          </a:prstGeom>
        </p:spPr>
        <p:txBody>
          <a:bodyPr vert="horz" lIns="179588" tIns="89794" rIns="179588" bIns="89794" rtlCol="0" anchor="b"/>
          <a:lstStyle>
            <a:lvl1pPr algn="l">
              <a:defRPr sz="2400"/>
            </a:lvl1pPr>
          </a:lstStyle>
          <a:p>
            <a:endParaRPr lang="cs-CZ"/>
          </a:p>
        </p:txBody>
      </p:sp>
      <p:sp>
        <p:nvSpPr>
          <p:cNvPr id="7" name="Zástupný symbol pro číslo snímku 6"/>
          <p:cNvSpPr>
            <a:spLocks noGrp="1"/>
          </p:cNvSpPr>
          <p:nvPr>
            <p:ph type="sldNum" sz="quarter" idx="5"/>
          </p:nvPr>
        </p:nvSpPr>
        <p:spPr>
          <a:xfrm>
            <a:off x="3816574" y="56472168"/>
            <a:ext cx="2919748" cy="2983083"/>
          </a:xfrm>
          <a:prstGeom prst="rect">
            <a:avLst/>
          </a:prstGeom>
        </p:spPr>
        <p:txBody>
          <a:bodyPr vert="horz" lIns="179588" tIns="89794" rIns="179588" bIns="89794" rtlCol="0" anchor="b"/>
          <a:lstStyle>
            <a:lvl1pPr algn="r">
              <a:defRPr sz="2400"/>
            </a:lvl1pPr>
          </a:lstStyle>
          <a:p>
            <a:fld id="{3499E54A-1AF1-4500-BC1C-579C8999CFFB}" type="slidenum">
              <a:rPr lang="cs-CZ" smtClean="0"/>
              <a:t>‹#›</a:t>
            </a:fld>
            <a:endParaRPr lang="cs-CZ"/>
          </a:p>
        </p:txBody>
      </p:sp>
      <p:sp>
        <p:nvSpPr>
          <p:cNvPr id="8" name="Zástupný symbol pro poznámky 7">
            <a:extLst>
              <a:ext uri="{FF2B5EF4-FFF2-40B4-BE49-F238E27FC236}">
                <a16:creationId xmlns:a16="http://schemas.microsoft.com/office/drawing/2014/main" id="{6A4D442C-40FD-4540-ADC0-43BB74F11014}"/>
              </a:ext>
            </a:extLst>
          </p:cNvPr>
          <p:cNvSpPr>
            <a:spLocks noGrp="1"/>
          </p:cNvSpPr>
          <p:nvPr>
            <p:ph type="body" sz="quarter" idx="3"/>
          </p:nvPr>
        </p:nvSpPr>
        <p:spPr>
          <a:xfrm>
            <a:off x="679451" y="4776789"/>
            <a:ext cx="5438775" cy="3908425"/>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3990479879"/>
      </p:ext>
    </p:extLst>
  </p:cSld>
  <p:clrMap bg1="lt1" tx1="dk1" bg2="lt2" tx2="dk2" accent1="accent1" accent2="accent2" accent3="accent3" accent4="accent4" accent5="accent5" accent6="accent6" hlink="hlink" folHlink="folHlink"/>
  <p:notesStyle>
    <a:lvl1pPr marL="0" algn="l" defTabSz="797814" rtl="0" eaLnBrk="1" latinLnBrk="0" hangingPunct="1">
      <a:defRPr sz="873" kern="1200">
        <a:solidFill>
          <a:schemeClr val="tx1"/>
        </a:solidFill>
        <a:latin typeface="+mn-lt"/>
        <a:ea typeface="+mn-ea"/>
        <a:cs typeface="+mn-cs"/>
      </a:defRPr>
    </a:lvl1pPr>
    <a:lvl2pPr marL="398907" algn="l" defTabSz="797814" rtl="0" eaLnBrk="1" latinLnBrk="0" hangingPunct="1">
      <a:defRPr sz="873" kern="1200">
        <a:solidFill>
          <a:schemeClr val="tx1"/>
        </a:solidFill>
        <a:latin typeface="+mn-lt"/>
        <a:ea typeface="+mn-ea"/>
        <a:cs typeface="+mn-cs"/>
      </a:defRPr>
    </a:lvl2pPr>
    <a:lvl3pPr marL="797814" algn="l" defTabSz="797814" rtl="0" eaLnBrk="1" latinLnBrk="0" hangingPunct="1">
      <a:defRPr sz="873" kern="1200">
        <a:solidFill>
          <a:schemeClr val="tx1"/>
        </a:solidFill>
        <a:latin typeface="+mn-lt"/>
        <a:ea typeface="+mn-ea"/>
        <a:cs typeface="+mn-cs"/>
      </a:defRPr>
    </a:lvl3pPr>
    <a:lvl4pPr marL="1196721" algn="l" defTabSz="797814" rtl="0" eaLnBrk="1" latinLnBrk="0" hangingPunct="1">
      <a:defRPr sz="873" kern="1200">
        <a:solidFill>
          <a:schemeClr val="tx1"/>
        </a:solidFill>
        <a:latin typeface="+mn-lt"/>
        <a:ea typeface="+mn-ea"/>
        <a:cs typeface="+mn-cs"/>
      </a:defRPr>
    </a:lvl4pPr>
    <a:lvl5pPr marL="1595628" algn="l" defTabSz="797814" rtl="0" eaLnBrk="1" latinLnBrk="0" hangingPunct="1">
      <a:defRPr sz="873" kern="1200">
        <a:solidFill>
          <a:schemeClr val="tx1"/>
        </a:solidFill>
        <a:latin typeface="+mn-lt"/>
        <a:ea typeface="+mn-ea"/>
        <a:cs typeface="+mn-cs"/>
      </a:defRPr>
    </a:lvl5pPr>
    <a:lvl6pPr marL="1994535" algn="l" defTabSz="797814" rtl="0" eaLnBrk="1" latinLnBrk="0" hangingPunct="1">
      <a:defRPr sz="1047" kern="1200">
        <a:solidFill>
          <a:schemeClr val="tx1"/>
        </a:solidFill>
        <a:latin typeface="+mn-lt"/>
        <a:ea typeface="+mn-ea"/>
        <a:cs typeface="+mn-cs"/>
      </a:defRPr>
    </a:lvl6pPr>
    <a:lvl7pPr marL="2393442" algn="l" defTabSz="797814" rtl="0" eaLnBrk="1" latinLnBrk="0" hangingPunct="1">
      <a:defRPr sz="1047" kern="1200">
        <a:solidFill>
          <a:schemeClr val="tx1"/>
        </a:solidFill>
        <a:latin typeface="+mn-lt"/>
        <a:ea typeface="+mn-ea"/>
        <a:cs typeface="+mn-cs"/>
      </a:defRPr>
    </a:lvl7pPr>
    <a:lvl8pPr marL="2792349" algn="l" defTabSz="797814" rtl="0" eaLnBrk="1" latinLnBrk="0" hangingPunct="1">
      <a:defRPr sz="1047" kern="1200">
        <a:solidFill>
          <a:schemeClr val="tx1"/>
        </a:solidFill>
        <a:latin typeface="+mn-lt"/>
        <a:ea typeface="+mn-ea"/>
        <a:cs typeface="+mn-cs"/>
      </a:defRPr>
    </a:lvl8pPr>
    <a:lvl9pPr marL="3191256" algn="l" defTabSz="797814" rtl="0" eaLnBrk="1" latinLnBrk="0" hangingPunct="1">
      <a:defRPr sz="104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algn="l">
              <a:spcBef>
                <a:spcPts val="1200"/>
              </a:spcBef>
              <a:spcAft>
                <a:spcPts val="1200"/>
              </a:spcAft>
            </a:pPr>
            <a:endParaRPr lang="cs-CZ" sz="1300">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Zástupný symbol pro číslo snímku 3"/>
          <p:cNvSpPr>
            <a:spLocks noGrp="1"/>
          </p:cNvSpPr>
          <p:nvPr>
            <p:ph type="sldNum" sz="quarter" idx="5"/>
          </p:nvPr>
        </p:nvSpPr>
        <p:spPr/>
        <p:txBody>
          <a:bodyPr/>
          <a:lstStyle/>
          <a:p>
            <a:fld id="{2A477F0F-9C0A-45F8-A7AE-EABCF9118898}" type="slidenum">
              <a:rPr lang="cs-CZ" smtClean="0"/>
              <a:pPr/>
              <a:t>1</a:t>
            </a:fld>
            <a:endParaRPr lang="cs-CZ"/>
          </a:p>
        </p:txBody>
      </p:sp>
    </p:spTree>
    <p:extLst>
      <p:ext uri="{BB962C8B-B14F-4D97-AF65-F5344CB8AC3E}">
        <p14:creationId xmlns:p14="http://schemas.microsoft.com/office/powerpoint/2010/main" val="23383857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839D4-0ADF-2C34-F16B-720352B24BC0}"/>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B26465B7-B9C8-6663-5A52-F02C29F982B1}"/>
              </a:ext>
            </a:extLst>
          </p:cNvPr>
          <p:cNvSpPr>
            <a:spLocks noGrp="1" noRot="1" noChangeAspect="1"/>
          </p:cNvSpPr>
          <p:nvPr>
            <p:ph type="sldImg"/>
          </p:nvPr>
        </p:nvSpPr>
        <p:spPr>
          <a:xfrm>
            <a:off x="3308350" y="850900"/>
            <a:ext cx="3309938" cy="2292350"/>
          </a:xfrm>
        </p:spPr>
      </p:sp>
      <p:sp>
        <p:nvSpPr>
          <p:cNvPr id="3" name="Zástupný symbol pro poznámky 2">
            <a:extLst>
              <a:ext uri="{FF2B5EF4-FFF2-40B4-BE49-F238E27FC236}">
                <a16:creationId xmlns:a16="http://schemas.microsoft.com/office/drawing/2014/main" id="{408623B0-4B1B-3C54-F234-29EC7443865F}"/>
              </a:ext>
            </a:extLst>
          </p:cNvPr>
          <p:cNvSpPr>
            <a:spLocks noGrp="1"/>
          </p:cNvSpPr>
          <p:nvPr>
            <p:ph type="body" idx="1"/>
          </p:nvPr>
        </p:nvSpPr>
        <p:spPr/>
        <p:txBody>
          <a:bodyPr/>
          <a:lstStyle/>
          <a:p>
            <a:pPr marL="171450" indent="-171450">
              <a:buFont typeface="Arial" panose="020B0604020202020204" pitchFamily="34" charset="0"/>
              <a:buChar char="•"/>
            </a:pPr>
            <a:r>
              <a:rPr lang="cs-CZ" sz="1000" kern="1200">
                <a:solidFill>
                  <a:schemeClr val="tx1"/>
                </a:solidFill>
                <a:effectLst/>
                <a:latin typeface="+mn-lt"/>
                <a:ea typeface="+mn-ea"/>
                <a:cs typeface="+mn-cs"/>
              </a:rPr>
              <a:t>Pro Českou republiku je připravené obálka ve výši </a:t>
            </a:r>
            <a:r>
              <a:rPr lang="cs-CZ" sz="1000" b="1" kern="1200">
                <a:solidFill>
                  <a:schemeClr val="tx1"/>
                </a:solidFill>
                <a:effectLst/>
                <a:latin typeface="+mn-lt"/>
                <a:ea typeface="+mn-ea"/>
                <a:cs typeface="+mn-cs"/>
              </a:rPr>
              <a:t>29,4 mld. EUR</a:t>
            </a:r>
            <a:r>
              <a:rPr lang="cs-CZ" sz="1000" kern="1200">
                <a:solidFill>
                  <a:schemeClr val="tx1"/>
                </a:solidFill>
                <a:effectLst/>
                <a:latin typeface="+mn-lt"/>
                <a:ea typeface="+mn-ea"/>
                <a:cs typeface="+mn-cs"/>
              </a:rPr>
              <a:t>, za podmínky, že objem víceletého finančního rámce bude ve výši </a:t>
            </a:r>
            <a:r>
              <a:rPr lang="cs-CZ" sz="1000" b="1" kern="1200">
                <a:solidFill>
                  <a:schemeClr val="tx1"/>
                </a:solidFill>
                <a:effectLst/>
                <a:latin typeface="+mn-lt"/>
                <a:ea typeface="+mn-ea"/>
                <a:cs typeface="+mn-cs"/>
              </a:rPr>
              <a:t>1,26 % HND</a:t>
            </a:r>
            <a:r>
              <a:rPr lang="cs-CZ" sz="1000" b="1"/>
              <a:t> (hrubý národní důchod)</a:t>
            </a:r>
            <a:r>
              <a:rPr lang="cs-CZ" sz="1000"/>
              <a:t>.</a:t>
            </a:r>
            <a:r>
              <a:rPr lang="cs-CZ" sz="1000" kern="1200">
                <a:solidFill>
                  <a:schemeClr val="tx1"/>
                </a:solidFill>
                <a:effectLst/>
                <a:latin typeface="+mn-lt"/>
                <a:ea typeface="+mn-ea"/>
                <a:cs typeface="+mn-cs"/>
              </a:rPr>
              <a:t> Konečná podoba a výše VFR může ovlivnit také alokaci pro ČR. </a:t>
            </a:r>
          </a:p>
          <a:p>
            <a:pPr marL="171450" lvl="0" indent="-171450">
              <a:buFont typeface="Arial" panose="020B0604020202020204" pitchFamily="34" charset="0"/>
              <a:buChar char="•"/>
            </a:pPr>
            <a:r>
              <a:rPr lang="cs-CZ" sz="1000" kern="1200">
                <a:solidFill>
                  <a:schemeClr val="tx1"/>
                </a:solidFill>
                <a:effectLst/>
                <a:latin typeface="+mn-lt"/>
                <a:ea typeface="+mn-ea"/>
                <a:cs typeface="+mn-cs"/>
              </a:rPr>
              <a:t>V rámci nařízení, příp. jeho přílohách jsou pro některé oblasti stanové konkrétní částky a procenta: pro sociální cíle 14 % alokace, pro klimatické a environmentální cíle 43 %, pro </a:t>
            </a:r>
            <a:r>
              <a:rPr lang="cs-CZ" sz="1000" kern="1200" err="1">
                <a:solidFill>
                  <a:schemeClr val="tx1"/>
                </a:solidFill>
                <a:effectLst/>
                <a:latin typeface="+mn-lt"/>
                <a:ea typeface="+mn-ea"/>
                <a:cs typeface="+mn-cs"/>
              </a:rPr>
              <a:t>Interreg</a:t>
            </a:r>
            <a:r>
              <a:rPr lang="cs-CZ" sz="1000" kern="1200">
                <a:solidFill>
                  <a:schemeClr val="tx1"/>
                </a:solidFill>
                <a:effectLst/>
                <a:latin typeface="+mn-lt"/>
                <a:ea typeface="+mn-ea"/>
                <a:cs typeface="+mn-cs"/>
              </a:rPr>
              <a:t> 0,37 mld. EUR; dále je stanovena částka 7,3 mld. EUR pro méně rozvinuté regiony, 0,6 mld. EUR pro vnitřní záležitosti a 1,2 mld. EUR pro sociálně klimatický fond, z návrhu lze také odvodit, že na podporu příjmů zemědělců/rybářů bude vyčleněno cca 7 mld. EUR (jedná se o odhad </a:t>
            </a:r>
            <a:r>
              <a:rPr lang="cs-CZ" sz="1000" kern="1200" err="1">
                <a:solidFill>
                  <a:schemeClr val="tx1"/>
                </a:solidFill>
                <a:effectLst/>
                <a:latin typeface="+mn-lt"/>
                <a:ea typeface="+mn-ea"/>
                <a:cs typeface="+mn-cs"/>
              </a:rPr>
              <a:t>Mze</a:t>
            </a:r>
            <a:r>
              <a:rPr lang="cs-CZ" sz="1000" kern="1200">
                <a:solidFill>
                  <a:schemeClr val="tx1"/>
                </a:solidFill>
                <a:effectLst/>
                <a:latin typeface="+mn-lt"/>
                <a:ea typeface="+mn-ea"/>
                <a:cs typeface="+mn-cs"/>
              </a:rPr>
              <a:t>).</a:t>
            </a:r>
            <a:endParaRPr lang="cs-CZ" sz="1000" kern="1200">
              <a:solidFill>
                <a:schemeClr val="tx1"/>
              </a:solidFill>
              <a:effectLst/>
              <a:latin typeface="+mn-lt"/>
              <a:ea typeface="Calibri"/>
              <a:cs typeface="Calibri"/>
            </a:endParaRPr>
          </a:p>
          <a:p>
            <a:pPr marL="171450" lvl="0" indent="-171450">
              <a:buFont typeface="Arial" panose="020B0604020202020204" pitchFamily="34" charset="0"/>
              <a:buChar char="•"/>
            </a:pPr>
            <a:endParaRPr lang="cs-CZ"/>
          </a:p>
        </p:txBody>
      </p:sp>
      <p:sp>
        <p:nvSpPr>
          <p:cNvPr id="4" name="Zástupný symbol pro číslo snímku 3">
            <a:extLst>
              <a:ext uri="{FF2B5EF4-FFF2-40B4-BE49-F238E27FC236}">
                <a16:creationId xmlns:a16="http://schemas.microsoft.com/office/drawing/2014/main" id="{7BB57755-7436-7172-0034-1A9B8E4DBBE8}"/>
              </a:ext>
            </a:extLst>
          </p:cNvPr>
          <p:cNvSpPr>
            <a:spLocks noGrp="1"/>
          </p:cNvSpPr>
          <p:nvPr>
            <p:ph type="sldNum" sz="quarter" idx="5"/>
          </p:nvPr>
        </p:nvSpPr>
        <p:spPr/>
        <p:txBody>
          <a:bodyPr/>
          <a:lstStyle/>
          <a:p>
            <a:fld id="{724D1ADD-8033-48EF-ADA3-7BDFB5868CC3}" type="slidenum">
              <a:rPr lang="cs-CZ" smtClean="0"/>
              <a:t>23</a:t>
            </a:fld>
            <a:endParaRPr lang="cs-CZ"/>
          </a:p>
        </p:txBody>
      </p:sp>
    </p:spTree>
    <p:extLst>
      <p:ext uri="{BB962C8B-B14F-4D97-AF65-F5344CB8AC3E}">
        <p14:creationId xmlns:p14="http://schemas.microsoft.com/office/powerpoint/2010/main" val="8503084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AE5264-F226-37C4-6274-6295142279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1737D9-92EC-760A-EA94-EDB3164150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29BDE8-DE56-FC18-CD62-85A4D5D2405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8F53B4C-C572-709E-5756-4C9CDD083580}"/>
              </a:ext>
            </a:extLst>
          </p:cNvPr>
          <p:cNvSpPr>
            <a:spLocks noGrp="1"/>
          </p:cNvSpPr>
          <p:nvPr>
            <p:ph type="sldNum" sz="quarter" idx="5"/>
          </p:nvPr>
        </p:nvSpPr>
        <p:spPr/>
        <p:txBody>
          <a:bodyPr/>
          <a:lstStyle/>
          <a:p>
            <a:fld id="{724D1ADD-8033-48EF-ADA3-7BDFB5868CC3}" type="slidenum">
              <a:rPr lang="en-US"/>
              <a:t>24</a:t>
            </a:fld>
            <a:endParaRPr lang="en-US"/>
          </a:p>
        </p:txBody>
      </p:sp>
    </p:spTree>
    <p:extLst>
      <p:ext uri="{BB962C8B-B14F-4D97-AF65-F5344CB8AC3E}">
        <p14:creationId xmlns:p14="http://schemas.microsoft.com/office/powerpoint/2010/main" val="331802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9488" y="247650"/>
            <a:ext cx="4838700" cy="3349625"/>
          </a:xfrm>
        </p:spPr>
      </p:sp>
      <p:sp>
        <p:nvSpPr>
          <p:cNvPr id="3" name="Notes Placeholder 2"/>
          <p:cNvSpPr>
            <a:spLocks noGrp="1"/>
          </p:cNvSpPr>
          <p:nvPr>
            <p:ph type="body" idx="1"/>
          </p:nvPr>
        </p:nvSpPr>
        <p:spPr>
          <a:xfrm>
            <a:off x="492125" y="3730172"/>
            <a:ext cx="5813425" cy="5698412"/>
          </a:xfrm>
        </p:spPr>
        <p:txBody>
          <a:bodyPr/>
          <a:lstStyle/>
          <a:p>
            <a:pPr algn="just">
              <a:spcBef>
                <a:spcPts val="0"/>
              </a:spcBef>
              <a:spcAft>
                <a:spcPts val="0"/>
              </a:spcAft>
            </a:pPr>
            <a:r>
              <a:rPr lang="cs-CZ" sz="1000">
                <a:latin typeface="+mn-lt"/>
                <a:cs typeface="Arial" panose="020B0604020202020204" pitchFamily="34" charset="0"/>
              </a:rPr>
              <a:t>Oceňujeme úsilí Komise o vytvoření integrovaného a zjednodušeného rámce pro čerpání evropských fondů v období 2028–2034. Ve srovnání se současným obdobím se jedná o zcela nový koncept a strukturu fondů a předpisů.</a:t>
            </a:r>
          </a:p>
          <a:p>
            <a:pPr algn="just">
              <a:spcBef>
                <a:spcPts val="0"/>
              </a:spcBef>
              <a:spcAft>
                <a:spcPts val="0"/>
              </a:spcAft>
            </a:pPr>
            <a:endParaRPr lang="cs-CZ" sz="1000">
              <a:latin typeface="+mn-lt"/>
              <a:cs typeface="Arial" panose="020B0604020202020204" pitchFamily="34" charset="0"/>
            </a:endParaRPr>
          </a:p>
          <a:p>
            <a:pPr algn="just">
              <a:spcBef>
                <a:spcPts val="0"/>
              </a:spcBef>
              <a:spcAft>
                <a:spcPts val="0"/>
              </a:spcAft>
            </a:pPr>
            <a:r>
              <a:rPr lang="cs-CZ" sz="1000" b="1">
                <a:latin typeface="+mn-lt"/>
                <a:cs typeface="Arial" panose="020B0604020202020204" pitchFamily="34" charset="0"/>
              </a:rPr>
              <a:t>Rozvolnění tematické koncentrace a základních podmínek</a:t>
            </a:r>
          </a:p>
          <a:p>
            <a:pPr algn="just">
              <a:spcBef>
                <a:spcPts val="0"/>
              </a:spcBef>
              <a:spcAft>
                <a:spcPts val="0"/>
              </a:spcAft>
            </a:pPr>
            <a:r>
              <a:rPr lang="cs-CZ" sz="1000">
                <a:latin typeface="+mn-lt"/>
                <a:cs typeface="Arial" panose="020B0604020202020204" pitchFamily="34" charset="0"/>
              </a:rPr>
              <a:t>Vítáme opuštění koncepce tematické koncentrace (nyní je navrhováno pouze procento pro klimatické a sociální cíle) a základních podmínek. Jedná se o velkou flexibilitu, kterou jsme požadovali. </a:t>
            </a:r>
          </a:p>
          <a:p>
            <a:pPr algn="just">
              <a:spcBef>
                <a:spcPts val="0"/>
              </a:spcBef>
              <a:spcAft>
                <a:spcPts val="0"/>
              </a:spcAft>
            </a:pPr>
            <a:endParaRPr lang="cs-CZ" sz="1000">
              <a:latin typeface="+mn-lt"/>
              <a:cs typeface="Arial" panose="020B0604020202020204" pitchFamily="34" charset="0"/>
            </a:endParaRPr>
          </a:p>
          <a:p>
            <a:pPr algn="just">
              <a:spcBef>
                <a:spcPts val="0"/>
              </a:spcBef>
              <a:spcAft>
                <a:spcPts val="0"/>
              </a:spcAft>
            </a:pPr>
            <a:r>
              <a:rPr lang="cs-CZ" sz="1000" b="1">
                <a:latin typeface="+mn-lt"/>
                <a:cs typeface="Arial" panose="020B0604020202020204" pitchFamily="34" charset="0"/>
              </a:rPr>
              <a:t>Investice a reformy v jednom plánu</a:t>
            </a:r>
          </a:p>
          <a:p>
            <a:pPr algn="just">
              <a:spcBef>
                <a:spcPts val="0"/>
              </a:spcBef>
              <a:spcAft>
                <a:spcPts val="0"/>
              </a:spcAft>
            </a:pPr>
            <a:r>
              <a:rPr lang="cs-CZ" sz="1000">
                <a:latin typeface="+mn-lt"/>
                <a:cs typeface="Arial" panose="020B0604020202020204" pitchFamily="34" charset="0"/>
              </a:rPr>
              <a:t>Vítáme, že je možné podporovat investice a reformy v jedné strategii. Prostřednictvím investic a reforem přizpůsobených národním a regionálním výzvám mohou plány snížit regionální rozdíly, podpořit odolné, konkurenceschopné a udržitelné zemědělské odvětví EU, investovat do lidí a posílit bezpečnost.</a:t>
            </a:r>
          </a:p>
          <a:p>
            <a:pPr algn="just">
              <a:spcBef>
                <a:spcPts val="0"/>
              </a:spcBef>
              <a:spcAft>
                <a:spcPts val="0"/>
              </a:spcAft>
            </a:pPr>
            <a:endParaRPr lang="cs-CZ" sz="1000">
              <a:latin typeface="+mn-lt"/>
              <a:cs typeface="Arial" panose="020B0604020202020204" pitchFamily="34" charset="0"/>
            </a:endParaRPr>
          </a:p>
          <a:p>
            <a:pPr algn="just">
              <a:spcBef>
                <a:spcPts val="0"/>
              </a:spcBef>
              <a:spcAft>
                <a:spcPts val="0"/>
              </a:spcAft>
            </a:pPr>
            <a:r>
              <a:rPr lang="cs-CZ" sz="1000" b="1">
                <a:latin typeface="+mn-lt"/>
                <a:cs typeface="Arial" panose="020B0604020202020204" pitchFamily="34" charset="0"/>
              </a:rPr>
              <a:t>Sjednocení fondů do jednoho Evropského fondu</a:t>
            </a:r>
          </a:p>
          <a:p>
            <a:pPr algn="just">
              <a:spcBef>
                <a:spcPts val="0"/>
              </a:spcBef>
              <a:spcAft>
                <a:spcPts val="0"/>
              </a:spcAft>
            </a:pPr>
            <a:r>
              <a:rPr lang="cs-CZ" sz="1000">
                <a:latin typeface="+mn-lt"/>
                <a:cs typeface="Arial" panose="020B0604020202020204" pitchFamily="34" charset="0"/>
              </a:rPr>
              <a:t>Sloučení fondů do jednoho Evropského fondu přinese mnohem větší flexibilitu při programování, změnách a provádění složitých synergických projektů.</a:t>
            </a:r>
          </a:p>
          <a:p>
            <a:pPr algn="just">
              <a:spcBef>
                <a:spcPts val="0"/>
              </a:spcBef>
              <a:spcAft>
                <a:spcPts val="0"/>
              </a:spcAft>
            </a:pPr>
            <a:endParaRPr lang="cs-CZ" sz="1000">
              <a:latin typeface="+mn-lt"/>
              <a:cs typeface="Arial" panose="020B0604020202020204" pitchFamily="34" charset="0"/>
            </a:endParaRPr>
          </a:p>
          <a:p>
            <a:pPr algn="just">
              <a:spcBef>
                <a:spcPts val="0"/>
              </a:spcBef>
              <a:spcAft>
                <a:spcPts val="0"/>
              </a:spcAft>
            </a:pPr>
            <a:r>
              <a:rPr lang="cs-CZ" sz="1000" b="1">
                <a:latin typeface="+mn-lt"/>
                <a:cs typeface="Arial" panose="020B0604020202020204" pitchFamily="34" charset="0"/>
              </a:rPr>
              <a:t>Začlenění vylepšeného způsobu plánování politik</a:t>
            </a:r>
          </a:p>
          <a:p>
            <a:pPr algn="just">
              <a:spcBef>
                <a:spcPts val="0"/>
              </a:spcBef>
              <a:spcAft>
                <a:spcPts val="0"/>
              </a:spcAft>
            </a:pPr>
            <a:r>
              <a:rPr lang="cs-CZ" sz="1000">
                <a:latin typeface="+mn-lt"/>
                <a:cs typeface="Arial" panose="020B0604020202020204" pitchFamily="34" charset="0"/>
              </a:rPr>
              <a:t>Komise navrhuje snížit počet programů v příštím víceletém finančním rámci a harmonizovat pravidla. Podle našeho názoru by tento návrh mohl přispět k efektivnějšímu využívání fondů Unie, soudržnější realizaci cílů fondů, lepšímu plánování politik a větší konzistentnosti. Upřednostňujeme v rámci NRPP oddělení různých politik (soudržnost, vnitřní věci, zemědělství).</a:t>
            </a:r>
          </a:p>
          <a:p>
            <a:pPr algn="just">
              <a:spcBef>
                <a:spcPts val="0"/>
              </a:spcBef>
              <a:spcAft>
                <a:spcPts val="0"/>
              </a:spcAft>
            </a:pPr>
            <a:endParaRPr lang="cs-CZ" sz="1000">
              <a:latin typeface="+mn-lt"/>
              <a:cs typeface="Arial" panose="020B0604020202020204" pitchFamily="34" charset="0"/>
            </a:endParaRPr>
          </a:p>
          <a:p>
            <a:pPr algn="just">
              <a:spcBef>
                <a:spcPts val="0"/>
              </a:spcBef>
              <a:spcAft>
                <a:spcPts val="0"/>
              </a:spcAft>
            </a:pPr>
            <a:endParaRPr lang="cs-CZ" sz="1000">
              <a:latin typeface="+mn-lt"/>
              <a:cs typeface="Arial" panose="020B0604020202020204" pitchFamily="34" charset="0"/>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68852594-7773-4A40-AE73-D653E588A5A0}" type="slidenum">
              <a:rPr lang="cs-CZ" smtClean="0"/>
              <a:t>25</a:t>
            </a:fld>
            <a:endParaRPr lang="cs-CZ"/>
          </a:p>
        </p:txBody>
      </p:sp>
    </p:spTree>
    <p:extLst>
      <p:ext uri="{BB962C8B-B14F-4D97-AF65-F5344CB8AC3E}">
        <p14:creationId xmlns:p14="http://schemas.microsoft.com/office/powerpoint/2010/main" val="4190831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979488" y="231775"/>
            <a:ext cx="4838700" cy="3349625"/>
          </a:xfrm>
        </p:spPr>
      </p:sp>
      <p:sp>
        <p:nvSpPr>
          <p:cNvPr id="3" name="Zástupný symbol pro poznámky 2"/>
          <p:cNvSpPr>
            <a:spLocks noGrp="1"/>
          </p:cNvSpPr>
          <p:nvPr>
            <p:ph type="body" idx="1"/>
          </p:nvPr>
        </p:nvSpPr>
        <p:spPr>
          <a:xfrm>
            <a:off x="492125" y="3790950"/>
            <a:ext cx="5813425" cy="5448300"/>
          </a:xfrm>
        </p:spPr>
        <p:txBody>
          <a:bodyPr/>
          <a:lstStyle/>
          <a:p>
            <a:pPr marL="0" indent="0" algn="just">
              <a:buNone/>
            </a:pPr>
            <a:r>
              <a:rPr lang="cs-CZ" sz="1000" b="1" u="none" noProof="0">
                <a:latin typeface="+mn-lt"/>
                <a:cs typeface="Arial"/>
              </a:rPr>
              <a:t>Principy</a:t>
            </a:r>
          </a:p>
          <a:p>
            <a:pPr marL="171450" indent="-171450" algn="just">
              <a:buFont typeface="Arial" panose="020B0604020202020204" pitchFamily="34" charset="0"/>
              <a:buChar char="•"/>
            </a:pPr>
            <a:r>
              <a:rPr lang="cs-CZ" sz="1000" b="0" u="none" noProof="0">
                <a:latin typeface="+mn-lt"/>
                <a:cs typeface="Arial"/>
              </a:rPr>
              <a:t>upřednostňujeme oddělení různých politik (soudržnost, vnitřní věci, zemědělství); sjednocení považujeme za riskantní; čistí příjemci (zejména Chorvatsko, Polsko, Litva, Lotyšsko, Řecko, Bulharsko, Portugalsko, Itálie, Kypr) zdůrazňují význam společné zemědělské politiky a soudržnosti a jsou skeptičtí k jejich sloučení do jednoho pilíře v rámci jednoho plánu</a:t>
            </a:r>
          </a:p>
          <a:p>
            <a:pPr marL="171450" indent="-171450" algn="just">
              <a:buFont typeface="Arial" panose="020B0604020202020204" pitchFamily="34" charset="0"/>
              <a:buChar char="•"/>
            </a:pPr>
            <a:r>
              <a:rPr lang="cs-CZ" sz="1000" b="0" u="none" noProof="0">
                <a:latin typeface="+mn-lt"/>
                <a:cs typeface="Arial"/>
              </a:rPr>
              <a:t>budeme usilovat o stanovení minimálních přidělených prostředků pro jednotlivé členské státy na klíčové složky fondu / oblasti definované ve Smlouvách </a:t>
            </a:r>
          </a:p>
          <a:p>
            <a:pPr marL="171450" indent="-171450" algn="just">
              <a:buFont typeface="Arial" panose="020B0604020202020204" pitchFamily="34" charset="0"/>
              <a:buChar char="•"/>
            </a:pPr>
            <a:r>
              <a:rPr lang="cs-CZ" sz="1000" b="0" u="none" noProof="0">
                <a:latin typeface="+mn-lt"/>
                <a:cs typeface="Arial"/>
              </a:rPr>
              <a:t>budeme usilovat o rozšíření působnosti nařízení s cílem podpořit absorpční kapacitu příjemců, zejména v méně rozvinutých regionech</a:t>
            </a:r>
          </a:p>
          <a:p>
            <a:pPr algn="just"/>
            <a:endParaRPr lang="en-US" sz="1000" b="1" u="sng">
              <a:latin typeface="+mn-lt"/>
              <a:cs typeface="Arial" panose="020B0604020202020204" pitchFamily="34" charset="0"/>
            </a:endParaRPr>
          </a:p>
          <a:p>
            <a:r>
              <a:rPr lang="cs-CZ" sz="1000" b="1" kern="1200">
                <a:solidFill>
                  <a:schemeClr val="tx1"/>
                </a:solidFill>
                <a:effectLst/>
                <a:latin typeface="+mn-lt"/>
                <a:ea typeface="+mn-ea"/>
                <a:cs typeface="+mn-cs"/>
              </a:rPr>
              <a:t>Přístup založený na výkonnosti</a:t>
            </a:r>
          </a:p>
          <a:p>
            <a:pPr marL="171450" indent="-171450">
              <a:buFont typeface="Arial" panose="020B0604020202020204" pitchFamily="34" charset="0"/>
              <a:buChar char="•"/>
            </a:pPr>
            <a:r>
              <a:rPr lang="cs-CZ" sz="1000" kern="1200">
                <a:solidFill>
                  <a:schemeClr val="tx1"/>
                </a:solidFill>
                <a:effectLst/>
                <a:latin typeface="+mn-lt"/>
                <a:ea typeface="+mn-ea"/>
                <a:cs typeface="+mn-cs"/>
              </a:rPr>
              <a:t>posílení prvků výkonnosti ve sdíleném řízení je žádoucí, ale existují rizika</a:t>
            </a:r>
          </a:p>
          <a:p>
            <a:pPr marL="171450" indent="-171450">
              <a:buFont typeface="Arial" panose="020B0604020202020204" pitchFamily="34" charset="0"/>
              <a:buChar char="•"/>
            </a:pPr>
            <a:r>
              <a:rPr lang="cs-CZ" sz="1000" kern="1200">
                <a:solidFill>
                  <a:schemeClr val="tx1"/>
                </a:solidFill>
                <a:effectLst/>
                <a:latin typeface="+mn-lt"/>
                <a:ea typeface="+mn-ea"/>
                <a:cs typeface="+mn-cs"/>
              </a:rPr>
              <a:t>ukazatele pro rámec výkonnosti nejsou dostatečně definovány</a:t>
            </a:r>
          </a:p>
          <a:p>
            <a:pPr marL="171450" indent="-171450">
              <a:buFont typeface="Arial" panose="020B0604020202020204" pitchFamily="34" charset="0"/>
              <a:buChar char="•"/>
            </a:pPr>
            <a:r>
              <a:rPr lang="cs-CZ" sz="1000" kern="1200">
                <a:solidFill>
                  <a:schemeClr val="tx1"/>
                </a:solidFill>
                <a:effectLst/>
                <a:latin typeface="+mn-lt"/>
                <a:ea typeface="+mn-ea"/>
                <a:cs typeface="+mn-cs"/>
              </a:rPr>
              <a:t>provázanost s dalšími prvky nařízení – např. kontrola veřejných zakázek, audity, kontroly příjemců atd.</a:t>
            </a:r>
          </a:p>
          <a:p>
            <a:pPr marL="171450" indent="-171450">
              <a:buFont typeface="Arial" panose="020B0604020202020204" pitchFamily="34" charset="0"/>
              <a:buChar char="•"/>
            </a:pPr>
            <a:r>
              <a:rPr lang="cs-CZ" sz="1000" kern="1200">
                <a:solidFill>
                  <a:schemeClr val="tx1"/>
                </a:solidFill>
                <a:effectLst/>
                <a:latin typeface="+mn-lt"/>
                <a:ea typeface="+mn-ea"/>
                <a:cs typeface="+mn-cs"/>
              </a:rPr>
              <a:t>musíme zajistit, aby nový model neznevýhodňoval méně rozvinuté regiony s nižšími kapacitami</a:t>
            </a:r>
          </a:p>
          <a:p>
            <a:pPr algn="just"/>
            <a:endParaRPr lang="en-US" sz="1000" b="1" u="sng">
              <a:latin typeface="+mn-lt"/>
              <a:cs typeface="Arial" panose="020B0604020202020204" pitchFamily="34" charset="0"/>
            </a:endParaRPr>
          </a:p>
          <a:p>
            <a:pPr marL="0" indent="0" algn="just">
              <a:buFontTx/>
              <a:buNone/>
            </a:pPr>
            <a:r>
              <a:rPr lang="cs-CZ" sz="1000" b="1" u="none" noProof="0">
                <a:latin typeface="+mn-lt"/>
                <a:cs typeface="Arial"/>
              </a:rPr>
              <a:t>Finanční rámec</a:t>
            </a:r>
            <a:endParaRPr lang="en-US" sz="1000" b="1" u="none" noProof="0">
              <a:latin typeface="+mn-lt"/>
              <a:cs typeface="Arial"/>
            </a:endParaRPr>
          </a:p>
          <a:p>
            <a:pPr marL="179705" indent="-179705" algn="just">
              <a:buFont typeface="Arial" panose="020B0604020202020204" pitchFamily="34" charset="0"/>
              <a:buChar char="•"/>
            </a:pPr>
            <a:r>
              <a:rPr lang="cs-CZ" sz="1000" noProof="0">
                <a:latin typeface="+mn-lt"/>
                <a:cs typeface="Arial"/>
              </a:rPr>
              <a:t>požádáme o prodloužení lhůty pro zrušení závazků</a:t>
            </a:r>
          </a:p>
          <a:p>
            <a:pPr marL="179705" indent="-179705" algn="just">
              <a:buFont typeface="Arial" panose="020B0604020202020204" pitchFamily="34" charset="0"/>
              <a:buChar char="•"/>
            </a:pPr>
            <a:r>
              <a:rPr lang="cs-CZ" sz="1000" noProof="0">
                <a:latin typeface="+mn-lt"/>
                <a:cs typeface="Arial"/>
              </a:rPr>
              <a:t>budeme požadovat zvýšení a sjednocení paušální sazby pro technickou pomoc, aby byly pokryty zvýšené náklady na správu nového a komplexního integrovaného plánu; klíčové je zajistit stabilitu a předvídatelnost financování</a:t>
            </a:r>
          </a:p>
          <a:p>
            <a:pPr marL="179705" indent="-179705" algn="just">
              <a:buFont typeface="Arial" panose="020B0604020202020204" pitchFamily="34" charset="0"/>
              <a:buChar char="•"/>
            </a:pPr>
            <a:r>
              <a:rPr lang="cs-CZ" sz="1000" noProof="0">
                <a:latin typeface="+mn-lt"/>
                <a:cs typeface="Arial"/>
              </a:rPr>
              <a:t>budeme usilovat o snížení míry flexibility (pod 25 %)</a:t>
            </a:r>
          </a:p>
          <a:p>
            <a:pPr algn="just"/>
            <a:endParaRPr lang="en-US" sz="1000" noProof="0">
              <a:latin typeface="Arial" panose="020B0604020202020204" pitchFamily="34" charset="0"/>
              <a:cs typeface="Arial" panose="020B0604020202020204" pitchFamily="34" charset="0"/>
            </a:endParaRPr>
          </a:p>
          <a:p>
            <a:endParaRPr lang="cs-CZ"/>
          </a:p>
        </p:txBody>
      </p:sp>
      <p:sp>
        <p:nvSpPr>
          <p:cNvPr id="4" name="Zástupný symbol pro číslo snímku 3"/>
          <p:cNvSpPr>
            <a:spLocks noGrp="1"/>
          </p:cNvSpPr>
          <p:nvPr>
            <p:ph type="sldNum" sz="quarter" idx="5"/>
          </p:nvPr>
        </p:nvSpPr>
        <p:spPr/>
        <p:txBody>
          <a:bodyPr/>
          <a:lstStyle/>
          <a:p>
            <a:fld id="{68852594-7773-4A40-AE73-D653E588A5A0}" type="slidenum">
              <a:rPr lang="cs-CZ" smtClean="0"/>
              <a:t>26</a:t>
            </a:fld>
            <a:endParaRPr lang="cs-CZ"/>
          </a:p>
        </p:txBody>
      </p:sp>
    </p:spTree>
    <p:extLst>
      <p:ext uri="{BB962C8B-B14F-4D97-AF65-F5344CB8AC3E}">
        <p14:creationId xmlns:p14="http://schemas.microsoft.com/office/powerpoint/2010/main" val="2109902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979488" y="231775"/>
            <a:ext cx="4838700" cy="3349625"/>
          </a:xfrm>
        </p:spPr>
      </p:sp>
      <p:sp>
        <p:nvSpPr>
          <p:cNvPr id="3" name="Zástupný symbol pro poznámky 2"/>
          <p:cNvSpPr>
            <a:spLocks noGrp="1"/>
          </p:cNvSpPr>
          <p:nvPr>
            <p:ph type="body" idx="1"/>
          </p:nvPr>
        </p:nvSpPr>
        <p:spPr>
          <a:xfrm>
            <a:off x="492125" y="3790950"/>
            <a:ext cx="5813425" cy="5448300"/>
          </a:xfrm>
        </p:spPr>
        <p:txBody>
          <a:bodyPr/>
          <a:lstStyle/>
          <a:p>
            <a:pPr marL="180000" marR="0" lvl="0" indent="-180000" algn="l" defTabSz="914400" rtl="0" eaLnBrk="1" fontAlgn="auto" latinLnBrk="0" hangingPunct="1">
              <a:lnSpc>
                <a:spcPct val="100000"/>
              </a:lnSpc>
              <a:spcBef>
                <a:spcPts val="0"/>
              </a:spcBef>
              <a:spcAft>
                <a:spcPts val="0"/>
              </a:spcAft>
              <a:buClrTx/>
              <a:buSzTx/>
              <a:buFontTx/>
              <a:buNone/>
              <a:tabLst/>
              <a:defRPr/>
            </a:pPr>
            <a:r>
              <a:rPr lang="cs-CZ" sz="1000" b="1" u="none" noProof="0">
                <a:latin typeface="+mn-lt"/>
                <a:cs typeface="Arial" panose="020B0604020202020204" pitchFamily="34" charset="0"/>
              </a:rPr>
              <a:t>Národní a regionální partnerský plán</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sz="1000" b="0" u="none" noProof="0">
                <a:latin typeface="+mn-lt"/>
                <a:cs typeface="Arial" panose="020B0604020202020204" pitchFamily="34" charset="0"/>
              </a:rPr>
              <a:t>návrh na řešení všech výzev vyplývajících z Evropského semestru, Doporučení Rady pro jednotlivé země a strategických dokumentů Komise je dle ČR příliš ambiciózní</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sz="1000" b="0" u="none" noProof="0">
                <a:latin typeface="+mn-lt"/>
                <a:cs typeface="Arial" panose="020B0604020202020204" pitchFamily="34" charset="0"/>
              </a:rPr>
              <a:t>snížení procentní podílu cílů v oblasti klimatu a životního prostředí: v této souvislosti stále probíhá rozsáhlá diskuse na národní úrovni (zejména s kolegy z ministerstva životního prostředí, kteří snížení nepodporují) – rozpor MMR a MŽP</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sz="1000" b="0" u="none" noProof="0">
                <a:latin typeface="+mn-lt"/>
                <a:cs typeface="Arial" panose="020B0604020202020204" pitchFamily="34" charset="0"/>
              </a:rPr>
              <a:t>Umožnit flexibilnější změny plánu. Národní plán musí nabídnout výrazně větší flexibilitu, harmonizaci a zjednodušení pravidel a otevřenost vůči změnám. Z tohoto důvodu vnímáme jak proces vyjednávání takového plánu, tak jeho následnou implementaci jako potenciálně problematické. </a:t>
            </a:r>
            <a:endParaRPr lang="cs-CZ" b="0" u="none" noProof="0">
              <a:latin typeface="+mn-lt"/>
            </a:endParaRPr>
          </a:p>
        </p:txBody>
      </p:sp>
      <p:sp>
        <p:nvSpPr>
          <p:cNvPr id="4" name="Zástupný symbol pro číslo snímku 3"/>
          <p:cNvSpPr>
            <a:spLocks noGrp="1"/>
          </p:cNvSpPr>
          <p:nvPr>
            <p:ph type="sldNum" sz="quarter" idx="5"/>
          </p:nvPr>
        </p:nvSpPr>
        <p:spPr/>
        <p:txBody>
          <a:bodyPr/>
          <a:lstStyle/>
          <a:p>
            <a:fld id="{68852594-7773-4A40-AE73-D653E588A5A0}" type="slidenum">
              <a:rPr lang="cs-CZ" smtClean="0"/>
              <a:t>27</a:t>
            </a:fld>
            <a:endParaRPr lang="cs-CZ"/>
          </a:p>
        </p:txBody>
      </p:sp>
    </p:spTree>
    <p:extLst>
      <p:ext uri="{BB962C8B-B14F-4D97-AF65-F5344CB8AC3E}">
        <p14:creationId xmlns:p14="http://schemas.microsoft.com/office/powerpoint/2010/main" val="3857572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3478213" y="230188"/>
            <a:ext cx="3417887" cy="2365375"/>
          </a:xfrm>
        </p:spPr>
      </p:sp>
      <p:sp>
        <p:nvSpPr>
          <p:cNvPr id="3" name="Zástupný symbol pro poznámky 2"/>
          <p:cNvSpPr>
            <a:spLocks noGrp="1"/>
          </p:cNvSpPr>
          <p:nvPr>
            <p:ph type="body" idx="1"/>
          </p:nvPr>
        </p:nvSpPr>
        <p:spPr>
          <a:xfrm>
            <a:off x="1133464" y="2748462"/>
            <a:ext cx="8107132" cy="3908469"/>
          </a:xfrm>
        </p:spPr>
        <p:txBody>
          <a:bodyPr/>
          <a:lstStyle/>
          <a:p>
            <a:pPr marL="171450" indent="-171450">
              <a:buFont typeface="Arial" panose="020B0604020202020204" pitchFamily="34" charset="0"/>
              <a:buChar char="•"/>
            </a:pPr>
            <a:r>
              <a:rPr lang="cs-CZ" sz="1000" b="1" kern="1200">
                <a:solidFill>
                  <a:schemeClr val="tx1"/>
                </a:solidFill>
                <a:effectLst/>
                <a:latin typeface="+mn-lt"/>
                <a:ea typeface="+mn-ea"/>
                <a:cs typeface="+mn-cs"/>
              </a:rPr>
              <a:t>13. srpna proběhlo jednání pracovní skupiny pro politiku soudržnosti po roce 2027 </a:t>
            </a:r>
            <a:r>
              <a:rPr lang="cs-CZ" sz="1000" b="0" kern="1200">
                <a:solidFill>
                  <a:schemeClr val="tx1"/>
                </a:solidFill>
                <a:effectLst/>
                <a:latin typeface="+mn-lt"/>
                <a:ea typeface="+mn-ea"/>
                <a:cs typeface="+mn-cs"/>
              </a:rPr>
              <a:t>– jedná se o platformu, kde projednáváme legislativu pro nové období. Vyjednávání NRPP bude probíhat na jiných platformách (v současnosti se připravuje návrh daných platforem)</a:t>
            </a:r>
          </a:p>
          <a:p>
            <a:pPr marL="171450" indent="-171450">
              <a:buFont typeface="Arial" panose="020B0604020202020204" pitchFamily="34" charset="0"/>
              <a:buChar char="•"/>
            </a:pPr>
            <a:r>
              <a:rPr lang="cs-CZ" sz="1000" b="1" kern="1200">
                <a:solidFill>
                  <a:schemeClr val="tx1"/>
                </a:solidFill>
                <a:effectLst/>
                <a:latin typeface="+mn-lt"/>
                <a:ea typeface="+mn-ea"/>
                <a:cs typeface="+mn-cs"/>
              </a:rPr>
              <a:t>10. září</a:t>
            </a:r>
            <a:r>
              <a:rPr lang="cs-CZ" sz="1000" kern="1200">
                <a:solidFill>
                  <a:schemeClr val="tx1"/>
                </a:solidFill>
                <a:effectLst/>
                <a:latin typeface="+mn-lt"/>
                <a:ea typeface="+mn-ea"/>
                <a:cs typeface="+mn-cs"/>
              </a:rPr>
              <a:t> budou rámcové pozice  projednán na </a:t>
            </a:r>
            <a:r>
              <a:rPr lang="cs-CZ" sz="1000" b="1" kern="1200">
                <a:solidFill>
                  <a:schemeClr val="tx1"/>
                </a:solidFill>
                <a:effectLst/>
                <a:latin typeface="+mn-lt"/>
                <a:ea typeface="+mn-ea"/>
                <a:cs typeface="+mn-cs"/>
              </a:rPr>
              <a:t>vládním Výboru pro Evropskou unii</a:t>
            </a:r>
            <a:r>
              <a:rPr lang="cs-CZ" sz="1000" kern="1200">
                <a:solidFill>
                  <a:schemeClr val="tx1"/>
                </a:solidFill>
                <a:effectLst/>
                <a:latin typeface="+mn-lt"/>
                <a:ea typeface="+mn-ea"/>
                <a:cs typeface="+mn-cs"/>
              </a:rPr>
              <a:t> a ideálně schválen vládou. </a:t>
            </a:r>
          </a:p>
          <a:p>
            <a:pPr marL="171450" indent="-171450">
              <a:buFont typeface="Arial" panose="020B0604020202020204" pitchFamily="34" charset="0"/>
              <a:buChar char="•"/>
            </a:pPr>
            <a:r>
              <a:rPr lang="cs-CZ" sz="1000" kern="1200">
                <a:solidFill>
                  <a:schemeClr val="tx1"/>
                </a:solidFill>
                <a:effectLst/>
                <a:latin typeface="+mn-lt"/>
                <a:ea typeface="+mn-ea"/>
                <a:cs typeface="+mn-cs"/>
              </a:rPr>
              <a:t>Na </a:t>
            </a:r>
            <a:r>
              <a:rPr lang="cs-CZ" sz="1000" b="1" kern="1200">
                <a:solidFill>
                  <a:schemeClr val="tx1"/>
                </a:solidFill>
                <a:effectLst/>
                <a:latin typeface="+mn-lt"/>
                <a:ea typeface="+mn-ea"/>
                <a:cs typeface="+mn-cs"/>
              </a:rPr>
              <a:t>11. září</a:t>
            </a:r>
            <a:r>
              <a:rPr lang="cs-CZ" sz="1000" kern="1200">
                <a:solidFill>
                  <a:schemeClr val="tx1"/>
                </a:solidFill>
                <a:effectLst/>
                <a:latin typeface="+mn-lt"/>
                <a:ea typeface="+mn-ea"/>
                <a:cs typeface="+mn-cs"/>
              </a:rPr>
              <a:t> plánujeme k budoucí legislativě uspořádat </a:t>
            </a:r>
            <a:r>
              <a:rPr lang="cs-CZ" sz="1000" b="1" kern="1200">
                <a:solidFill>
                  <a:schemeClr val="tx1"/>
                </a:solidFill>
                <a:effectLst/>
                <a:latin typeface="+mn-lt"/>
                <a:ea typeface="+mn-ea"/>
                <a:cs typeface="+mn-cs"/>
              </a:rPr>
              <a:t>Kulatý stůl</a:t>
            </a:r>
            <a:r>
              <a:rPr lang="cs-CZ" sz="1000" b="0" kern="1200">
                <a:solidFill>
                  <a:schemeClr val="tx1"/>
                </a:solidFill>
                <a:effectLst/>
                <a:latin typeface="+mn-lt"/>
                <a:ea typeface="+mn-ea"/>
                <a:cs typeface="+mn-cs"/>
              </a:rPr>
              <a:t>, který je určen veřejnosti – mezi registrovanými účastníky jsou zástupci řídicích orgánů, územních, hospodářských partnerů aj.</a:t>
            </a:r>
          </a:p>
          <a:p>
            <a:pPr marL="171450" indent="-171450">
              <a:buFont typeface="Arial" panose="020B0604020202020204" pitchFamily="34" charset="0"/>
              <a:buChar char="•"/>
            </a:pPr>
            <a:r>
              <a:rPr lang="cs-CZ" sz="1000" kern="1200">
                <a:solidFill>
                  <a:schemeClr val="tx1"/>
                </a:solidFill>
                <a:effectLst/>
                <a:latin typeface="+mn-lt"/>
                <a:ea typeface="+mn-ea"/>
                <a:cs typeface="+mn-cs"/>
              </a:rPr>
              <a:t>Na kulatý stůl následně navazuje akce </a:t>
            </a:r>
            <a:r>
              <a:rPr lang="cs-CZ" sz="1000" b="1" kern="1200">
                <a:solidFill>
                  <a:schemeClr val="tx1"/>
                </a:solidFill>
                <a:effectLst/>
                <a:latin typeface="+mn-lt"/>
                <a:ea typeface="+mn-ea"/>
                <a:cs typeface="+mn-cs"/>
              </a:rPr>
              <a:t>Business &amp; </a:t>
            </a:r>
            <a:r>
              <a:rPr lang="cs-CZ" sz="1000" b="1" kern="1200" err="1">
                <a:solidFill>
                  <a:schemeClr val="tx1"/>
                </a:solidFill>
                <a:effectLst/>
                <a:latin typeface="+mn-lt"/>
                <a:ea typeface="+mn-ea"/>
                <a:cs typeface="+mn-cs"/>
              </a:rPr>
              <a:t>Regio</a:t>
            </a:r>
            <a:r>
              <a:rPr lang="cs-CZ" sz="1000" b="1" kern="1200">
                <a:solidFill>
                  <a:schemeClr val="tx1"/>
                </a:solidFill>
                <a:effectLst/>
                <a:latin typeface="+mn-lt"/>
                <a:ea typeface="+mn-ea"/>
                <a:cs typeface="+mn-cs"/>
              </a:rPr>
              <a:t> </a:t>
            </a:r>
            <a:r>
              <a:rPr lang="cs-CZ" sz="1000" b="1" kern="1200" err="1">
                <a:solidFill>
                  <a:schemeClr val="tx1"/>
                </a:solidFill>
                <a:effectLst/>
                <a:latin typeface="+mn-lt"/>
                <a:ea typeface="+mn-ea"/>
                <a:cs typeface="+mn-cs"/>
              </a:rPr>
              <a:t>Breakfast</a:t>
            </a:r>
            <a:r>
              <a:rPr lang="cs-CZ" sz="1000" b="1" kern="1200">
                <a:solidFill>
                  <a:schemeClr val="tx1"/>
                </a:solidFill>
                <a:effectLst/>
                <a:latin typeface="+mn-lt"/>
                <a:ea typeface="+mn-ea"/>
                <a:cs typeface="+mn-cs"/>
              </a:rPr>
              <a:t> v září a říjnu.</a:t>
            </a:r>
            <a:r>
              <a:rPr lang="cs-CZ" sz="1000" kern="1200">
                <a:solidFill>
                  <a:schemeClr val="tx1"/>
                </a:solidFill>
                <a:effectLst/>
                <a:latin typeface="+mn-lt"/>
                <a:ea typeface="+mn-ea"/>
                <a:cs typeface="+mn-cs"/>
              </a:rPr>
              <a:t> Jedná se o neformální pracovní snídaně určené pro zástupce hospodářských a sociálních partnerů, neziskového sektoru a zástupce územních partnerů. Bude zde možnost otevřené diskuze k aktuálním evropským prioritám a návrhu legislativy v oblasti politiky soudržnosti po roce 2027. </a:t>
            </a:r>
          </a:p>
          <a:p>
            <a:pPr marL="171450" indent="-171450">
              <a:buFont typeface="Arial" panose="020B0604020202020204" pitchFamily="34" charset="0"/>
              <a:buChar char="•"/>
            </a:pPr>
            <a:r>
              <a:rPr lang="cs-CZ" sz="1000" kern="1200">
                <a:solidFill>
                  <a:schemeClr val="tx1"/>
                </a:solidFill>
                <a:effectLst/>
                <a:latin typeface="+mn-lt"/>
                <a:ea typeface="+mn-ea"/>
                <a:cs typeface="+mn-cs"/>
              </a:rPr>
              <a:t>Mezitím je plánována </a:t>
            </a:r>
            <a:r>
              <a:rPr lang="cs-CZ" sz="1000" b="1" kern="1200">
                <a:solidFill>
                  <a:schemeClr val="tx1"/>
                </a:solidFill>
                <a:effectLst/>
                <a:latin typeface="+mn-lt"/>
                <a:ea typeface="+mn-ea"/>
                <a:cs typeface="+mn-cs"/>
              </a:rPr>
              <a:t>cesta pana ministra do Bruselu</a:t>
            </a:r>
            <a:r>
              <a:rPr lang="cs-CZ" sz="1000" kern="1200">
                <a:solidFill>
                  <a:schemeClr val="tx1"/>
                </a:solidFill>
                <a:effectLst/>
                <a:latin typeface="+mn-lt"/>
                <a:ea typeface="+mn-ea"/>
                <a:cs typeface="+mn-cs"/>
              </a:rPr>
              <a:t>, kde se setká s </a:t>
            </a:r>
            <a:r>
              <a:rPr lang="cs-CZ" sz="1000" b="1" kern="1200">
                <a:solidFill>
                  <a:schemeClr val="tx1"/>
                </a:solidFill>
                <a:effectLst/>
                <a:latin typeface="+mn-lt"/>
                <a:ea typeface="+mn-ea"/>
                <a:cs typeface="+mn-cs"/>
              </a:rPr>
              <a:t>komisařem R. </a:t>
            </a:r>
            <a:r>
              <a:rPr lang="cs-CZ" sz="1000" b="1" kern="1200" err="1">
                <a:solidFill>
                  <a:schemeClr val="tx1"/>
                </a:solidFill>
                <a:effectLst/>
                <a:latin typeface="+mn-lt"/>
                <a:ea typeface="+mn-ea"/>
                <a:cs typeface="+mn-cs"/>
              </a:rPr>
              <a:t>Fittem</a:t>
            </a:r>
            <a:r>
              <a:rPr lang="cs-CZ" sz="1000" kern="1200">
                <a:solidFill>
                  <a:schemeClr val="tx1"/>
                </a:solidFill>
                <a:effectLst/>
                <a:latin typeface="+mn-lt"/>
                <a:ea typeface="+mn-ea"/>
                <a:cs typeface="+mn-cs"/>
              </a:rPr>
              <a:t> a následně také </a:t>
            </a:r>
            <a:r>
              <a:rPr lang="cs-CZ" sz="1000" b="1" kern="1200">
                <a:solidFill>
                  <a:schemeClr val="tx1"/>
                </a:solidFill>
                <a:effectLst/>
                <a:latin typeface="+mn-lt"/>
                <a:ea typeface="+mn-ea"/>
                <a:cs typeface="+mn-cs"/>
              </a:rPr>
              <a:t>se zástupci EU institucí</a:t>
            </a:r>
            <a:r>
              <a:rPr lang="cs-CZ" sz="1000" kern="1200">
                <a:solidFill>
                  <a:schemeClr val="tx1"/>
                </a:solidFill>
                <a:effectLst/>
                <a:latin typeface="+mn-lt"/>
                <a:ea typeface="+mn-ea"/>
                <a:cs typeface="+mn-cs"/>
              </a:rPr>
              <a:t> k vydané legislativě z pohledu ČR a strategickému rámci ČR, které určují věcné priority ČR financované z EU prostředků.</a:t>
            </a:r>
          </a:p>
          <a:p>
            <a:pPr marL="171450" indent="-171450">
              <a:buFont typeface="Arial" panose="020B0604020202020204" pitchFamily="34" charset="0"/>
              <a:buChar char="•"/>
            </a:pPr>
            <a:r>
              <a:rPr lang="cs-CZ" sz="1000" kern="1200">
                <a:solidFill>
                  <a:schemeClr val="tx1"/>
                </a:solidFill>
                <a:effectLst/>
                <a:latin typeface="+mn-lt"/>
                <a:ea typeface="+mn-ea"/>
                <a:cs typeface="+mn-cs"/>
              </a:rPr>
              <a:t>V dlouhodobém horizontu připravujeme aktualizaci Strategického rámce pro politiku soudržnosti 2028+ a koncepci jednotného národního rámce pro nové období.</a:t>
            </a:r>
            <a:endParaRPr lang="en-US" sz="1000"/>
          </a:p>
        </p:txBody>
      </p:sp>
      <p:sp>
        <p:nvSpPr>
          <p:cNvPr id="4" name="Zástupný symbol pro číslo snímku 3"/>
          <p:cNvSpPr>
            <a:spLocks noGrp="1"/>
          </p:cNvSpPr>
          <p:nvPr>
            <p:ph type="sldNum" sz="quarter" idx="5"/>
          </p:nvPr>
        </p:nvSpPr>
        <p:spPr/>
        <p:txBody>
          <a:bodyPr/>
          <a:lstStyle/>
          <a:p>
            <a:fld id="{58758A3C-3B05-48C5-9A81-9ECA945227A4}" type="slidenum">
              <a:rPr lang="cs-CZ" smtClean="0"/>
              <a:t>28</a:t>
            </a:fld>
            <a:endParaRPr lang="cs-CZ"/>
          </a:p>
        </p:txBody>
      </p:sp>
    </p:spTree>
    <p:extLst>
      <p:ext uri="{BB962C8B-B14F-4D97-AF65-F5344CB8AC3E}">
        <p14:creationId xmlns:p14="http://schemas.microsoft.com/office/powerpoint/2010/main" val="10129503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a:lnSpc>
                <a:spcPct val="107000"/>
              </a:lnSpc>
              <a:spcAft>
                <a:spcPts val="800"/>
              </a:spcAft>
            </a:pPr>
            <a:r>
              <a:rPr lang="cs-CZ" sz="1800" kern="100">
                <a:effectLst/>
                <a:latin typeface="Aptos" panose="020B0004020202020204" pitchFamily="34" charset="0"/>
                <a:ea typeface="Aptos" panose="020B0004020202020204" pitchFamily="34" charset="0"/>
                <a:cs typeface="Times New Roman" panose="02020603050405020304" pitchFamily="18" charset="0"/>
              </a:rPr>
              <a:t>V článku o </a:t>
            </a:r>
            <a:r>
              <a:rPr lang="cs-CZ" sz="1800" b="1" kern="100">
                <a:effectLst/>
                <a:highlight>
                  <a:srgbClr val="FFFF00"/>
                </a:highlight>
                <a:latin typeface="Aptos" panose="020B0004020202020204" pitchFamily="34" charset="0"/>
                <a:ea typeface="Aptos" panose="020B0004020202020204" pitchFamily="34" charset="0"/>
                <a:cs typeface="Times New Roman" panose="02020603050405020304" pitchFamily="18" charset="0"/>
              </a:rPr>
              <a:t>Evropských obranných projektech</a:t>
            </a:r>
            <a:r>
              <a:rPr lang="cs-CZ" sz="1800" b="1" kern="100">
                <a:effectLst/>
                <a:latin typeface="Aptos" panose="020B0004020202020204" pitchFamily="34" charset="0"/>
                <a:ea typeface="Aptos" panose="020B0004020202020204" pitchFamily="34" charset="0"/>
                <a:cs typeface="Times New Roman" panose="02020603050405020304" pitchFamily="18" charset="0"/>
              </a:rPr>
              <a:t> společného zájmu</a:t>
            </a:r>
            <a:r>
              <a:rPr lang="cs-CZ" sz="1800" kern="100">
                <a:effectLst/>
                <a:latin typeface="Aptos" panose="020B0004020202020204" pitchFamily="34" charset="0"/>
                <a:ea typeface="Aptos" panose="020B0004020202020204" pitchFamily="34" charset="0"/>
                <a:cs typeface="Times New Roman" panose="02020603050405020304" pitchFamily="18" charset="0"/>
              </a:rPr>
              <a:t> se uvádí, že:</a:t>
            </a:r>
          </a:p>
          <a:p>
            <a:pPr>
              <a:lnSpc>
                <a:spcPct val="107000"/>
              </a:lnSpc>
              <a:spcAft>
                <a:spcPts val="800"/>
              </a:spcAft>
            </a:pPr>
            <a:r>
              <a:rPr lang="cs-CZ" sz="1800" i="1" kern="100">
                <a:effectLst/>
                <a:latin typeface="Aptos" panose="020B0004020202020204" pitchFamily="34" charset="0"/>
                <a:ea typeface="Aptos" panose="020B0004020202020204" pitchFamily="34" charset="0"/>
                <a:cs typeface="Times New Roman" panose="02020603050405020304" pitchFamily="18" charset="0"/>
              </a:rPr>
              <a:t>„</a:t>
            </a:r>
            <a:r>
              <a:rPr lang="cs-CZ" sz="1800" b="1" i="1" kern="100">
                <a:effectLst/>
                <a:latin typeface="Aptos" panose="020B0004020202020204" pitchFamily="34" charset="0"/>
                <a:ea typeface="Aptos" panose="020B0004020202020204" pitchFamily="34" charset="0"/>
                <a:cs typeface="Times New Roman" panose="02020603050405020304" pitchFamily="18" charset="0"/>
              </a:rPr>
              <a:t>Přínosy projektu se vztahují na širší část Unie a zajišťují širokou geografickou účast.</a:t>
            </a:r>
            <a:r>
              <a:rPr lang="cs-CZ" sz="1800" i="1" kern="100">
                <a:effectLst/>
                <a:latin typeface="Aptos" panose="020B0004020202020204" pitchFamily="34" charset="0"/>
                <a:ea typeface="Aptos" panose="020B0004020202020204" pitchFamily="34" charset="0"/>
                <a:cs typeface="Times New Roman" panose="02020603050405020304" pitchFamily="18" charset="0"/>
              </a:rPr>
              <a:t>“</a:t>
            </a:r>
          </a:p>
          <a:p>
            <a:pPr>
              <a:lnSpc>
                <a:spcPct val="107000"/>
              </a:lnSpc>
              <a:spcAft>
                <a:spcPts val="800"/>
              </a:spcAft>
            </a:pPr>
            <a:endParaRPr lang="cs-CZ"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cs-CZ" sz="1800" kern="100">
                <a:effectLst/>
                <a:latin typeface="Aptos" panose="020B0004020202020204" pitchFamily="34" charset="0"/>
                <a:ea typeface="Aptos" panose="020B0004020202020204" pitchFamily="34" charset="0"/>
                <a:cs typeface="Times New Roman" panose="02020603050405020304" pitchFamily="18" charset="0"/>
              </a:rPr>
              <a:t>Toto ustanovení lze interpretovat jako </a:t>
            </a:r>
            <a:r>
              <a:rPr lang="cs-CZ" sz="1800" b="1" kern="100">
                <a:effectLst/>
                <a:latin typeface="Aptos" panose="020B0004020202020204" pitchFamily="34" charset="0"/>
                <a:ea typeface="Aptos" panose="020B0004020202020204" pitchFamily="34" charset="0"/>
                <a:cs typeface="Times New Roman" panose="02020603050405020304" pitchFamily="18" charset="0"/>
              </a:rPr>
              <a:t>důraz na územní rozměr</a:t>
            </a:r>
            <a:r>
              <a:rPr lang="cs-CZ" sz="1800" kern="100">
                <a:effectLst/>
                <a:latin typeface="Aptos" panose="020B0004020202020204" pitchFamily="34" charset="0"/>
                <a:ea typeface="Aptos" panose="020B0004020202020204" pitchFamily="34" charset="0"/>
                <a:cs typeface="Times New Roman" panose="02020603050405020304" pitchFamily="18" charset="0"/>
              </a:rPr>
              <a:t>, protože:</a:t>
            </a:r>
          </a:p>
          <a:p>
            <a:pPr marL="342900" lvl="0" indent="-342900">
              <a:lnSpc>
                <a:spcPct val="107000"/>
              </a:lnSpc>
              <a:spcAft>
                <a:spcPts val="800"/>
              </a:spcAft>
              <a:buSzPts val="1000"/>
              <a:buFont typeface="Symbol" panose="05050102010706020507" pitchFamily="18" charset="2"/>
              <a:buChar char=""/>
              <a:tabLst>
                <a:tab pos="457200" algn="l"/>
              </a:tabLst>
            </a:pPr>
            <a:r>
              <a:rPr lang="cs-CZ" sz="1800" kern="100">
                <a:effectLst/>
                <a:latin typeface="Aptos" panose="020B0004020202020204" pitchFamily="34" charset="0"/>
                <a:ea typeface="Aptos" panose="020B0004020202020204" pitchFamily="34" charset="0"/>
                <a:cs typeface="Times New Roman" panose="02020603050405020304" pitchFamily="18" charset="0"/>
              </a:rPr>
              <a:t>podporuje </a:t>
            </a:r>
            <a:r>
              <a:rPr lang="cs-CZ" sz="1800" b="1" kern="100">
                <a:effectLst/>
                <a:latin typeface="Aptos" panose="020B0004020202020204" pitchFamily="34" charset="0"/>
                <a:ea typeface="Aptos" panose="020B0004020202020204" pitchFamily="34" charset="0"/>
                <a:cs typeface="Times New Roman" panose="02020603050405020304" pitchFamily="18" charset="0"/>
              </a:rPr>
              <a:t>rozmístění projektů napříč regiony EU</a:t>
            </a:r>
            <a:r>
              <a:rPr lang="cs-CZ" sz="1800" kern="100">
                <a:effectLst/>
                <a:latin typeface="Aptos" panose="020B0004020202020204" pitchFamily="34" charset="0"/>
                <a:ea typeface="Aptos" panose="020B0004020202020204" pitchFamily="34" charset="0"/>
                <a:cs typeface="Times New Roman" panose="02020603050405020304" pitchFamily="18" charset="0"/>
              </a:rPr>
              <a:t>, nikoli jejich koncentraci v několika málo centrech.</a:t>
            </a:r>
          </a:p>
          <a:p>
            <a:pPr marL="342900" lvl="0" indent="-342900">
              <a:lnSpc>
                <a:spcPct val="107000"/>
              </a:lnSpc>
              <a:spcAft>
                <a:spcPts val="800"/>
              </a:spcAft>
              <a:buSzPts val="1000"/>
              <a:buFont typeface="Symbol" panose="05050102010706020507" pitchFamily="18" charset="2"/>
              <a:buChar char=""/>
              <a:tabLst>
                <a:tab pos="457200" algn="l"/>
              </a:tabLst>
            </a:pPr>
            <a:r>
              <a:rPr lang="cs-CZ" sz="1800" kern="100">
                <a:effectLst/>
                <a:latin typeface="Aptos" panose="020B0004020202020204" pitchFamily="34" charset="0"/>
                <a:ea typeface="Aptos" panose="020B0004020202020204" pitchFamily="34" charset="0"/>
                <a:cs typeface="Times New Roman" panose="02020603050405020304" pitchFamily="18" charset="0"/>
              </a:rPr>
              <a:t>vytváří prostor pro </a:t>
            </a:r>
            <a:r>
              <a:rPr lang="cs-CZ" sz="1800" b="1" kern="100">
                <a:effectLst/>
                <a:latin typeface="Aptos" panose="020B0004020202020204" pitchFamily="34" charset="0"/>
                <a:ea typeface="Aptos" panose="020B0004020202020204" pitchFamily="34" charset="0"/>
                <a:cs typeface="Times New Roman" panose="02020603050405020304" pitchFamily="18" charset="0"/>
              </a:rPr>
              <a:t>zapojení regionálních partnerů</a:t>
            </a:r>
            <a:r>
              <a:rPr lang="cs-CZ" sz="1800" kern="100">
                <a:effectLst/>
                <a:latin typeface="Aptos" panose="020B0004020202020204" pitchFamily="34" charset="0"/>
                <a:ea typeface="Aptos" panose="020B0004020202020204" pitchFamily="34" charset="0"/>
                <a:cs typeface="Times New Roman" panose="02020603050405020304" pitchFamily="18" charset="0"/>
              </a:rPr>
              <a:t> do projektů s evropským přesahem.</a:t>
            </a:r>
          </a:p>
          <a:p>
            <a:pPr marL="342900" lvl="0" indent="-342900">
              <a:lnSpc>
                <a:spcPct val="107000"/>
              </a:lnSpc>
              <a:spcAft>
                <a:spcPts val="800"/>
              </a:spcAft>
              <a:buSzPts val="1000"/>
              <a:buFont typeface="Symbol" panose="05050102010706020507" pitchFamily="18" charset="2"/>
              <a:buChar char=""/>
              <a:tabLst>
                <a:tab pos="457200" algn="l"/>
              </a:tabLst>
            </a:pPr>
            <a:r>
              <a:rPr lang="cs-CZ" sz="1800" kern="100">
                <a:effectLst/>
                <a:latin typeface="Aptos" panose="020B0004020202020204" pitchFamily="34" charset="0"/>
                <a:ea typeface="Aptos" panose="020B0004020202020204" pitchFamily="34" charset="0"/>
                <a:cs typeface="Times New Roman" panose="02020603050405020304" pitchFamily="18" charset="0"/>
              </a:rPr>
              <a:t>umožňuje </a:t>
            </a:r>
            <a:r>
              <a:rPr lang="cs-CZ" sz="1800" b="1" kern="100">
                <a:effectLst/>
                <a:latin typeface="Aptos" panose="020B0004020202020204" pitchFamily="34" charset="0"/>
                <a:ea typeface="Aptos" panose="020B0004020202020204" pitchFamily="34" charset="0"/>
                <a:cs typeface="Times New Roman" panose="02020603050405020304" pitchFamily="18" charset="0"/>
              </a:rPr>
              <a:t>přeshraniční spolupráci</a:t>
            </a:r>
            <a:r>
              <a:rPr lang="cs-CZ" sz="1800" kern="100">
                <a:effectLst/>
                <a:latin typeface="Aptos" panose="020B0004020202020204" pitchFamily="34" charset="0"/>
                <a:ea typeface="Aptos" panose="020B0004020202020204" pitchFamily="34" charset="0"/>
                <a:cs typeface="Times New Roman" panose="02020603050405020304" pitchFamily="18" charset="0"/>
              </a:rPr>
              <a:t> mezi regiony, což je klíčové pro územní soudržnost.</a:t>
            </a:r>
          </a:p>
          <a:p>
            <a:endParaRPr lang="cs-CZ"/>
          </a:p>
        </p:txBody>
      </p:sp>
      <p:sp>
        <p:nvSpPr>
          <p:cNvPr id="4" name="Zástupný symbol pro číslo snímku 3"/>
          <p:cNvSpPr>
            <a:spLocks noGrp="1"/>
          </p:cNvSpPr>
          <p:nvPr>
            <p:ph type="sldNum" sz="quarter" idx="5"/>
          </p:nvPr>
        </p:nvSpPr>
        <p:spPr/>
        <p:txBody>
          <a:bodyPr/>
          <a:lstStyle/>
          <a:p>
            <a:fld id="{724D1ADD-8033-48EF-ADA3-7BDFB5868CC3}" type="slidenum">
              <a:rPr lang="cs-CZ" smtClean="0"/>
              <a:t>34</a:t>
            </a:fld>
            <a:endParaRPr lang="cs-CZ"/>
          </a:p>
        </p:txBody>
      </p:sp>
    </p:spTree>
    <p:extLst>
      <p:ext uri="{BB962C8B-B14F-4D97-AF65-F5344CB8AC3E}">
        <p14:creationId xmlns:p14="http://schemas.microsoft.com/office/powerpoint/2010/main" val="1681489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
        <p:cNvGrpSpPr/>
        <p:nvPr/>
      </p:nvGrpSpPr>
      <p:grpSpPr>
        <a:xfrm>
          <a:off x="0" y="0"/>
          <a:ext cx="0" cy="0"/>
          <a:chOff x="0" y="0"/>
          <a:chExt cx="0" cy="0"/>
        </a:xfrm>
      </p:grpSpPr>
      <p:sp>
        <p:nvSpPr>
          <p:cNvPr id="243" name="Google Shape;243;p1:notes"/>
          <p:cNvSpPr>
            <a:spLocks noGrp="1" noRot="1" noChangeAspect="1"/>
          </p:cNvSpPr>
          <p:nvPr>
            <p:ph type="sldImg" idx="2"/>
          </p:nvPr>
        </p:nvSpPr>
        <p:spPr>
          <a:xfrm>
            <a:off x="1200150" y="1143000"/>
            <a:ext cx="44577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4" name="Google Shape;244;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cs-CZ"/>
              <a:t>Rozdělit do skupinek</a:t>
            </a:r>
            <a:endParaRPr/>
          </a:p>
        </p:txBody>
      </p:sp>
      <p:sp>
        <p:nvSpPr>
          <p:cNvPr id="245" name="Google Shape;245;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cs-CZ"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0"/>
        <p:cNvGrpSpPr/>
        <p:nvPr/>
      </p:nvGrpSpPr>
      <p:grpSpPr>
        <a:xfrm>
          <a:off x="0" y="0"/>
          <a:ext cx="0" cy="0"/>
          <a:chOff x="0" y="0"/>
          <a:chExt cx="0" cy="0"/>
        </a:xfrm>
      </p:grpSpPr>
      <p:sp>
        <p:nvSpPr>
          <p:cNvPr id="451" name="Google Shape;451;p4:notes"/>
          <p:cNvSpPr txBox="1">
            <a:spLocks noGrp="1"/>
          </p:cNvSpPr>
          <p:nvPr>
            <p:ph type="body" idx="1"/>
          </p:nvPr>
        </p:nvSpPr>
        <p:spPr>
          <a:xfrm>
            <a:off x="938848" y="3373676"/>
            <a:ext cx="7510780" cy="3196114"/>
          </a:xfrm>
          <a:prstGeom prst="rect">
            <a:avLst/>
          </a:prstGeom>
        </p:spPr>
        <p:txBody>
          <a:bodyPr spcFirstLastPara="1" wrap="square" lIns="92025" tIns="46000" rIns="92025" bIns="46000" anchor="t" anchorCtr="0">
            <a:noAutofit/>
          </a:bodyPr>
          <a:lstStyle/>
          <a:p>
            <a:pPr marL="0" lvl="0" indent="0" algn="l" rtl="0">
              <a:spcBef>
                <a:spcPts val="0"/>
              </a:spcBef>
              <a:spcAft>
                <a:spcPts val="0"/>
              </a:spcAft>
              <a:buNone/>
            </a:pPr>
            <a:endParaRPr/>
          </a:p>
        </p:txBody>
      </p:sp>
      <p:sp>
        <p:nvSpPr>
          <p:cNvPr id="452" name="Google Shape;452;p4:notes"/>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84F34B81-EABF-4C99-4A10-3B734EB523E5}"/>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C10376AA-1B2A-AA21-19EB-2A1CD5E1EF38}"/>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B3A01C9C-E925-0353-D6F5-93D576FF4AE5}"/>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74840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26A529-BEF7-0244-A333-2A2E373AF3F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95432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B0576058-20D3-EF59-2F79-57528D8CF4C8}"/>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5BCDFF4A-C283-748E-87E3-32BC98481CE9}"/>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102BECFD-2206-5DDC-F422-8E94226C18BE}"/>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229855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A8546F5D-8287-CE92-866C-A1F0CFF030D9}"/>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73937522-BBB7-4FD7-0EAE-562E095279B9}"/>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ED0F2CFC-D88F-3E58-C692-A67D2BCC9918}"/>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979171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1D8FB719-5569-5837-4836-F498778485AA}"/>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7A16726A-90B9-8D5B-61F7-B2AB83BA6842}"/>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69D644CE-8CFA-212C-2343-0E5AC9269423}"/>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576256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1">
          <a:extLst>
            <a:ext uri="{FF2B5EF4-FFF2-40B4-BE49-F238E27FC236}">
              <a16:creationId xmlns:a16="http://schemas.microsoft.com/office/drawing/2014/main" id="{6592BD4E-7246-6566-CC9A-AE2AA5005A08}"/>
            </a:ext>
          </a:extLst>
        </p:cNvPr>
        <p:cNvGrpSpPr/>
        <p:nvPr/>
      </p:nvGrpSpPr>
      <p:grpSpPr>
        <a:xfrm>
          <a:off x="0" y="0"/>
          <a:ext cx="0" cy="0"/>
          <a:chOff x="0" y="0"/>
          <a:chExt cx="0" cy="0"/>
        </a:xfrm>
      </p:grpSpPr>
      <p:sp>
        <p:nvSpPr>
          <p:cNvPr id="392" name="Google Shape;392;p54:notes">
            <a:extLst>
              <a:ext uri="{FF2B5EF4-FFF2-40B4-BE49-F238E27FC236}">
                <a16:creationId xmlns:a16="http://schemas.microsoft.com/office/drawing/2014/main" id="{33EA389B-A29A-C97C-EDBD-1F7F6B229BEE}"/>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393" name="Google Shape;393;p54:notes">
            <a:extLst>
              <a:ext uri="{FF2B5EF4-FFF2-40B4-BE49-F238E27FC236}">
                <a16:creationId xmlns:a16="http://schemas.microsoft.com/office/drawing/2014/main" id="{0A80FE30-4094-D1CB-ED2F-27E243AB7F6B}"/>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405699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4">
          <a:extLst>
            <a:ext uri="{FF2B5EF4-FFF2-40B4-BE49-F238E27FC236}">
              <a16:creationId xmlns:a16="http://schemas.microsoft.com/office/drawing/2014/main" id="{11E0DF49-93B3-BD73-5F53-F32AF63EAFB0}"/>
            </a:ext>
          </a:extLst>
        </p:cNvPr>
        <p:cNvGrpSpPr/>
        <p:nvPr/>
      </p:nvGrpSpPr>
      <p:grpSpPr>
        <a:xfrm>
          <a:off x="0" y="0"/>
          <a:ext cx="0" cy="0"/>
          <a:chOff x="0" y="0"/>
          <a:chExt cx="0" cy="0"/>
        </a:xfrm>
      </p:grpSpPr>
      <p:sp>
        <p:nvSpPr>
          <p:cNvPr id="345" name="Google Shape;345;g1293e124988_0_26:notes">
            <a:extLst>
              <a:ext uri="{FF2B5EF4-FFF2-40B4-BE49-F238E27FC236}">
                <a16:creationId xmlns:a16="http://schemas.microsoft.com/office/drawing/2014/main" id="{0B013DD5-8944-0B88-3068-DAEE2901FCF1}"/>
              </a:ext>
            </a:extLst>
          </p:cNvPr>
          <p:cNvSpPr>
            <a:spLocks noGrp="1" noRot="1" noChangeAspect="1"/>
          </p:cNvSpPr>
          <p:nvPr>
            <p:ph type="sldImg" idx="2"/>
          </p:nvPr>
        </p:nvSpPr>
        <p:spPr>
          <a:xfrm>
            <a:off x="952500" y="685800"/>
            <a:ext cx="4953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6" name="Google Shape;346;g1293e124988_0_26:notes">
            <a:extLst>
              <a:ext uri="{FF2B5EF4-FFF2-40B4-BE49-F238E27FC236}">
                <a16:creationId xmlns:a16="http://schemas.microsoft.com/office/drawing/2014/main" id="{6496DBD7-617B-DFE1-5150-8B4756CC262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9600"/>
          </a:p>
        </p:txBody>
      </p:sp>
    </p:spTree>
    <p:extLst>
      <p:ext uri="{BB962C8B-B14F-4D97-AF65-F5344CB8AC3E}">
        <p14:creationId xmlns:p14="http://schemas.microsoft.com/office/powerpoint/2010/main" val="34264614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p56:notes"/>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09" name="Google Shape;409;p56:notes"/>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a:extLst>
            <a:ext uri="{FF2B5EF4-FFF2-40B4-BE49-F238E27FC236}">
              <a16:creationId xmlns:a16="http://schemas.microsoft.com/office/drawing/2014/main" id="{7917485E-BDC1-2183-D2E5-0BAD0446B366}"/>
            </a:ext>
          </a:extLst>
        </p:cNvPr>
        <p:cNvGrpSpPr/>
        <p:nvPr/>
      </p:nvGrpSpPr>
      <p:grpSpPr>
        <a:xfrm>
          <a:off x="0" y="0"/>
          <a:ext cx="0" cy="0"/>
          <a:chOff x="0" y="0"/>
          <a:chExt cx="0" cy="0"/>
        </a:xfrm>
      </p:grpSpPr>
      <p:sp>
        <p:nvSpPr>
          <p:cNvPr id="408" name="Google Shape;408;p56:notes">
            <a:extLst>
              <a:ext uri="{FF2B5EF4-FFF2-40B4-BE49-F238E27FC236}">
                <a16:creationId xmlns:a16="http://schemas.microsoft.com/office/drawing/2014/main" id="{1BAEDBFB-4AB3-4814-E4DB-85A28E09D6E2}"/>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09" name="Google Shape;409;p56:notes">
            <a:extLst>
              <a:ext uri="{FF2B5EF4-FFF2-40B4-BE49-F238E27FC236}">
                <a16:creationId xmlns:a16="http://schemas.microsoft.com/office/drawing/2014/main" id="{1EF4818D-B8EA-35F1-8408-4CCC79C8C963}"/>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177579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a:extLst>
            <a:ext uri="{FF2B5EF4-FFF2-40B4-BE49-F238E27FC236}">
              <a16:creationId xmlns:a16="http://schemas.microsoft.com/office/drawing/2014/main" id="{4F1730E3-4919-C358-E0DC-9941806D8F6E}"/>
            </a:ext>
          </a:extLst>
        </p:cNvPr>
        <p:cNvGrpSpPr/>
        <p:nvPr/>
      </p:nvGrpSpPr>
      <p:grpSpPr>
        <a:xfrm>
          <a:off x="0" y="0"/>
          <a:ext cx="0" cy="0"/>
          <a:chOff x="0" y="0"/>
          <a:chExt cx="0" cy="0"/>
        </a:xfrm>
      </p:grpSpPr>
      <p:sp>
        <p:nvSpPr>
          <p:cNvPr id="408" name="Google Shape;408;p56:notes">
            <a:extLst>
              <a:ext uri="{FF2B5EF4-FFF2-40B4-BE49-F238E27FC236}">
                <a16:creationId xmlns:a16="http://schemas.microsoft.com/office/drawing/2014/main" id="{C6D35A19-E163-9F79-D9D6-26D2025D4005}"/>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09" name="Google Shape;409;p56:notes">
            <a:extLst>
              <a:ext uri="{FF2B5EF4-FFF2-40B4-BE49-F238E27FC236}">
                <a16:creationId xmlns:a16="http://schemas.microsoft.com/office/drawing/2014/main" id="{854E591C-9FA2-5869-8F57-6E8D34DB8392}"/>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73484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a:extLst>
            <a:ext uri="{FF2B5EF4-FFF2-40B4-BE49-F238E27FC236}">
              <a16:creationId xmlns:a16="http://schemas.microsoft.com/office/drawing/2014/main" id="{0DC4EDB7-B97D-C26C-82B7-7CB9ADC45106}"/>
            </a:ext>
          </a:extLst>
        </p:cNvPr>
        <p:cNvGrpSpPr/>
        <p:nvPr/>
      </p:nvGrpSpPr>
      <p:grpSpPr>
        <a:xfrm>
          <a:off x="0" y="0"/>
          <a:ext cx="0" cy="0"/>
          <a:chOff x="0" y="0"/>
          <a:chExt cx="0" cy="0"/>
        </a:xfrm>
      </p:grpSpPr>
      <p:sp>
        <p:nvSpPr>
          <p:cNvPr id="408" name="Google Shape;408;p56:notes">
            <a:extLst>
              <a:ext uri="{FF2B5EF4-FFF2-40B4-BE49-F238E27FC236}">
                <a16:creationId xmlns:a16="http://schemas.microsoft.com/office/drawing/2014/main" id="{3E20636F-17C1-94D7-7A07-720392688073}"/>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09" name="Google Shape;409;p56:notes">
            <a:extLst>
              <a:ext uri="{FF2B5EF4-FFF2-40B4-BE49-F238E27FC236}">
                <a16:creationId xmlns:a16="http://schemas.microsoft.com/office/drawing/2014/main" id="{BF6EB6C2-0DCC-9FD6-55B3-502EAD3ED1B7}"/>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432389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a:extLst>
            <a:ext uri="{FF2B5EF4-FFF2-40B4-BE49-F238E27FC236}">
              <a16:creationId xmlns:a16="http://schemas.microsoft.com/office/drawing/2014/main" id="{A6E4CCE5-E9A0-518F-3BBE-A0BAE0D73D59}"/>
            </a:ext>
          </a:extLst>
        </p:cNvPr>
        <p:cNvGrpSpPr/>
        <p:nvPr/>
      </p:nvGrpSpPr>
      <p:grpSpPr>
        <a:xfrm>
          <a:off x="0" y="0"/>
          <a:ext cx="0" cy="0"/>
          <a:chOff x="0" y="0"/>
          <a:chExt cx="0" cy="0"/>
        </a:xfrm>
      </p:grpSpPr>
      <p:sp>
        <p:nvSpPr>
          <p:cNvPr id="408" name="Google Shape;408;p56:notes">
            <a:extLst>
              <a:ext uri="{FF2B5EF4-FFF2-40B4-BE49-F238E27FC236}">
                <a16:creationId xmlns:a16="http://schemas.microsoft.com/office/drawing/2014/main" id="{F4B3C1D3-28EE-70EB-58A0-F922E288A6F9}"/>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09" name="Google Shape;409;p56:notes">
            <a:extLst>
              <a:ext uri="{FF2B5EF4-FFF2-40B4-BE49-F238E27FC236}">
                <a16:creationId xmlns:a16="http://schemas.microsoft.com/office/drawing/2014/main" id="{D2A50DD9-2676-12E1-6FEB-E6B88CF7731F}"/>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919780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26A529-BEF7-0244-A333-2A2E373AF3F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53670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84EBBDEF-E66D-6257-D1F3-FFAA498B946C}"/>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032D3E32-36CC-805E-5F9F-9764AFCA6B0B}"/>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50E109CA-B16A-7472-367F-7BE90EBCCC21}"/>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154945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6DA286B2-4EBF-60A5-7F82-0E8F82B239A4}"/>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30B5530D-6D2C-1BAD-C79F-9C5DC2840A32}"/>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518DC2CD-062A-04DD-40FC-D2DCA715781E}"/>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984849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9681C1E7-F67E-54D6-0E3B-D5E58133E2BA}"/>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3A841A42-33C7-77B0-878F-CA3140C9BD64}"/>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43B9A645-A230-A464-4593-6D5183AF1EEB}"/>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918387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22E61D1B-6640-8487-4A83-98BEEEC47289}"/>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C1C1E779-5316-7406-EECB-57E96B4146EC}"/>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B44813AE-6CCC-107D-8C40-8F2EBE682839}"/>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718986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11CF92D3-3396-8064-9B3F-39F67B6151E7}"/>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639FE490-B055-962A-3A38-14B2EA27C262}"/>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89CCB192-24C7-4E75-9678-74BB57A696CF}"/>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791503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3D2B587F-FE15-14AF-0C86-AB1AF43E4D5F}"/>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8C46C865-9DB0-9EA2-846A-7FE3F671BA00}"/>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915B8778-4A71-0250-9AF6-D47508010B59}"/>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77737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a:extLst>
            <a:ext uri="{FF2B5EF4-FFF2-40B4-BE49-F238E27FC236}">
              <a16:creationId xmlns:a16="http://schemas.microsoft.com/office/drawing/2014/main" id="{CA8C77D0-C22D-7477-D619-F5820EC7CBC5}"/>
            </a:ext>
          </a:extLst>
        </p:cNvPr>
        <p:cNvGrpSpPr/>
        <p:nvPr/>
      </p:nvGrpSpPr>
      <p:grpSpPr>
        <a:xfrm>
          <a:off x="0" y="0"/>
          <a:ext cx="0" cy="0"/>
          <a:chOff x="0" y="0"/>
          <a:chExt cx="0" cy="0"/>
        </a:xfrm>
      </p:grpSpPr>
      <p:sp>
        <p:nvSpPr>
          <p:cNvPr id="440" name="Google Shape;440;p60:notes">
            <a:extLst>
              <a:ext uri="{FF2B5EF4-FFF2-40B4-BE49-F238E27FC236}">
                <a16:creationId xmlns:a16="http://schemas.microsoft.com/office/drawing/2014/main" id="{958685D9-7907-3F10-3255-A043DFD33CA8}"/>
              </a:ext>
            </a:extLst>
          </p:cNvPr>
          <p:cNvSpPr txBox="1">
            <a:spLocks noGrp="1"/>
          </p:cNvSpPr>
          <p:nvPr>
            <p:ph type="body" idx="1"/>
          </p:nvPr>
        </p:nvSpPr>
        <p:spPr>
          <a:xfrm>
            <a:off x="938848" y="3373676"/>
            <a:ext cx="7510780" cy="3196114"/>
          </a:xfrm>
          <a:prstGeom prst="rect">
            <a:avLst/>
          </a:prstGeom>
          <a:noFill/>
          <a:ln>
            <a:noFill/>
          </a:ln>
        </p:spPr>
        <p:txBody>
          <a:bodyPr spcFirstLastPara="1" wrap="square" lIns="92025" tIns="46000" rIns="92025" bIns="46000" anchor="t" anchorCtr="0">
            <a:noAutofit/>
          </a:bodyPr>
          <a:lstStyle/>
          <a:p>
            <a:pPr marL="0" lvl="0" indent="0" algn="l" rtl="0">
              <a:lnSpc>
                <a:spcPct val="100000"/>
              </a:lnSpc>
              <a:spcBef>
                <a:spcPts val="0"/>
              </a:spcBef>
              <a:spcAft>
                <a:spcPts val="0"/>
              </a:spcAft>
              <a:buSzPts val="1400"/>
              <a:buNone/>
            </a:pPr>
            <a:endParaRPr/>
          </a:p>
        </p:txBody>
      </p:sp>
      <p:sp>
        <p:nvSpPr>
          <p:cNvPr id="441" name="Google Shape;441;p60:notes">
            <a:extLst>
              <a:ext uri="{FF2B5EF4-FFF2-40B4-BE49-F238E27FC236}">
                <a16:creationId xmlns:a16="http://schemas.microsoft.com/office/drawing/2014/main" id="{BEFC8A2D-6A6E-DBA1-9D4E-68369B917EF7}"/>
              </a:ext>
            </a:extLst>
          </p:cNvPr>
          <p:cNvSpPr>
            <a:spLocks noGrp="1" noRot="1" noChangeAspect="1"/>
          </p:cNvSpPr>
          <p:nvPr>
            <p:ph type="sldImg" idx="2"/>
          </p:nvPr>
        </p:nvSpPr>
        <p:spPr>
          <a:xfrm>
            <a:off x="2770188" y="531813"/>
            <a:ext cx="3848100" cy="2663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750794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algn="l">
              <a:spcBef>
                <a:spcPts val="1200"/>
              </a:spcBef>
              <a:spcAft>
                <a:spcPts val="1200"/>
              </a:spcAft>
            </a:pPr>
            <a:endParaRPr lang="cs-CZ" sz="1300">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Zástupný symbol pro číslo snímku 3"/>
          <p:cNvSpPr>
            <a:spLocks noGrp="1"/>
          </p:cNvSpPr>
          <p:nvPr>
            <p:ph type="sldNum" sz="quarter" idx="5"/>
          </p:nvPr>
        </p:nvSpPr>
        <p:spPr/>
        <p:txBody>
          <a:bodyPr/>
          <a:lstStyle/>
          <a:p>
            <a:fld id="{2A477F0F-9C0A-45F8-A7AE-EABCF9118898}" type="slidenum">
              <a:rPr lang="cs-CZ" smtClean="0"/>
              <a:pPr/>
              <a:t>71</a:t>
            </a:fld>
            <a:endParaRPr lang="cs-CZ"/>
          </a:p>
        </p:txBody>
      </p:sp>
    </p:spTree>
    <p:extLst>
      <p:ext uri="{BB962C8B-B14F-4D97-AF65-F5344CB8AC3E}">
        <p14:creationId xmlns:p14="http://schemas.microsoft.com/office/powerpoint/2010/main" val="2938329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26A529-BEF7-0244-A333-2A2E373AF3F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855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26A529-BEF7-0244-A333-2A2E373AF3F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48292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26A529-BEF7-0244-A333-2A2E373AF3F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8887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8F2C2-09E5-3765-A3DB-B080611CB32A}"/>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010960E2-65FB-AB41-6A76-F4B04CCD9E82}"/>
              </a:ext>
            </a:extLst>
          </p:cNvPr>
          <p:cNvSpPr>
            <a:spLocks noGrp="1" noRot="1" noChangeAspect="1"/>
          </p:cNvSpPr>
          <p:nvPr>
            <p:ph type="sldImg"/>
          </p:nvPr>
        </p:nvSpPr>
        <p:spPr>
          <a:xfrm>
            <a:off x="1136650" y="265113"/>
            <a:ext cx="4457700" cy="3086100"/>
          </a:xfrm>
        </p:spPr>
      </p:sp>
      <p:sp>
        <p:nvSpPr>
          <p:cNvPr id="3" name="Zástupný symbol pro poznámky 2">
            <a:extLst>
              <a:ext uri="{FF2B5EF4-FFF2-40B4-BE49-F238E27FC236}">
                <a16:creationId xmlns:a16="http://schemas.microsoft.com/office/drawing/2014/main" id="{745E49EA-D388-3D4F-6EAE-CCB91CD6977B}"/>
              </a:ext>
            </a:extLst>
          </p:cNvPr>
          <p:cNvSpPr>
            <a:spLocks noGrp="1"/>
          </p:cNvSpPr>
          <p:nvPr>
            <p:ph type="body" idx="1"/>
          </p:nvPr>
        </p:nvSpPr>
        <p:spPr>
          <a:xfrm>
            <a:off x="685800" y="3496235"/>
            <a:ext cx="5359400" cy="5188978"/>
          </a:xfrm>
        </p:spPr>
        <p:txBody>
          <a:bodyPr/>
          <a:lstStyle/>
          <a:p>
            <a:endParaRPr lang="cs-CZ" sz="1100" kern="1200">
              <a:solidFill>
                <a:schemeClr val="tx1"/>
              </a:solidFill>
              <a:effectLst/>
              <a:latin typeface="Arial" panose="020B0604020202020204" pitchFamily="34" charset="0"/>
              <a:cs typeface="Arial" panose="020B0604020202020204" pitchFamily="34" charset="0"/>
            </a:endParaRPr>
          </a:p>
        </p:txBody>
      </p:sp>
      <p:sp>
        <p:nvSpPr>
          <p:cNvPr id="4" name="Zástupný symbol pro číslo snímku 3">
            <a:extLst>
              <a:ext uri="{FF2B5EF4-FFF2-40B4-BE49-F238E27FC236}">
                <a16:creationId xmlns:a16="http://schemas.microsoft.com/office/drawing/2014/main" id="{889FCC5E-92C8-C156-281F-41F430D6EF53}"/>
              </a:ext>
            </a:extLst>
          </p:cNvPr>
          <p:cNvSpPr>
            <a:spLocks noGrp="1"/>
          </p:cNvSpPr>
          <p:nvPr>
            <p:ph type="sldNum" sz="quarter" idx="5"/>
          </p:nvPr>
        </p:nvSpPr>
        <p:spPr/>
        <p:txBody>
          <a:bodyPr/>
          <a:lstStyle/>
          <a:p>
            <a:fld id="{CFB13F05-AB76-4B58-B2AA-B1112B541FD4}" type="slidenum">
              <a:rPr lang="cs-CZ" smtClean="0"/>
              <a:t>20</a:t>
            </a:fld>
            <a:endParaRPr lang="cs-CZ"/>
          </a:p>
        </p:txBody>
      </p:sp>
    </p:spTree>
    <p:extLst>
      <p:ext uri="{BB962C8B-B14F-4D97-AF65-F5344CB8AC3E}">
        <p14:creationId xmlns:p14="http://schemas.microsoft.com/office/powerpoint/2010/main" val="4040881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AD3A8-716E-F719-FF9E-94076F82700B}"/>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38C1696E-CA08-F245-3727-62D07AAD336C}"/>
              </a:ext>
            </a:extLst>
          </p:cNvPr>
          <p:cNvSpPr>
            <a:spLocks noGrp="1" noRot="1" noChangeAspect="1"/>
          </p:cNvSpPr>
          <p:nvPr>
            <p:ph type="sldImg"/>
          </p:nvPr>
        </p:nvSpPr>
        <p:spPr>
          <a:xfrm>
            <a:off x="3308350" y="850900"/>
            <a:ext cx="3309938" cy="2292350"/>
          </a:xfrm>
        </p:spPr>
      </p:sp>
      <p:sp>
        <p:nvSpPr>
          <p:cNvPr id="3" name="Zástupný symbol pro poznámky 2">
            <a:extLst>
              <a:ext uri="{FF2B5EF4-FFF2-40B4-BE49-F238E27FC236}">
                <a16:creationId xmlns:a16="http://schemas.microsoft.com/office/drawing/2014/main" id="{C15A1C49-AC7B-8026-1F4B-59894EFDCC1F}"/>
              </a:ext>
            </a:extLst>
          </p:cNvPr>
          <p:cNvSpPr>
            <a:spLocks noGrp="1"/>
          </p:cNvSpPr>
          <p:nvPr>
            <p:ph type="body" idx="1"/>
          </p:nvPr>
        </p:nvSpPr>
        <p:spPr/>
        <p:txBody>
          <a:bodyPr/>
          <a:lstStyle/>
          <a:p>
            <a:pPr>
              <a:spcBef>
                <a:spcPct val="20000"/>
              </a:spcBef>
            </a:pPr>
            <a:r>
              <a:rPr lang="cs-CZ" sz="850" b="1">
                <a:solidFill>
                  <a:srgbClr val="034EA2"/>
                </a:solidFill>
              </a:rPr>
              <a:t>Evropský fond pro hospodářskou, sociální a územní soudržnost, zemědělství a rozvoj venkova, rybolov a námořní záležitosti, prosperitu a bezpečnost = Evropský fond</a:t>
            </a:r>
            <a:endParaRPr lang="en-US"/>
          </a:p>
          <a:p>
            <a:pPr>
              <a:spcBef>
                <a:spcPct val="20000"/>
              </a:spcBef>
            </a:pPr>
            <a:r>
              <a:rPr lang="cs-CZ" sz="850" b="1">
                <a:solidFill>
                  <a:srgbClr val="262626"/>
                </a:solidFill>
              </a:rPr>
              <a:t>Hlavní návrhy a změny</a:t>
            </a:r>
            <a:endParaRPr lang="en-US" sz="850">
              <a:solidFill>
                <a:srgbClr val="262626"/>
              </a:solidFill>
              <a:ea typeface="Calibri"/>
              <a:cs typeface="Calibri"/>
            </a:endParaRPr>
          </a:p>
          <a:p>
            <a:pPr marL="684530" lvl="1" indent="-285750">
              <a:spcBef>
                <a:spcPct val="20000"/>
              </a:spcBef>
              <a:buFont typeface="Arial"/>
              <a:buChar char="•"/>
            </a:pPr>
            <a:r>
              <a:rPr lang="cs-CZ" sz="850">
                <a:solidFill>
                  <a:srgbClr val="262626"/>
                </a:solidFill>
              </a:rPr>
              <a:t>Sloučení téměř 540 programů do 27 národních a regionálních plánů partnerství a jednoho plánu </a:t>
            </a:r>
            <a:r>
              <a:rPr lang="cs-CZ" sz="850" err="1">
                <a:solidFill>
                  <a:srgbClr val="262626"/>
                </a:solidFill>
              </a:rPr>
              <a:t>Interreg</a:t>
            </a:r>
            <a:endParaRPr lang="cs-CZ" sz="850" err="1">
              <a:solidFill>
                <a:srgbClr val="262626"/>
              </a:solidFill>
              <a:ea typeface="Calibri"/>
              <a:cs typeface="Calibri"/>
            </a:endParaRPr>
          </a:p>
          <a:p>
            <a:pPr marL="684530" lvl="1" indent="-285750">
              <a:spcBef>
                <a:spcPct val="20000"/>
              </a:spcBef>
              <a:buFont typeface="Arial"/>
              <a:buChar char="•"/>
            </a:pPr>
            <a:r>
              <a:rPr lang="cs-CZ" sz="850">
                <a:solidFill>
                  <a:srgbClr val="262626"/>
                </a:solidFill>
              </a:rPr>
              <a:t>Zavedení jednoho souboru pravidel pro všechny oblasti podpory</a:t>
            </a:r>
            <a:endParaRPr lang="en-US" sz="850">
              <a:solidFill>
                <a:srgbClr val="262626"/>
              </a:solidFill>
            </a:endParaRPr>
          </a:p>
          <a:p>
            <a:pPr marL="684530" lvl="1" indent="-285750">
              <a:spcBef>
                <a:spcPct val="20000"/>
              </a:spcBef>
              <a:buFont typeface="Arial"/>
              <a:buChar char="•"/>
            </a:pPr>
            <a:r>
              <a:rPr lang="cs-CZ" sz="850">
                <a:solidFill>
                  <a:srgbClr val="262626"/>
                </a:solidFill>
              </a:rPr>
              <a:t>Posílení víceúrovňového řízení a zapojení regionálních </a:t>
            </a:r>
            <a:r>
              <a:rPr lang="cs-CZ" sz="850" err="1">
                <a:solidFill>
                  <a:srgbClr val="262626"/>
                </a:solidFill>
              </a:rPr>
              <a:t>aktétů</a:t>
            </a:r>
            <a:endParaRPr lang="cs-CZ" sz="850" err="1">
              <a:solidFill>
                <a:srgbClr val="262626"/>
              </a:solidFill>
              <a:ea typeface="Calibri"/>
              <a:cs typeface="Calibri"/>
            </a:endParaRPr>
          </a:p>
          <a:p>
            <a:pPr marL="684530" lvl="1" indent="-285750">
              <a:spcBef>
                <a:spcPct val="20000"/>
              </a:spcBef>
              <a:buFont typeface="Arial"/>
              <a:buChar char="•"/>
            </a:pPr>
            <a:r>
              <a:rPr lang="cs-CZ" sz="850">
                <a:solidFill>
                  <a:srgbClr val="262626"/>
                </a:solidFill>
              </a:rPr>
              <a:t>Zavedení tzv. EU facility – nástroje pro rychlou reakci na krize a podporu inovací</a:t>
            </a:r>
            <a:endParaRPr lang="en-US" sz="850">
              <a:solidFill>
                <a:srgbClr val="262626"/>
              </a:solidFill>
            </a:endParaRPr>
          </a:p>
          <a:p>
            <a:pPr marL="684530" lvl="1" indent="-285750">
              <a:spcBef>
                <a:spcPct val="20000"/>
              </a:spcBef>
              <a:buFont typeface="Arial"/>
              <a:buChar char="•"/>
            </a:pPr>
            <a:r>
              <a:rPr lang="cs-CZ" sz="850">
                <a:solidFill>
                  <a:srgbClr val="262626"/>
                </a:solidFill>
              </a:rPr>
              <a:t>Podpora projektů s vyšší přidanou hodnotou EU, vč. přeshraničních projektů</a:t>
            </a:r>
            <a:endParaRPr lang="en-US" sz="850">
              <a:solidFill>
                <a:srgbClr val="262626"/>
              </a:solidFill>
            </a:endParaRPr>
          </a:p>
          <a:p>
            <a:pPr marL="684530" lvl="1" indent="-285750">
              <a:spcBef>
                <a:spcPct val="20000"/>
              </a:spcBef>
              <a:buFont typeface="Arial"/>
              <a:buChar char="•"/>
            </a:pPr>
            <a:r>
              <a:rPr lang="cs-CZ">
                <a:solidFill>
                  <a:srgbClr val="262626"/>
                </a:solidFill>
              </a:rPr>
              <a:t>Důraz na spravedlivý přístup, generační obměnu a podporu nejvíce potřebným</a:t>
            </a:r>
            <a:endParaRPr lang="cs-CZ"/>
          </a:p>
          <a:p>
            <a:endParaRPr lang="cs-CZ" sz="1000">
              <a:ea typeface="Calibri"/>
              <a:cs typeface="Calibri"/>
            </a:endParaRPr>
          </a:p>
          <a:p>
            <a:r>
              <a:rPr lang="cs-CZ" sz="1000" kern="1200">
                <a:solidFill>
                  <a:schemeClr val="tx1"/>
                </a:solidFill>
                <a:effectLst/>
                <a:latin typeface="+mn-lt"/>
                <a:ea typeface="+mn-ea"/>
                <a:cs typeface="+mn-cs"/>
              </a:rPr>
              <a:t>Dne 16. července 2025 byl zveřejněn 1 balík legislativních návrhů pro období 2028</a:t>
            </a:r>
            <a:r>
              <a:rPr lang="cs-CZ" sz="1000" b="1" kern="1200">
                <a:solidFill>
                  <a:schemeClr val="tx1"/>
                </a:solidFill>
                <a:effectLst/>
                <a:latin typeface="+mn-lt"/>
                <a:ea typeface="+mn-ea"/>
                <a:cs typeface="+mn-cs"/>
              </a:rPr>
              <a:t>+. MMR má přiděleno gesci k následujícím 3 nařízením</a:t>
            </a:r>
            <a:r>
              <a:rPr lang="cs-CZ" sz="1000" kern="1200">
                <a:solidFill>
                  <a:schemeClr val="tx1"/>
                </a:solidFill>
                <a:effectLst/>
                <a:latin typeface="+mn-lt"/>
                <a:ea typeface="+mn-ea"/>
                <a:cs typeface="+mn-cs"/>
              </a:rPr>
              <a:t>:</a:t>
            </a:r>
            <a:endParaRPr lang="cs-CZ">
              <a:ea typeface="+mn-ea"/>
              <a:cs typeface="+mn-cs"/>
            </a:endParaRPr>
          </a:p>
          <a:p>
            <a:r>
              <a:rPr lang="cs-CZ" sz="1000" kern="1200">
                <a:solidFill>
                  <a:schemeClr val="tx1"/>
                </a:solidFill>
                <a:effectLst/>
                <a:latin typeface="+mn-lt"/>
                <a:ea typeface="+mn-ea"/>
                <a:cs typeface="+mn-cs"/>
              </a:rPr>
              <a:t>  </a:t>
            </a:r>
            <a:endParaRPr lang="cs-CZ" sz="1000" kern="1200">
              <a:solidFill>
                <a:schemeClr val="tx1"/>
              </a:solidFill>
              <a:effectLst/>
              <a:latin typeface="+mn-lt"/>
              <a:ea typeface="Calibri"/>
              <a:cs typeface="Calibri"/>
            </a:endParaRPr>
          </a:p>
          <a:p>
            <a:pPr lvl="0"/>
            <a:r>
              <a:rPr lang="cs-CZ" sz="1000" b="1" kern="1200">
                <a:solidFill>
                  <a:schemeClr val="tx1"/>
                </a:solidFill>
                <a:effectLst/>
                <a:latin typeface="+mn-lt"/>
                <a:ea typeface="+mn-ea"/>
                <a:cs typeface="+mn-cs"/>
              </a:rPr>
              <a:t>Nařízení o Evropském fondu a NRPP (nařízení o EF a NRPP)</a:t>
            </a:r>
            <a:endParaRPr lang="cs-CZ" sz="1000" b="1" kern="1200">
              <a:solidFill>
                <a:schemeClr val="tx1"/>
              </a:solidFill>
              <a:effectLst/>
              <a:latin typeface="+mn-lt"/>
              <a:ea typeface="Calibri"/>
              <a:cs typeface="Calibri"/>
            </a:endParaRPr>
          </a:p>
          <a:p>
            <a:pPr marL="171450" lvl="0" indent="-171450">
              <a:buFont typeface="Arial" panose="020B0604020202020204" pitchFamily="34" charset="0"/>
              <a:buChar char="•"/>
            </a:pPr>
            <a:r>
              <a:rPr lang="cs-CZ" sz="1000" kern="1200">
                <a:solidFill>
                  <a:schemeClr val="tx1"/>
                </a:solidFill>
                <a:effectLst/>
                <a:latin typeface="+mn-lt"/>
                <a:ea typeface="+mn-ea"/>
                <a:cs typeface="+mn-cs"/>
              </a:rPr>
              <a:t>Návrh bude projednáván na nové podskupině k NRPP pod ad hoc pracovní skupinou k VFR (víceletého finančního rámce).</a:t>
            </a:r>
            <a:endParaRPr lang="cs-CZ" sz="1000" kern="1200">
              <a:solidFill>
                <a:schemeClr val="tx1"/>
              </a:solidFill>
              <a:effectLst/>
              <a:latin typeface="+mn-lt"/>
              <a:ea typeface="Calibri"/>
              <a:cs typeface="Calibri"/>
            </a:endParaRPr>
          </a:p>
          <a:p>
            <a:pPr marL="171450" lvl="0" indent="-171450">
              <a:buFont typeface="Arial" panose="020B0604020202020204" pitchFamily="34" charset="0"/>
              <a:buChar char="•"/>
            </a:pPr>
            <a:r>
              <a:rPr lang="cs-CZ" sz="1000" kern="1200">
                <a:solidFill>
                  <a:schemeClr val="tx1"/>
                </a:solidFill>
                <a:effectLst/>
                <a:latin typeface="+mn-lt"/>
                <a:ea typeface="+mn-ea"/>
                <a:cs typeface="+mn-cs"/>
              </a:rPr>
              <a:t>Cílem návrhu je vytvořit Evropský fond zaměřený na hospodářskou, sociální i územní soudržnost, zemědělství, rozvoj venkova, rybolov a námořní oblast, a také na podporu prosperity a bezpečnosti. Tento návrh má zajistit lepší propojení priorit EU s opatřeními na národní i regionální úrovni. Důležitou částí je i možnost flexibilně přerozdělovat prostředky a rychle reagovat na nové potřeby nebo nečekané krize. </a:t>
            </a:r>
            <a:endParaRPr lang="cs-CZ" sz="1000" kern="1200">
              <a:solidFill>
                <a:schemeClr val="tx1"/>
              </a:solidFill>
              <a:effectLst/>
              <a:latin typeface="+mn-lt"/>
              <a:ea typeface="Calibri"/>
              <a:cs typeface="Calibri"/>
            </a:endParaRPr>
          </a:p>
          <a:p>
            <a:pPr marL="171450" lvl="0" indent="-171450">
              <a:buFont typeface="Arial" panose="020B0604020202020204" pitchFamily="34" charset="0"/>
              <a:buChar char="•"/>
            </a:pPr>
            <a:r>
              <a:rPr lang="cs-CZ" sz="1000" kern="1200">
                <a:solidFill>
                  <a:schemeClr val="tx1"/>
                </a:solidFill>
                <a:effectLst/>
                <a:latin typeface="+mn-lt"/>
                <a:ea typeface="+mn-ea"/>
                <a:cs typeface="+mn-cs"/>
              </a:rPr>
              <a:t>MMR NOK v hierarchii tohoto modelu zůstává v roli koordinační a nově bude také řídit celou implementaci NRPP.</a:t>
            </a:r>
            <a:endParaRPr lang="cs-CZ" sz="1000" kern="1200">
              <a:solidFill>
                <a:schemeClr val="tx1"/>
              </a:solidFill>
              <a:effectLst/>
              <a:latin typeface="+mn-lt"/>
              <a:ea typeface="Calibri"/>
              <a:cs typeface="Calibri"/>
            </a:endParaRPr>
          </a:p>
          <a:p>
            <a:pPr marL="171450" lvl="0" indent="-171450">
              <a:buFont typeface="Arial" panose="020B0604020202020204" pitchFamily="34" charset="0"/>
              <a:buChar char="•"/>
            </a:pPr>
            <a:endParaRPr lang="cs-CZ" sz="1000" kern="1200">
              <a:solidFill>
                <a:schemeClr val="tx1"/>
              </a:solidFill>
              <a:effectLst/>
              <a:latin typeface="+mn-lt"/>
              <a:ea typeface="+mn-ea"/>
              <a:cs typeface="+mn-cs"/>
            </a:endParaRPr>
          </a:p>
          <a:p>
            <a:pPr lvl="0"/>
            <a:r>
              <a:rPr lang="cs-CZ" sz="1000" b="1" kern="1200">
                <a:solidFill>
                  <a:schemeClr val="tx1"/>
                </a:solidFill>
                <a:effectLst/>
                <a:latin typeface="+mn-lt"/>
                <a:ea typeface="+mn-ea"/>
                <a:cs typeface="+mn-cs"/>
              </a:rPr>
              <a:t>Nařízení ke sledování rozpočtových výdajů a výkonnostnímu rámci (Nařízení o VR)</a:t>
            </a:r>
            <a:endParaRPr lang="cs-CZ" sz="1000" b="1" kern="1200">
              <a:solidFill>
                <a:schemeClr val="tx1"/>
              </a:solidFill>
              <a:effectLst/>
              <a:latin typeface="+mn-lt"/>
              <a:ea typeface="Calibri"/>
              <a:cs typeface="Calibri"/>
            </a:endParaRPr>
          </a:p>
          <a:p>
            <a:pPr marL="171450" lvl="0" indent="-171450">
              <a:buFont typeface="Arial" panose="020B0604020202020204" pitchFamily="34" charset="0"/>
              <a:buChar char="•"/>
            </a:pPr>
            <a:r>
              <a:rPr lang="cs-CZ" sz="1000" kern="1200">
                <a:solidFill>
                  <a:schemeClr val="tx1"/>
                </a:solidFill>
                <a:effectLst/>
                <a:latin typeface="+mn-lt"/>
                <a:ea typeface="+mn-ea"/>
                <a:cs typeface="+mn-cs"/>
              </a:rPr>
              <a:t>Návrh bude projednáván na Rozpočtovém výboru Rady</a:t>
            </a:r>
            <a:endParaRPr lang="cs-CZ" sz="1000" kern="1200">
              <a:solidFill>
                <a:schemeClr val="tx1"/>
              </a:solidFill>
              <a:effectLst/>
              <a:latin typeface="+mn-lt"/>
              <a:ea typeface="Calibri"/>
              <a:cs typeface="Calibri"/>
            </a:endParaRPr>
          </a:p>
          <a:p>
            <a:pPr marL="171450" lvl="0" indent="-171450">
              <a:buFont typeface="Arial" panose="020B0604020202020204" pitchFamily="34" charset="0"/>
              <a:buChar char="•"/>
            </a:pPr>
            <a:r>
              <a:rPr lang="cs-CZ" sz="1000" kern="1200">
                <a:solidFill>
                  <a:schemeClr val="tx1"/>
                </a:solidFill>
                <a:effectLst/>
                <a:latin typeface="+mn-lt"/>
                <a:ea typeface="+mn-ea"/>
                <a:cs typeface="+mn-cs"/>
              </a:rPr>
              <a:t>Cílem nařízení je vytvořit jednotný rámec pro sledování rozpočtových výdajů a výkonnosti VFR. Nově by mělo být sledování jednodušší, konzistentnější a méně administrativně náročné. Díky tomu bude možné lépe sledovat, jak se daří naplňovat politické priority. Nařízení stanovuje společná pravidla pro celý rozpočet, nejen pro NRPP. Tato pravidla se týkají například hodnocení programů a činností. Stanovují také postupy pro informování, komunikaci a zajištění viditelnosti. </a:t>
            </a:r>
            <a:endParaRPr lang="cs-CZ" sz="1000" kern="1200">
              <a:solidFill>
                <a:schemeClr val="tx1"/>
              </a:solidFill>
              <a:effectLst/>
              <a:latin typeface="+mn-lt"/>
              <a:ea typeface="Calibri"/>
              <a:cs typeface="Calibri"/>
            </a:endParaRPr>
          </a:p>
          <a:p>
            <a:pPr marL="171450" lvl="0" indent="-171450">
              <a:buFont typeface="Arial" panose="020B0604020202020204" pitchFamily="34" charset="0"/>
              <a:buChar char="•"/>
            </a:pPr>
            <a:endParaRPr lang="cs-CZ" sz="1000" kern="1200">
              <a:solidFill>
                <a:schemeClr val="tx1"/>
              </a:solidFill>
              <a:effectLst/>
              <a:latin typeface="+mn-lt"/>
              <a:ea typeface="+mn-ea"/>
              <a:cs typeface="+mn-cs"/>
            </a:endParaRPr>
          </a:p>
          <a:p>
            <a:pPr lvl="0"/>
            <a:r>
              <a:rPr lang="cs-CZ" sz="1000" b="1" kern="1200">
                <a:solidFill>
                  <a:schemeClr val="tx1"/>
                </a:solidFill>
                <a:effectLst/>
                <a:latin typeface="+mn-lt"/>
                <a:ea typeface="+mn-ea"/>
                <a:cs typeface="+mn-cs"/>
              </a:rPr>
              <a:t>Nařízení o EFRR / FS / </a:t>
            </a:r>
            <a:r>
              <a:rPr lang="cs-CZ" sz="1000" b="1" kern="1200" err="1">
                <a:solidFill>
                  <a:schemeClr val="tx1"/>
                </a:solidFill>
                <a:effectLst/>
                <a:latin typeface="+mn-lt"/>
                <a:ea typeface="+mn-ea"/>
                <a:cs typeface="+mn-cs"/>
              </a:rPr>
              <a:t>Interreg</a:t>
            </a:r>
            <a:endParaRPr lang="cs-CZ" sz="1000" b="1" kern="1200">
              <a:solidFill>
                <a:schemeClr val="tx1"/>
              </a:solidFill>
              <a:effectLst/>
              <a:latin typeface="+mn-lt"/>
              <a:ea typeface="+mn-ea"/>
              <a:cs typeface="+mn-cs"/>
            </a:endParaRPr>
          </a:p>
          <a:p>
            <a:pPr marL="171450" lvl="0" indent="-171450">
              <a:buFont typeface="Arial" panose="020B0604020202020204" pitchFamily="34" charset="0"/>
              <a:buChar char="•"/>
            </a:pPr>
            <a:r>
              <a:rPr lang="cs-CZ" sz="1000" kern="1200">
                <a:solidFill>
                  <a:schemeClr val="tx1"/>
                </a:solidFill>
                <a:effectLst/>
                <a:latin typeface="+mn-lt"/>
                <a:ea typeface="+mn-ea"/>
                <a:cs typeface="+mn-cs"/>
              </a:rPr>
              <a:t>Návrh bude projednáván na pracovní skupině pro strukturální opatření a nejvzdálenější regiony (SMOR)</a:t>
            </a:r>
            <a:endParaRPr lang="cs-CZ" sz="1000" kern="1200">
              <a:solidFill>
                <a:schemeClr val="tx1"/>
              </a:solidFill>
              <a:effectLst/>
              <a:latin typeface="+mn-lt"/>
              <a:ea typeface="Calibri"/>
              <a:cs typeface="Calibri"/>
            </a:endParaRPr>
          </a:p>
          <a:p>
            <a:pPr marL="171450" lvl="0" indent="-171450">
              <a:buFont typeface="Arial" panose="020B0604020202020204" pitchFamily="34" charset="0"/>
              <a:buChar char="•"/>
            </a:pPr>
            <a:r>
              <a:rPr lang="cs-CZ" sz="1000" kern="1200">
                <a:solidFill>
                  <a:schemeClr val="tx1"/>
                </a:solidFill>
                <a:effectLst/>
                <a:latin typeface="+mn-lt"/>
                <a:ea typeface="+mn-ea"/>
                <a:cs typeface="+mn-cs"/>
              </a:rPr>
              <a:t>na rozdíl od předchozích období jsou ale stručnější, jelikož již nedochází k rozdělení alokací mezi tyto fondy a zásadní podmínky jsou tak řešeny těch hlavních nařízeních</a:t>
            </a:r>
            <a:endParaRPr lang="cs-CZ" sz="1000" kern="1200">
              <a:solidFill>
                <a:schemeClr val="tx1"/>
              </a:solidFill>
              <a:effectLst/>
              <a:latin typeface="+mn-lt"/>
              <a:ea typeface="Calibri"/>
              <a:cs typeface="Calibri"/>
            </a:endParaRPr>
          </a:p>
          <a:p>
            <a:pPr marL="0" lvl="0" indent="0">
              <a:buFont typeface="Arial" panose="020B0604020202020204" pitchFamily="34" charset="0"/>
              <a:buNone/>
            </a:pPr>
            <a:endParaRPr lang="cs-CZ" sz="1000" kern="1200">
              <a:solidFill>
                <a:schemeClr val="tx1"/>
              </a:solidFill>
              <a:effectLst/>
              <a:latin typeface="+mn-lt"/>
              <a:ea typeface="+mn-ea"/>
              <a:cs typeface="+mn-cs"/>
            </a:endParaRPr>
          </a:p>
          <a:p>
            <a:pPr marL="0" lvl="0" indent="0">
              <a:buFont typeface="Arial" panose="020B0604020202020204" pitchFamily="34" charset="0"/>
              <a:buNone/>
            </a:pPr>
            <a:r>
              <a:rPr lang="cs-CZ" sz="1000" kern="1200">
                <a:solidFill>
                  <a:schemeClr val="tx1"/>
                </a:solidFill>
                <a:effectLst/>
                <a:latin typeface="+mn-lt"/>
                <a:ea typeface="+mn-ea"/>
                <a:cs typeface="+mn-cs"/>
              </a:rPr>
              <a:t>K daným nařízením zpracováváme ve spolupráci s příslušnými resorty rámcové pozice, které budou předloženy </a:t>
            </a:r>
            <a:r>
              <a:rPr lang="cs-CZ" sz="1000" b="1" kern="1200">
                <a:solidFill>
                  <a:schemeClr val="tx1"/>
                </a:solidFill>
                <a:effectLst/>
                <a:latin typeface="+mn-lt"/>
                <a:ea typeface="+mn-ea"/>
                <a:cs typeface="+mn-cs"/>
              </a:rPr>
              <a:t>10. 9. 2025 vládě ČR ke schválení</a:t>
            </a:r>
            <a:endParaRPr lang="cs-CZ" sz="1000" b="1" kern="1200">
              <a:solidFill>
                <a:schemeClr val="tx1"/>
              </a:solidFill>
              <a:effectLst/>
              <a:latin typeface="+mn-lt"/>
              <a:ea typeface="Calibri"/>
              <a:cs typeface="Calibri"/>
            </a:endParaRPr>
          </a:p>
          <a:p>
            <a:pPr marL="0" lvl="0" indent="0">
              <a:buFont typeface="Arial" panose="020B0604020202020204" pitchFamily="34" charset="0"/>
              <a:buNone/>
            </a:pPr>
            <a:endParaRPr lang="cs-CZ" sz="1000" kern="1200">
              <a:solidFill>
                <a:srgbClr val="FF0000"/>
              </a:solidFill>
              <a:effectLst/>
              <a:highlight>
                <a:srgbClr val="FFFF00"/>
              </a:highlight>
              <a:latin typeface="+mn-lt"/>
              <a:ea typeface="+mn-ea"/>
              <a:cs typeface="+mn-cs"/>
            </a:endParaRPr>
          </a:p>
          <a:p>
            <a:pPr marL="0" lvl="0" indent="0">
              <a:buFont typeface="Arial" panose="020B0604020202020204" pitchFamily="34" charset="0"/>
              <a:buNone/>
            </a:pPr>
            <a:r>
              <a:rPr lang="cs-CZ" sz="1000" kern="1200">
                <a:solidFill>
                  <a:schemeClr val="tx1"/>
                </a:solidFill>
                <a:effectLst/>
                <a:latin typeface="+mn-lt"/>
                <a:ea typeface="+mn-ea"/>
                <a:cs typeface="+mn-cs"/>
              </a:rPr>
              <a:t>Při vyjednávání na EU úrovni bude MMR s gestory jednotlivých částí nařízení připravovat vstupy do </a:t>
            </a:r>
            <a:r>
              <a:rPr lang="cs-CZ" sz="1000" b="1" kern="1200">
                <a:solidFill>
                  <a:schemeClr val="tx1"/>
                </a:solidFill>
                <a:effectLst/>
                <a:latin typeface="+mn-lt"/>
                <a:ea typeface="+mn-ea"/>
                <a:cs typeface="+mn-cs"/>
              </a:rPr>
              <a:t>instrukcí</a:t>
            </a:r>
            <a:r>
              <a:rPr lang="cs-CZ" sz="1000" kern="1200">
                <a:solidFill>
                  <a:schemeClr val="tx1"/>
                </a:solidFill>
                <a:effectLst/>
                <a:latin typeface="+mn-lt"/>
                <a:ea typeface="+mn-ea"/>
                <a:cs typeface="+mn-cs"/>
              </a:rPr>
              <a:t> na jednání pracovních skupin Rady. Mimo ČS se jednání na pracovních skupinách Rady účastní zástupci EK. V této souvislosti </a:t>
            </a:r>
            <a:r>
              <a:rPr lang="cs-CZ" sz="1000" b="1" kern="1200">
                <a:solidFill>
                  <a:schemeClr val="tx1"/>
                </a:solidFill>
                <a:effectLst/>
                <a:latin typeface="+mn-lt"/>
                <a:ea typeface="+mn-ea"/>
                <a:cs typeface="+mn-cs"/>
              </a:rPr>
              <a:t>vnímá ČR jako problém, že není stanoven jeden partner pro vyjednávání a k různým částem se budou vyjadřovat zástupci různých </a:t>
            </a:r>
            <a:r>
              <a:rPr lang="cs-CZ" sz="1000" b="1" kern="1200" err="1">
                <a:solidFill>
                  <a:schemeClr val="tx1"/>
                </a:solidFill>
                <a:effectLst/>
                <a:latin typeface="+mn-lt"/>
                <a:ea typeface="+mn-ea"/>
                <a:cs typeface="+mn-cs"/>
              </a:rPr>
              <a:t>DGs</a:t>
            </a:r>
            <a:r>
              <a:rPr lang="cs-CZ" sz="1000" kern="1200">
                <a:solidFill>
                  <a:schemeClr val="tx1"/>
                </a:solidFill>
                <a:effectLst/>
                <a:latin typeface="+mn-lt"/>
                <a:ea typeface="+mn-ea"/>
                <a:cs typeface="+mn-cs"/>
              </a:rPr>
              <a:t>.</a:t>
            </a:r>
            <a:endParaRPr lang="cs-CZ" sz="1000" kern="1200">
              <a:solidFill>
                <a:schemeClr val="tx1"/>
              </a:solidFill>
              <a:effectLst/>
              <a:latin typeface="+mn-lt"/>
              <a:ea typeface="Calibri"/>
              <a:cs typeface="Calibri"/>
            </a:endParaRPr>
          </a:p>
          <a:p>
            <a:pPr marL="0" lvl="0" indent="0">
              <a:buFont typeface="Arial" panose="020B0604020202020204" pitchFamily="34" charset="0"/>
              <a:buNone/>
            </a:pPr>
            <a:endParaRPr lang="cs-CZ" sz="1000" kern="1200">
              <a:solidFill>
                <a:schemeClr val="tx1"/>
              </a:solidFill>
              <a:effectLst/>
              <a:latin typeface="+mn-lt"/>
              <a:ea typeface="+mn-ea"/>
              <a:cs typeface="+mn-cs"/>
            </a:endParaRPr>
          </a:p>
        </p:txBody>
      </p:sp>
      <p:sp>
        <p:nvSpPr>
          <p:cNvPr id="4" name="Zástupný symbol pro číslo snímku 3">
            <a:extLst>
              <a:ext uri="{FF2B5EF4-FFF2-40B4-BE49-F238E27FC236}">
                <a16:creationId xmlns:a16="http://schemas.microsoft.com/office/drawing/2014/main" id="{5B32A256-B6D6-178D-5F45-2FF34EC849F9}"/>
              </a:ext>
            </a:extLst>
          </p:cNvPr>
          <p:cNvSpPr>
            <a:spLocks noGrp="1"/>
          </p:cNvSpPr>
          <p:nvPr>
            <p:ph type="sldNum" sz="quarter" idx="5"/>
          </p:nvPr>
        </p:nvSpPr>
        <p:spPr/>
        <p:txBody>
          <a:bodyPr/>
          <a:lstStyle/>
          <a:p>
            <a:fld id="{CFB13F05-AB76-4B58-B2AA-B1112B541FD4}" type="slidenum">
              <a:rPr lang="cs-CZ" smtClean="0"/>
              <a:t>21</a:t>
            </a:fld>
            <a:endParaRPr lang="cs-CZ"/>
          </a:p>
        </p:txBody>
      </p:sp>
    </p:spTree>
    <p:extLst>
      <p:ext uri="{BB962C8B-B14F-4D97-AF65-F5344CB8AC3E}">
        <p14:creationId xmlns:p14="http://schemas.microsoft.com/office/powerpoint/2010/main" val="1478025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3308350" y="850900"/>
            <a:ext cx="3309938" cy="2292350"/>
          </a:xfrm>
        </p:spPr>
      </p:sp>
      <p:sp>
        <p:nvSpPr>
          <p:cNvPr id="3" name="Zástupný symbol pro poznámky 2"/>
          <p:cNvSpPr>
            <a:spLocks noGrp="1"/>
          </p:cNvSpPr>
          <p:nvPr>
            <p:ph type="body" idx="1"/>
          </p:nvPr>
        </p:nvSpPr>
        <p:spPr/>
        <p:txBody>
          <a:bodyPr/>
          <a:lstStyle/>
          <a:p>
            <a:r>
              <a:rPr lang="cs-CZ" sz="1000" b="1"/>
              <a:t>Koordinační orgán</a:t>
            </a:r>
            <a:r>
              <a:rPr lang="cs-CZ" sz="1000"/>
              <a:t>:</a:t>
            </a:r>
          </a:p>
          <a:p>
            <a:r>
              <a:rPr lang="cs-CZ" sz="1000"/>
              <a:t>MMR bylo pověřeno </a:t>
            </a:r>
            <a:r>
              <a:rPr lang="cs-CZ" sz="1000" b="1"/>
              <a:t>koordinací</a:t>
            </a:r>
            <a:r>
              <a:rPr lang="cs-CZ" sz="1000"/>
              <a:t> přípravy NRPP na období po roce 2028. Aktuálně připravujeme návrh </a:t>
            </a:r>
            <a:r>
              <a:rPr lang="cs-CZ" sz="1000" b="1"/>
              <a:t>struktury národních platforem </a:t>
            </a:r>
            <a:r>
              <a:rPr lang="cs-CZ" sz="1000"/>
              <a:t>tak, abychom zajistili efektivní a kvalitní přípravu NRPP. Respektujeme přitom partnerský přístup. </a:t>
            </a:r>
          </a:p>
          <a:p>
            <a:endParaRPr lang="cs-CZ" sz="1000"/>
          </a:p>
          <a:p>
            <a:r>
              <a:rPr lang="cs-CZ" sz="1000" b="1"/>
              <a:t>Partner pro EK</a:t>
            </a:r>
            <a:r>
              <a:rPr lang="cs-CZ" sz="1000"/>
              <a:t>:</a:t>
            </a:r>
          </a:p>
          <a:p>
            <a:r>
              <a:rPr lang="cs-CZ" sz="1000"/>
              <a:t>není zcela jasný proces vyjednávání NRPP, je nutno si s EK ujasnit.</a:t>
            </a:r>
          </a:p>
          <a:p>
            <a:endParaRPr lang="cs-CZ" sz="1000"/>
          </a:p>
          <a:p>
            <a:r>
              <a:rPr lang="cs-CZ" sz="1000" b="1"/>
              <a:t>Centrální metodický orgán</a:t>
            </a:r>
            <a:r>
              <a:rPr lang="cs-CZ" sz="1000"/>
              <a:t>:</a:t>
            </a:r>
          </a:p>
          <a:p>
            <a:r>
              <a:rPr lang="cs-CZ" sz="1000"/>
              <a:t>Současně probíhá příprava jednotného národního rámce pro implementaci NRPP. Nyní probíhá evaluace (proběhlo dotazníkové šetření, veřejná konzultace). Finalizace koncepce JNR proběhne do 30. 6. 2026</a:t>
            </a:r>
          </a:p>
        </p:txBody>
      </p:sp>
      <p:sp>
        <p:nvSpPr>
          <p:cNvPr id="4" name="Zástupný symbol pro číslo snímku 3"/>
          <p:cNvSpPr>
            <a:spLocks noGrp="1"/>
          </p:cNvSpPr>
          <p:nvPr>
            <p:ph type="sldNum" sz="quarter" idx="5"/>
          </p:nvPr>
        </p:nvSpPr>
        <p:spPr/>
        <p:txBody>
          <a:bodyPr/>
          <a:lstStyle/>
          <a:p>
            <a:fld id="{724D1ADD-8033-48EF-ADA3-7BDFB5868CC3}" type="slidenum">
              <a:rPr lang="cs-CZ" smtClean="0"/>
              <a:t>22</a:t>
            </a:fld>
            <a:endParaRPr lang="cs-CZ"/>
          </a:p>
        </p:txBody>
      </p:sp>
    </p:spTree>
    <p:extLst>
      <p:ext uri="{BB962C8B-B14F-4D97-AF65-F5344CB8AC3E}">
        <p14:creationId xmlns:p14="http://schemas.microsoft.com/office/powerpoint/2010/main" val="23043085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6.xml"/><Relationship Id="rId4" Type="http://schemas.openxmlformats.org/officeDocument/2006/relationships/image" Target="../media/image81.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Master" Target="../slideMasters/slideMaster7.xml"/><Relationship Id="rId4" Type="http://schemas.openxmlformats.org/officeDocument/2006/relationships/image" Target="../media/image87.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5.png"/><Relationship Id="rId1" Type="http://schemas.openxmlformats.org/officeDocument/2006/relationships/slideMaster" Target="../slideMasters/slideMaster7.xml"/><Relationship Id="rId4" Type="http://schemas.openxmlformats.org/officeDocument/2006/relationships/image" Target="../media/image89.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5.png"/><Relationship Id="rId1" Type="http://schemas.openxmlformats.org/officeDocument/2006/relationships/slideMaster" Target="../slideMasters/slideMaster7.xml"/><Relationship Id="rId4" Type="http://schemas.openxmlformats.org/officeDocument/2006/relationships/image" Target="../media/image8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5.png"/><Relationship Id="rId1" Type="http://schemas.openxmlformats.org/officeDocument/2006/relationships/slideMaster" Target="../slideMasters/slideMaster7.xml"/><Relationship Id="rId4" Type="http://schemas.openxmlformats.org/officeDocument/2006/relationships/image" Target="../media/image89.pn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5.png"/><Relationship Id="rId1" Type="http://schemas.openxmlformats.org/officeDocument/2006/relationships/slideMaster" Target="../slideMasters/slideMaster7.xml"/><Relationship Id="rId6" Type="http://schemas.openxmlformats.org/officeDocument/2006/relationships/image" Target="../media/image90.png"/><Relationship Id="rId5" Type="http://schemas.openxmlformats.org/officeDocument/2006/relationships/image" Target="../media/image87.png"/><Relationship Id="rId4" Type="http://schemas.openxmlformats.org/officeDocument/2006/relationships/image" Target="../media/image89.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6.jpe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6.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6.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jpe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jpe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2.jpeg"/><Relationship Id="rId1" Type="http://schemas.openxmlformats.org/officeDocument/2006/relationships/slideMaster" Target="../slideMasters/slideMaster4.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6.jpeg"/><Relationship Id="rId1" Type="http://schemas.openxmlformats.org/officeDocument/2006/relationships/slideMaster" Target="../slideMasters/slideMaster4.xml"/><Relationship Id="rId5" Type="http://schemas.openxmlformats.org/officeDocument/2006/relationships/image" Target="../media/image34.jpeg"/><Relationship Id="rId4" Type="http://schemas.openxmlformats.org/officeDocument/2006/relationships/image" Target="../media/image37.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34.jpeg"/><Relationship Id="rId2" Type="http://schemas.openxmlformats.org/officeDocument/2006/relationships/image" Target="../media/image36.jpeg"/><Relationship Id="rId1" Type="http://schemas.openxmlformats.org/officeDocument/2006/relationships/slideMaster" Target="../slideMasters/slideMaster4.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6.jpeg"/><Relationship Id="rId1" Type="http://schemas.openxmlformats.org/officeDocument/2006/relationships/slideMaster" Target="../slideMasters/slideMaster4.xml"/><Relationship Id="rId6" Type="http://schemas.openxmlformats.org/officeDocument/2006/relationships/image" Target="../media/image34.jpeg"/><Relationship Id="rId5" Type="http://schemas.openxmlformats.org/officeDocument/2006/relationships/image" Target="../media/image43.jpeg"/><Relationship Id="rId4" Type="http://schemas.openxmlformats.org/officeDocument/2006/relationships/image" Target="../media/image42.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6.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jpe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2.jpe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Master" Target="../slideMasters/slideMaster5.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jpe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1.jpeg"/><Relationship Id="rId1" Type="http://schemas.openxmlformats.org/officeDocument/2006/relationships/slideMaster" Target="../slideMasters/slideMaster5.xml"/><Relationship Id="rId4" Type="http://schemas.openxmlformats.org/officeDocument/2006/relationships/chart" Target="../charts/chart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jpe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6.xml"/><Relationship Id="rId5" Type="http://schemas.openxmlformats.org/officeDocument/2006/relationships/image" Target="../media/image66.png"/><Relationship Id="rId4" Type="http://schemas.openxmlformats.org/officeDocument/2006/relationships/image" Target="../media/image65.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7.jpeg"/><Relationship Id="rId1" Type="http://schemas.openxmlformats.org/officeDocument/2006/relationships/slideMaster" Target="../slideMasters/slideMaster6.xml"/><Relationship Id="rId5" Type="http://schemas.openxmlformats.org/officeDocument/2006/relationships/image" Target="../media/image66.png"/><Relationship Id="rId4" Type="http://schemas.openxmlformats.org/officeDocument/2006/relationships/image" Target="../media/image6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8.jpeg"/><Relationship Id="rId1" Type="http://schemas.openxmlformats.org/officeDocument/2006/relationships/slideMaster" Target="../slideMasters/slideMaster6.xml"/><Relationship Id="rId5" Type="http://schemas.openxmlformats.org/officeDocument/2006/relationships/image" Target="../media/image66.png"/><Relationship Id="rId4" Type="http://schemas.openxmlformats.org/officeDocument/2006/relationships/image" Target="../media/image6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9.jpeg"/><Relationship Id="rId1" Type="http://schemas.openxmlformats.org/officeDocument/2006/relationships/slideMaster" Target="../slideMasters/slideMaster6.xml"/><Relationship Id="rId5" Type="http://schemas.openxmlformats.org/officeDocument/2006/relationships/image" Target="../media/image66.png"/><Relationship Id="rId4" Type="http://schemas.openxmlformats.org/officeDocument/2006/relationships/image" Target="../media/image65.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6.xml"/><Relationship Id="rId4" Type="http://schemas.openxmlformats.org/officeDocument/2006/relationships/image" Target="../media/image64.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2.png"/><Relationship Id="rId1" Type="http://schemas.openxmlformats.org/officeDocument/2006/relationships/slideMaster" Target="../slideMasters/slideMaster6.xml"/><Relationship Id="rId5" Type="http://schemas.openxmlformats.org/officeDocument/2006/relationships/image" Target="../media/image74.png"/><Relationship Id="rId4" Type="http://schemas.openxmlformats.org/officeDocument/2006/relationships/image" Target="../media/image73.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76.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7.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731346" y="4624632"/>
            <a:ext cx="6934200" cy="492317"/>
          </a:xfrm>
          <a:prstGeom prst="rect">
            <a:avLst/>
          </a:prstGeom>
        </p:spPr>
        <p:txBody>
          <a:bodyPr lIns="90000">
            <a:normAutofit/>
          </a:bodyPr>
          <a:lstStyle>
            <a:lvl1pPr marL="0" indent="0" algn="l">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a:t>
            </a:r>
          </a:p>
        </p:txBody>
      </p:sp>
      <p:sp>
        <p:nvSpPr>
          <p:cNvPr id="8" name="TextovéPole 7"/>
          <p:cNvSpPr txBox="1"/>
          <p:nvPr userDrawn="1"/>
        </p:nvSpPr>
        <p:spPr>
          <a:xfrm>
            <a:off x="731346" y="879042"/>
            <a:ext cx="3627875" cy="517514"/>
          </a:xfrm>
          <a:prstGeom prst="rect">
            <a:avLst/>
          </a:prstGeom>
          <a:noFill/>
        </p:spPr>
        <p:txBody>
          <a:bodyPr wrap="square" rtlCol="0">
            <a:spAutoFit/>
          </a:bodyPr>
          <a:lstStyle/>
          <a:p>
            <a:r>
              <a:rPr lang="cs-CZ" sz="1138" b="1"/>
              <a:t>MINISTERSTVO PRO MÍSTNÍ ROZVOJ </a:t>
            </a:r>
            <a:br>
              <a:rPr lang="cs-CZ" sz="1706" b="1"/>
            </a:br>
            <a:r>
              <a:rPr lang="cs-CZ" sz="1625" b="1"/>
              <a:t>Národní orgán pro koordinaci</a:t>
            </a:r>
          </a:p>
        </p:txBody>
      </p:sp>
      <p:sp>
        <p:nvSpPr>
          <p:cNvPr id="19" name="Nadpis 18"/>
          <p:cNvSpPr>
            <a:spLocks noGrp="1"/>
          </p:cNvSpPr>
          <p:nvPr>
            <p:ph type="title" hasCustomPrompt="1"/>
          </p:nvPr>
        </p:nvSpPr>
        <p:spPr>
          <a:xfrm>
            <a:off x="731345" y="2109699"/>
            <a:ext cx="8915400" cy="1143000"/>
          </a:xfrm>
          <a:prstGeom prst="rect">
            <a:avLst/>
          </a:prstGeom>
        </p:spPr>
        <p:txBody>
          <a:bodyPr lIns="90000">
            <a:normAutofit/>
          </a:bodyPr>
          <a:lstStyle>
            <a:lvl1pPr algn="l">
              <a:defRPr sz="3250" b="1" baseline="0">
                <a:solidFill>
                  <a:srgbClr val="034EA2"/>
                </a:solidFill>
              </a:defRPr>
            </a:lvl1pPr>
          </a:lstStyle>
          <a:p>
            <a:r>
              <a:rPr lang="cs-CZ"/>
              <a:t>Název prezentace</a:t>
            </a:r>
          </a:p>
        </p:txBody>
      </p:sp>
      <p:sp>
        <p:nvSpPr>
          <p:cNvPr id="24" name="Zástupný symbol pro text 23"/>
          <p:cNvSpPr>
            <a:spLocks noGrp="1"/>
          </p:cNvSpPr>
          <p:nvPr>
            <p:ph type="body" sz="quarter" idx="17" hasCustomPrompt="1"/>
          </p:nvPr>
        </p:nvSpPr>
        <p:spPr>
          <a:xfrm>
            <a:off x="731346" y="5327628"/>
            <a:ext cx="3744903" cy="351971"/>
          </a:xfrm>
          <a:prstGeom prst="rect">
            <a:avLst/>
          </a:prstGeom>
        </p:spPr>
        <p:txBody>
          <a:bodyPr lIns="90000" rIns="144000">
            <a:noAutofit/>
          </a:bodyPr>
          <a:lstStyle>
            <a:lvl1pPr>
              <a:buNone/>
              <a:defRPr sz="1625">
                <a:solidFill>
                  <a:srgbClr val="034EA2"/>
                </a:solidFill>
              </a:defRPr>
            </a:lvl1pPr>
          </a:lstStyle>
          <a:p>
            <a:pPr lvl="0"/>
            <a:r>
              <a:rPr lang="cs-CZ"/>
              <a:t>Datum a místo</a:t>
            </a:r>
          </a:p>
        </p:txBody>
      </p:sp>
      <p:pic>
        <p:nvPicPr>
          <p:cNvPr id="10" name="Obrázek 9"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13" name="Obrázek 12" descr="OPTP_CZ_RO_B_C-RGB.png"/>
          <p:cNvPicPr>
            <a:picLocks noChangeAspect="1"/>
          </p:cNvPicPr>
          <p:nvPr userDrawn="1"/>
        </p:nvPicPr>
        <p:blipFill>
          <a:blip r:embed="rId3" cstate="print"/>
          <a:stretch>
            <a:fillRect/>
          </a:stretch>
        </p:blipFill>
        <p:spPr>
          <a:xfrm>
            <a:off x="3139063" y="5820260"/>
            <a:ext cx="3627875" cy="752473"/>
          </a:xfrm>
          <a:prstGeom prst="rect">
            <a:avLst/>
          </a:prstGeom>
        </p:spPr>
      </p:pic>
      <p:pic>
        <p:nvPicPr>
          <p:cNvPr id="2" name="Obrázek 2">
            <a:extLst>
              <a:ext uri="{FF2B5EF4-FFF2-40B4-BE49-F238E27FC236}">
                <a16:creationId xmlns:a16="http://schemas.microsoft.com/office/drawing/2014/main" id="{6F9FA4B2-6437-84C0-6F97-E0A0CE633D3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139063" y="5942264"/>
            <a:ext cx="3806862" cy="61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Úvodní list">
    <p:spTree>
      <p:nvGrpSpPr>
        <p:cNvPr id="1" name=""/>
        <p:cNvGrpSpPr/>
        <p:nvPr/>
      </p:nvGrpSpPr>
      <p:grpSpPr>
        <a:xfrm>
          <a:off x="0" y="0"/>
          <a:ext cx="0" cy="0"/>
          <a:chOff x="0" y="0"/>
          <a:chExt cx="0" cy="0"/>
        </a:xfrm>
      </p:grpSpPr>
      <p:sp>
        <p:nvSpPr>
          <p:cNvPr id="4" name="Podnadpis 2"/>
          <p:cNvSpPr txBox="1">
            <a:spLocks/>
          </p:cNvSpPr>
          <p:nvPr userDrawn="1"/>
        </p:nvSpPr>
        <p:spPr>
          <a:xfrm>
            <a:off x="1520297" y="3789363"/>
            <a:ext cx="7809575" cy="576262"/>
          </a:xfrm>
          <a:prstGeom prst="rect">
            <a:avLst/>
          </a:prstGeom>
        </p:spPr>
        <p:txBody>
          <a:bodyPr/>
          <a:lstStyle>
            <a:lvl1pPr marL="0" indent="0" algn="l">
              <a:buNone/>
              <a:defRPr sz="2600" baseline="0">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eaLnBrk="1" fontAlgn="auto" hangingPunct="1">
              <a:spcBef>
                <a:spcPct val="20000"/>
              </a:spcBef>
              <a:spcAft>
                <a:spcPts val="0"/>
              </a:spcAft>
              <a:buFont typeface="Arial" pitchFamily="34" charset="0"/>
              <a:buNone/>
              <a:defRPr/>
            </a:pPr>
            <a:r>
              <a:rPr lang="cs-CZ" sz="2113"/>
              <a:t>MINISTERSTVO PRO MÍSTNÍ ROZVOJ ČR</a:t>
            </a:r>
          </a:p>
        </p:txBody>
      </p:sp>
      <p:sp>
        <p:nvSpPr>
          <p:cNvPr id="5" name="Podnadpis 2"/>
          <p:cNvSpPr>
            <a:spLocks noGrp="1"/>
          </p:cNvSpPr>
          <p:nvPr>
            <p:ph type="subTitle" idx="1"/>
          </p:nvPr>
        </p:nvSpPr>
        <p:spPr>
          <a:xfrm>
            <a:off x="1520622" y="4581128"/>
            <a:ext cx="7644849" cy="1800200"/>
          </a:xfrm>
          <a:prstGeom prst="rect">
            <a:avLst/>
          </a:prstGeom>
        </p:spPr>
        <p:txBody>
          <a:bodyPr anchor="b">
            <a:noAutofit/>
          </a:bodyPr>
          <a:lstStyle>
            <a:lvl1pPr marL="0" indent="0" algn="l">
              <a:spcBef>
                <a:spcPts val="813"/>
              </a:spcBef>
              <a:spcAft>
                <a:spcPts val="813"/>
              </a:spcAft>
              <a:buNone/>
              <a:defRPr sz="1625" baseline="0">
                <a:solidFill>
                  <a:schemeClr val="tx1"/>
                </a:solidFill>
                <a:latin typeface="Arial" pitchFamily="34" charset="0"/>
                <a:cs typeface="Arial" pitchFamily="34" charset="0"/>
              </a:defRPr>
            </a:lvl1pPr>
            <a:lvl2pPr marL="371483" indent="0" algn="ctr">
              <a:buNone/>
              <a:defRPr>
                <a:solidFill>
                  <a:schemeClr val="tx1">
                    <a:tint val="75000"/>
                  </a:schemeClr>
                </a:solidFill>
              </a:defRPr>
            </a:lvl2pPr>
            <a:lvl3pPr marL="742967" indent="0" algn="ctr">
              <a:buNone/>
              <a:defRPr>
                <a:solidFill>
                  <a:schemeClr val="tx1">
                    <a:tint val="75000"/>
                  </a:schemeClr>
                </a:solidFill>
              </a:defRPr>
            </a:lvl3pPr>
            <a:lvl4pPr marL="1114451" indent="0" algn="ctr">
              <a:buNone/>
              <a:defRPr>
                <a:solidFill>
                  <a:schemeClr val="tx1">
                    <a:tint val="75000"/>
                  </a:schemeClr>
                </a:solidFill>
              </a:defRPr>
            </a:lvl4pPr>
            <a:lvl5pPr marL="1485934" indent="0" algn="ctr">
              <a:buNone/>
              <a:defRPr>
                <a:solidFill>
                  <a:schemeClr val="tx1">
                    <a:tint val="75000"/>
                  </a:schemeClr>
                </a:solidFill>
              </a:defRPr>
            </a:lvl5pPr>
            <a:lvl6pPr marL="1857418" indent="0" algn="ctr">
              <a:buNone/>
              <a:defRPr>
                <a:solidFill>
                  <a:schemeClr val="tx1">
                    <a:tint val="75000"/>
                  </a:schemeClr>
                </a:solidFill>
              </a:defRPr>
            </a:lvl6pPr>
            <a:lvl7pPr marL="2228902" indent="0" algn="ctr">
              <a:buNone/>
              <a:defRPr>
                <a:solidFill>
                  <a:schemeClr val="tx1">
                    <a:tint val="75000"/>
                  </a:schemeClr>
                </a:solidFill>
              </a:defRPr>
            </a:lvl7pPr>
            <a:lvl8pPr marL="2600385" indent="0" algn="ctr">
              <a:buNone/>
              <a:defRPr>
                <a:solidFill>
                  <a:schemeClr val="tx1">
                    <a:tint val="75000"/>
                  </a:schemeClr>
                </a:solidFill>
              </a:defRPr>
            </a:lvl8pPr>
            <a:lvl9pPr marL="2971868" indent="0" algn="ctr">
              <a:buNone/>
              <a:defRPr>
                <a:solidFill>
                  <a:schemeClr val="tx1">
                    <a:tint val="75000"/>
                  </a:schemeClr>
                </a:solidFill>
              </a:defRPr>
            </a:lvl9pPr>
          </a:lstStyle>
          <a:p>
            <a:r>
              <a:rPr lang="cs-CZ"/>
              <a:t>Klepnutím lze upravit styl předlohy podnadpisů.</a:t>
            </a:r>
          </a:p>
        </p:txBody>
      </p:sp>
      <p:sp>
        <p:nvSpPr>
          <p:cNvPr id="6" name="Nadpis 13"/>
          <p:cNvSpPr>
            <a:spLocks noGrp="1" noChangeAspect="1"/>
          </p:cNvSpPr>
          <p:nvPr>
            <p:ph type="title"/>
          </p:nvPr>
        </p:nvSpPr>
        <p:spPr>
          <a:xfrm>
            <a:off x="1520623" y="1988840"/>
            <a:ext cx="7890081" cy="1872208"/>
          </a:xfrm>
          <a:prstGeom prst="rect">
            <a:avLst/>
          </a:prstGeom>
        </p:spPr>
        <p:txBody>
          <a:bodyPr anchor="b"/>
          <a:lstStyle>
            <a:lvl1pPr algn="l">
              <a:defRPr b="1" baseline="0">
                <a:solidFill>
                  <a:srgbClr val="000099"/>
                </a:solidFill>
                <a:latin typeface="Arial" pitchFamily="34" charset="0"/>
                <a:cs typeface="Arial" pitchFamily="34" charset="0"/>
              </a:defRPr>
            </a:lvl1pPr>
          </a:lstStyle>
          <a:p>
            <a:r>
              <a:rPr lang="cs-CZ"/>
              <a:t>Klepnutím lze upravit styl předlohy nadpisů.</a:t>
            </a:r>
          </a:p>
        </p:txBody>
      </p:sp>
      <p:pic>
        <p:nvPicPr>
          <p:cNvPr id="8" name="obrázek 1" descr="mmr_barevne"/>
          <p:cNvPicPr/>
          <p:nvPr userDrawn="1"/>
        </p:nvPicPr>
        <p:blipFill>
          <a:blip r:embed="rId2"/>
          <a:srcRect/>
          <a:stretch>
            <a:fillRect/>
          </a:stretch>
        </p:blipFill>
        <p:spPr bwMode="auto">
          <a:xfrm>
            <a:off x="448000" y="620588"/>
            <a:ext cx="1754704" cy="467995"/>
          </a:xfrm>
          <a:prstGeom prst="rect">
            <a:avLst/>
          </a:prstGeom>
          <a:noFill/>
        </p:spPr>
      </p:pic>
    </p:spTree>
    <p:extLst>
      <p:ext uri="{BB962C8B-B14F-4D97-AF65-F5344CB8AC3E}">
        <p14:creationId xmlns:p14="http://schemas.microsoft.com/office/powerpoint/2010/main" val="35314944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2_Nadpis a obsah">
  <p:cSld name="2_Nadpis a obsah">
    <p:spTree>
      <p:nvGrpSpPr>
        <p:cNvPr id="1" name="Shape 195"/>
        <p:cNvGrpSpPr/>
        <p:nvPr/>
      </p:nvGrpSpPr>
      <p:grpSpPr>
        <a:xfrm>
          <a:off x="0" y="0"/>
          <a:ext cx="0" cy="0"/>
          <a:chOff x="0" y="0"/>
          <a:chExt cx="0" cy="0"/>
        </a:xfrm>
      </p:grpSpPr>
      <p:sp>
        <p:nvSpPr>
          <p:cNvPr id="196" name="Google Shape;196;p42"/>
          <p:cNvSpPr txBox="1">
            <a:spLocks noGrp="1"/>
          </p:cNvSpPr>
          <p:nvPr>
            <p:ph type="title"/>
          </p:nvPr>
        </p:nvSpPr>
        <p:spPr>
          <a:xfrm>
            <a:off x="681038" y="365126"/>
            <a:ext cx="8543925" cy="720367"/>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 name="Google Shape;197;p42"/>
          <p:cNvSpPr txBox="1">
            <a:spLocks noGrp="1"/>
          </p:cNvSpPr>
          <p:nvPr>
            <p:ph type="body" idx="1"/>
          </p:nvPr>
        </p:nvSpPr>
        <p:spPr>
          <a:xfrm>
            <a:off x="681038" y="1589130"/>
            <a:ext cx="8543925" cy="4344311"/>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dk1"/>
              </a:buClr>
              <a:buSzPts val="1800"/>
              <a:buNone/>
              <a:defRPr sz="1462"/>
            </a:lvl1pPr>
            <a:lvl2pPr marL="742927" lvl="1" indent="-268279" algn="l">
              <a:lnSpc>
                <a:spcPct val="100000"/>
              </a:lnSpc>
              <a:spcBef>
                <a:spcPts val="406"/>
              </a:spcBef>
              <a:spcAft>
                <a:spcPts val="0"/>
              </a:spcAft>
              <a:buSzPts val="1600"/>
              <a:buChar char="*"/>
              <a:defRPr sz="1300">
                <a:solidFill>
                  <a:srgbClr val="626D78"/>
                </a:solidFill>
              </a:defRPr>
            </a:lvl2pPr>
            <a:lvl3pPr marL="1114391" lvl="2" indent="-257961" algn="l">
              <a:lnSpc>
                <a:spcPct val="100000"/>
              </a:lnSpc>
              <a:spcBef>
                <a:spcPts val="406"/>
              </a:spcBef>
              <a:spcAft>
                <a:spcPts val="0"/>
              </a:spcAft>
              <a:buSzPts val="1400"/>
              <a:buChar char="*"/>
              <a:defRPr sz="1137">
                <a:solidFill>
                  <a:srgbClr val="626D78"/>
                </a:solidFill>
              </a:defRPr>
            </a:lvl3pPr>
            <a:lvl4pPr marL="1485854" lvl="3" indent="-247642" algn="l">
              <a:lnSpc>
                <a:spcPct val="100000"/>
              </a:lnSpc>
              <a:spcBef>
                <a:spcPts val="406"/>
              </a:spcBef>
              <a:spcAft>
                <a:spcPts val="0"/>
              </a:spcAft>
              <a:buSzPts val="1200"/>
              <a:buChar char="*"/>
              <a:defRPr sz="975">
                <a:solidFill>
                  <a:srgbClr val="626D78"/>
                </a:solidFill>
              </a:defRPr>
            </a:lvl4pPr>
            <a:lvl5pPr marL="1857318" lvl="4" indent="-247642" algn="l">
              <a:lnSpc>
                <a:spcPct val="100000"/>
              </a:lnSpc>
              <a:spcBef>
                <a:spcPts val="406"/>
              </a:spcBef>
              <a:spcAft>
                <a:spcPts val="0"/>
              </a:spcAft>
              <a:buSzPts val="1200"/>
              <a:buChar char="*"/>
              <a:defRPr sz="975">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98" name="Google Shape;198;p42"/>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199" name="Google Shape;199;p42"/>
          <p:cNvSpPr txBox="1">
            <a:spLocks noGrp="1"/>
          </p:cNvSpPr>
          <p:nvPr>
            <p:ph type="body" idx="2"/>
          </p:nvPr>
        </p:nvSpPr>
        <p:spPr>
          <a:xfrm>
            <a:off x="145494" y="6176964"/>
            <a:ext cx="8930879" cy="538163"/>
          </a:xfrm>
          <a:prstGeom prst="rect">
            <a:avLst/>
          </a:prstGeom>
          <a:noFill/>
          <a:ln>
            <a:noFill/>
          </a:ln>
        </p:spPr>
        <p:txBody>
          <a:bodyPr spcFirstLastPara="1" wrap="square" lIns="0" tIns="0" rIns="0" bIns="0" anchor="ctr" anchorCtr="0">
            <a:noAutofit/>
          </a:bodyPr>
          <a:lstStyle>
            <a:lvl1pPr marL="371464" lvl="0" indent="-247642" algn="l">
              <a:lnSpc>
                <a:spcPct val="100000"/>
              </a:lnSpc>
              <a:spcBef>
                <a:spcPts val="812"/>
              </a:spcBef>
              <a:spcAft>
                <a:spcPts val="0"/>
              </a:spcAft>
              <a:buClr>
                <a:srgbClr val="BFBFBF"/>
              </a:buClr>
              <a:buSzPts val="1200"/>
              <a:buFont typeface="Inter ExtraBold"/>
              <a:buAutoNum type="arabicPeriod"/>
              <a:defRPr sz="975">
                <a:solidFill>
                  <a:srgbClr val="BFBFBF"/>
                </a:solidFill>
              </a:defRPr>
            </a:lvl1pPr>
            <a:lvl2pPr marL="742927" lvl="1" indent="-278598" algn="l">
              <a:lnSpc>
                <a:spcPct val="100000"/>
              </a:lnSpc>
              <a:spcBef>
                <a:spcPts val="406"/>
              </a:spcBef>
              <a:spcAft>
                <a:spcPts val="0"/>
              </a:spcAft>
              <a:buSzPts val="1800"/>
              <a:buChar char="*"/>
              <a:defRPr>
                <a:solidFill>
                  <a:srgbClr val="626D78"/>
                </a:solidFill>
              </a:defRPr>
            </a:lvl2pPr>
            <a:lvl3pPr marL="1114391" lvl="2" indent="-268279" algn="l">
              <a:lnSpc>
                <a:spcPct val="100000"/>
              </a:lnSpc>
              <a:spcBef>
                <a:spcPts val="406"/>
              </a:spcBef>
              <a:spcAft>
                <a:spcPts val="0"/>
              </a:spcAft>
              <a:buSzPts val="1600"/>
              <a:buChar char="*"/>
              <a:defRPr>
                <a:solidFill>
                  <a:srgbClr val="626D78"/>
                </a:solidFill>
              </a:defRPr>
            </a:lvl3pPr>
            <a:lvl4pPr marL="1485854" lvl="3" indent="-257961" algn="l">
              <a:lnSpc>
                <a:spcPct val="100000"/>
              </a:lnSpc>
              <a:spcBef>
                <a:spcPts val="406"/>
              </a:spcBef>
              <a:spcAft>
                <a:spcPts val="0"/>
              </a:spcAft>
              <a:buSzPts val="1400"/>
              <a:buChar char="*"/>
              <a:defRPr>
                <a:solidFill>
                  <a:srgbClr val="626D78"/>
                </a:solidFill>
              </a:defRPr>
            </a:lvl4pPr>
            <a:lvl5pPr marL="1857318" lvl="4" indent="-257961" algn="l">
              <a:lnSpc>
                <a:spcPct val="100000"/>
              </a:lnSpc>
              <a:spcBef>
                <a:spcPts val="406"/>
              </a:spcBef>
              <a:spcAft>
                <a:spcPts val="0"/>
              </a:spcAft>
              <a:buSzPts val="1400"/>
              <a:buChar char="*"/>
              <a:defRPr>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00" name="Google Shape;200;p42"/>
          <p:cNvSpPr txBox="1">
            <a:spLocks noGrp="1"/>
          </p:cNvSpPr>
          <p:nvPr>
            <p:ph type="body" idx="3"/>
          </p:nvPr>
        </p:nvSpPr>
        <p:spPr>
          <a:xfrm>
            <a:off x="681038" y="1095652"/>
            <a:ext cx="8543925" cy="609192"/>
          </a:xfrm>
          <a:prstGeom prst="rect">
            <a:avLst/>
          </a:prstGeom>
          <a:noFill/>
          <a:ln>
            <a:noFill/>
          </a:ln>
        </p:spPr>
        <p:txBody>
          <a:bodyPr spcFirstLastPara="1" wrap="square" lIns="0" tIns="0" rIns="0" bIns="108000" anchor="t" anchorCtr="0">
            <a:spAutoFit/>
          </a:bodyPr>
          <a:lstStyle>
            <a:lvl1pPr marL="371464" lvl="0" indent="-185732" algn="l">
              <a:lnSpc>
                <a:spcPct val="100000"/>
              </a:lnSpc>
              <a:spcBef>
                <a:spcPts val="1462"/>
              </a:spcBef>
              <a:spcAft>
                <a:spcPts val="0"/>
              </a:spcAft>
              <a:buClr>
                <a:schemeClr val="accent1"/>
              </a:buClr>
              <a:buSzPts val="2000"/>
              <a:buNone/>
              <a:defRPr>
                <a:solidFill>
                  <a:schemeClr val="accent1"/>
                </a:solidFill>
                <a:latin typeface="Inter ExtraBold"/>
                <a:ea typeface="Inter ExtraBold"/>
                <a:cs typeface="Inter ExtraBold"/>
                <a:sym typeface="Inter ExtraBold"/>
              </a:defRPr>
            </a:lvl1pPr>
            <a:lvl2pPr marL="742927" lvl="1" indent="-278598" algn="l">
              <a:lnSpc>
                <a:spcPct val="100000"/>
              </a:lnSpc>
              <a:spcBef>
                <a:spcPts val="406"/>
              </a:spcBef>
              <a:spcAft>
                <a:spcPts val="0"/>
              </a:spcAft>
              <a:buSzPts val="1800"/>
              <a:buChar char="*"/>
              <a:defRPr/>
            </a:lvl2pPr>
            <a:lvl3pPr marL="1114391" lvl="2" indent="-278598" algn="l">
              <a:lnSpc>
                <a:spcPct val="100000"/>
              </a:lnSpc>
              <a:spcBef>
                <a:spcPts val="406"/>
              </a:spcBef>
              <a:spcAft>
                <a:spcPts val="0"/>
              </a:spcAft>
              <a:buSzPts val="1800"/>
              <a:buChar char="*"/>
              <a:defRPr/>
            </a:lvl3pPr>
            <a:lvl4pPr marL="1485854" lvl="3" indent="-278598" algn="l">
              <a:lnSpc>
                <a:spcPct val="100000"/>
              </a:lnSpc>
              <a:spcBef>
                <a:spcPts val="406"/>
              </a:spcBef>
              <a:spcAft>
                <a:spcPts val="0"/>
              </a:spcAft>
              <a:buSzPts val="1800"/>
              <a:buChar char="*"/>
              <a:defRPr/>
            </a:lvl4pPr>
            <a:lvl5pPr marL="1857318" lvl="4" indent="-278598" algn="l">
              <a:lnSpc>
                <a:spcPct val="100000"/>
              </a:lnSpc>
              <a:spcBef>
                <a:spcPts val="406"/>
              </a:spcBef>
              <a:spcAft>
                <a:spcPts val="0"/>
              </a:spcAft>
              <a:buSzPts val="1800"/>
              <a:buChar char="*"/>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472948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_Nadpis a zdroj">
  <p:cSld name="_Nadpis a zdroj">
    <p:spTree>
      <p:nvGrpSpPr>
        <p:cNvPr id="1" name="Shape 208"/>
        <p:cNvGrpSpPr/>
        <p:nvPr/>
      </p:nvGrpSpPr>
      <p:grpSpPr>
        <a:xfrm>
          <a:off x="0" y="0"/>
          <a:ext cx="0" cy="0"/>
          <a:chOff x="0" y="0"/>
          <a:chExt cx="0" cy="0"/>
        </a:xfrm>
      </p:grpSpPr>
      <p:sp>
        <p:nvSpPr>
          <p:cNvPr id="209" name="Google Shape;209;p44"/>
          <p:cNvSpPr txBox="1">
            <a:spLocks noGrp="1"/>
          </p:cNvSpPr>
          <p:nvPr>
            <p:ph type="title"/>
          </p:nvPr>
        </p:nvSpPr>
        <p:spPr>
          <a:xfrm>
            <a:off x="681038" y="365126"/>
            <a:ext cx="8543925" cy="720367"/>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 name="Google Shape;210;p44"/>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211" name="Google Shape;211;p44"/>
          <p:cNvSpPr txBox="1">
            <a:spLocks noGrp="1"/>
          </p:cNvSpPr>
          <p:nvPr>
            <p:ph type="body" idx="1"/>
          </p:nvPr>
        </p:nvSpPr>
        <p:spPr>
          <a:xfrm>
            <a:off x="681038" y="6176964"/>
            <a:ext cx="8395335" cy="538163"/>
          </a:xfrm>
          <a:prstGeom prst="rect">
            <a:avLst/>
          </a:prstGeom>
          <a:noFill/>
          <a:ln>
            <a:noFill/>
          </a:ln>
        </p:spPr>
        <p:txBody>
          <a:bodyPr spcFirstLastPara="1" wrap="square" lIns="0" tIns="0" rIns="0" bIns="0" anchor="ctr" anchorCtr="0">
            <a:noAutofit/>
          </a:bodyPr>
          <a:lstStyle>
            <a:lvl1pPr marL="371464" lvl="0" indent="-185732" algn="l">
              <a:lnSpc>
                <a:spcPct val="100000"/>
              </a:lnSpc>
              <a:spcBef>
                <a:spcPts val="812"/>
              </a:spcBef>
              <a:spcAft>
                <a:spcPts val="0"/>
              </a:spcAft>
              <a:buClr>
                <a:srgbClr val="BFBFBF"/>
              </a:buClr>
              <a:buSzPts val="1200"/>
              <a:buFont typeface="Fira Sans"/>
              <a:buNone/>
              <a:defRPr sz="975">
                <a:solidFill>
                  <a:srgbClr val="BFBFBF"/>
                </a:solidFill>
              </a:defRPr>
            </a:lvl1pPr>
            <a:lvl2pPr marL="742927" lvl="1" indent="-278598" algn="l">
              <a:lnSpc>
                <a:spcPct val="100000"/>
              </a:lnSpc>
              <a:spcBef>
                <a:spcPts val="406"/>
              </a:spcBef>
              <a:spcAft>
                <a:spcPts val="0"/>
              </a:spcAft>
              <a:buSzPts val="1800"/>
              <a:buChar char="*"/>
              <a:defRPr>
                <a:solidFill>
                  <a:srgbClr val="626D78"/>
                </a:solidFill>
              </a:defRPr>
            </a:lvl2pPr>
            <a:lvl3pPr marL="1114391" lvl="2" indent="-268279" algn="l">
              <a:lnSpc>
                <a:spcPct val="100000"/>
              </a:lnSpc>
              <a:spcBef>
                <a:spcPts val="406"/>
              </a:spcBef>
              <a:spcAft>
                <a:spcPts val="0"/>
              </a:spcAft>
              <a:buSzPts val="1600"/>
              <a:buChar char="*"/>
              <a:defRPr>
                <a:solidFill>
                  <a:srgbClr val="626D78"/>
                </a:solidFill>
              </a:defRPr>
            </a:lvl3pPr>
            <a:lvl4pPr marL="1485854" lvl="3" indent="-257961" algn="l">
              <a:lnSpc>
                <a:spcPct val="100000"/>
              </a:lnSpc>
              <a:spcBef>
                <a:spcPts val="406"/>
              </a:spcBef>
              <a:spcAft>
                <a:spcPts val="0"/>
              </a:spcAft>
              <a:buSzPts val="1400"/>
              <a:buChar char="*"/>
              <a:defRPr>
                <a:solidFill>
                  <a:srgbClr val="626D78"/>
                </a:solidFill>
              </a:defRPr>
            </a:lvl4pPr>
            <a:lvl5pPr marL="1857318" lvl="4" indent="-257961" algn="l">
              <a:lnSpc>
                <a:spcPct val="100000"/>
              </a:lnSpc>
              <a:spcBef>
                <a:spcPts val="406"/>
              </a:spcBef>
              <a:spcAft>
                <a:spcPts val="0"/>
              </a:spcAft>
              <a:buSzPts val="1400"/>
              <a:buChar char="*"/>
              <a:defRPr>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396075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Dva obsahy">
  <p:cSld name="Dva obsahy">
    <p:spTree>
      <p:nvGrpSpPr>
        <p:cNvPr id="1" name="Shape 212"/>
        <p:cNvGrpSpPr/>
        <p:nvPr/>
      </p:nvGrpSpPr>
      <p:grpSpPr>
        <a:xfrm>
          <a:off x="0" y="0"/>
          <a:ext cx="0" cy="0"/>
          <a:chOff x="0" y="0"/>
          <a:chExt cx="0" cy="0"/>
        </a:xfrm>
      </p:grpSpPr>
      <p:sp>
        <p:nvSpPr>
          <p:cNvPr id="213" name="Google Shape;213;p45"/>
          <p:cNvSpPr txBox="1">
            <a:spLocks noGrp="1"/>
          </p:cNvSpPr>
          <p:nvPr>
            <p:ph type="title"/>
          </p:nvPr>
        </p:nvSpPr>
        <p:spPr>
          <a:xfrm>
            <a:off x="731969" y="890589"/>
            <a:ext cx="8441864" cy="771019"/>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4" name="Google Shape;214;p45"/>
          <p:cNvSpPr txBox="1">
            <a:spLocks noGrp="1"/>
          </p:cNvSpPr>
          <p:nvPr>
            <p:ph type="body" idx="1"/>
          </p:nvPr>
        </p:nvSpPr>
        <p:spPr>
          <a:xfrm>
            <a:off x="5014913" y="2540000"/>
            <a:ext cx="4158921" cy="3423504"/>
          </a:xfrm>
          <a:prstGeom prst="rect">
            <a:avLst/>
          </a:prstGeom>
          <a:solidFill>
            <a:schemeClr val="dk2"/>
          </a:solidFill>
          <a:ln>
            <a:noFill/>
          </a:ln>
        </p:spPr>
        <p:txBody>
          <a:bodyPr spcFirstLastPara="1" wrap="square" lIns="216000" tIns="216000" rIns="216000" bIns="216000" anchor="t" anchorCtr="0">
            <a:noAutofit/>
          </a:bodyPr>
          <a:lstStyle>
            <a:lvl1pPr marL="371464" lvl="0" indent="-185732" algn="l">
              <a:lnSpc>
                <a:spcPct val="100000"/>
              </a:lnSpc>
              <a:spcBef>
                <a:spcPts val="812"/>
              </a:spcBef>
              <a:spcAft>
                <a:spcPts val="0"/>
              </a:spcAft>
              <a:buClr>
                <a:schemeClr val="lt1"/>
              </a:buClr>
              <a:buSzPts val="2400"/>
              <a:buNone/>
              <a:defRPr sz="1950">
                <a:solidFill>
                  <a:schemeClr val="lt1"/>
                </a:solidFill>
                <a:latin typeface="Inter ExtraBold"/>
                <a:ea typeface="Inter ExtraBold"/>
                <a:cs typeface="Inter ExtraBold"/>
                <a:sym typeface="Inter ExtraBold"/>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15" name="Google Shape;215;p45"/>
          <p:cNvSpPr txBox="1">
            <a:spLocks noGrp="1"/>
          </p:cNvSpPr>
          <p:nvPr>
            <p:ph type="body" idx="2"/>
          </p:nvPr>
        </p:nvSpPr>
        <p:spPr>
          <a:xfrm>
            <a:off x="5014913" y="1874520"/>
            <a:ext cx="4158921" cy="848360"/>
          </a:xfrm>
          <a:prstGeom prst="rect">
            <a:avLst/>
          </a:prstGeom>
          <a:solidFill>
            <a:schemeClr val="dk2"/>
          </a:solidFill>
          <a:ln>
            <a:noFill/>
          </a:ln>
        </p:spPr>
        <p:txBody>
          <a:bodyPr spcFirstLastPara="1" wrap="square" lIns="216000" tIns="216000" rIns="216000" bIns="216000" anchor="t" anchorCtr="0">
            <a:noAutofit/>
          </a:bodyPr>
          <a:lstStyle>
            <a:lvl1pPr marL="371464" lvl="0" indent="-185732" algn="l">
              <a:lnSpc>
                <a:spcPct val="100000"/>
              </a:lnSpc>
              <a:spcBef>
                <a:spcPts val="812"/>
              </a:spcBef>
              <a:spcAft>
                <a:spcPts val="0"/>
              </a:spcAft>
              <a:buClr>
                <a:schemeClr val="accent1"/>
              </a:buClr>
              <a:buSzPts val="3600"/>
              <a:buNone/>
              <a:defRPr sz="2925">
                <a:solidFill>
                  <a:schemeClr val="accent1"/>
                </a:solidFill>
                <a:latin typeface="Inter ExtraBold"/>
                <a:ea typeface="Inter ExtraBold"/>
                <a:cs typeface="Inter ExtraBold"/>
                <a:sym typeface="Inter ExtraBold"/>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16" name="Google Shape;216;p45"/>
          <p:cNvSpPr txBox="1"/>
          <p:nvPr/>
        </p:nvSpPr>
        <p:spPr>
          <a:xfrm>
            <a:off x="230869" y="6262450"/>
            <a:ext cx="3194685" cy="225028"/>
          </a:xfrm>
          <a:prstGeom prst="rect">
            <a:avLst/>
          </a:prstGeom>
          <a:noFill/>
          <a:ln>
            <a:noFill/>
          </a:ln>
        </p:spPr>
        <p:txBody>
          <a:bodyPr spcFirstLastPara="1" wrap="square" lIns="74283" tIns="37131" rIns="74283" bIns="37131" anchor="ctr" anchorCtr="0">
            <a:spAutoFit/>
          </a:bodyPr>
          <a:lstStyle/>
          <a:p>
            <a:pPr marL="0" marR="0" lvl="0" indent="0" algn="l" rtl="0">
              <a:spcBef>
                <a:spcPts val="0"/>
              </a:spcBef>
              <a:spcAft>
                <a:spcPts val="0"/>
              </a:spcAft>
              <a:buNone/>
            </a:pPr>
            <a:r>
              <a:rPr lang="cs-CZ" sz="975">
                <a:solidFill>
                  <a:schemeClr val="accent1"/>
                </a:solidFill>
                <a:latin typeface="Inter"/>
                <a:ea typeface="Inter"/>
                <a:cs typeface="Inter"/>
                <a:sym typeface="Inter"/>
              </a:rPr>
              <a:t>//</a:t>
            </a:r>
            <a:r>
              <a:rPr lang="cs-CZ" sz="975">
                <a:solidFill>
                  <a:schemeClr val="dk1"/>
                </a:solidFill>
                <a:latin typeface="Inter"/>
                <a:ea typeface="Inter"/>
                <a:cs typeface="Inter"/>
                <a:sym typeface="Inter"/>
              </a:rPr>
              <a:t> </a:t>
            </a:r>
            <a:r>
              <a:rPr lang="cs-CZ" sz="975">
                <a:solidFill>
                  <a:srgbClr val="BFBFBF"/>
                </a:solidFill>
                <a:latin typeface="Inter"/>
                <a:ea typeface="Inter"/>
                <a:cs typeface="Inter"/>
                <a:sym typeface="Inter"/>
              </a:rPr>
              <a:t>www.paqresearch.cz</a:t>
            </a:r>
            <a:endParaRPr sz="1137"/>
          </a:p>
        </p:txBody>
      </p:sp>
      <p:sp>
        <p:nvSpPr>
          <p:cNvPr id="217" name="Google Shape;217;p45"/>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218" name="Google Shape;218;p45"/>
          <p:cNvSpPr txBox="1">
            <a:spLocks noGrp="1"/>
          </p:cNvSpPr>
          <p:nvPr>
            <p:ph type="body" idx="3"/>
          </p:nvPr>
        </p:nvSpPr>
        <p:spPr>
          <a:xfrm>
            <a:off x="732168" y="2540000"/>
            <a:ext cx="4158921" cy="3423504"/>
          </a:xfrm>
          <a:prstGeom prst="rect">
            <a:avLst/>
          </a:prstGeom>
          <a:solidFill>
            <a:srgbClr val="00254B"/>
          </a:solidFill>
          <a:ln>
            <a:noFill/>
          </a:ln>
        </p:spPr>
        <p:txBody>
          <a:bodyPr spcFirstLastPara="1" wrap="square" lIns="216000" tIns="216000" rIns="216000" bIns="216000" anchor="t" anchorCtr="0">
            <a:noAutofit/>
          </a:bodyPr>
          <a:lstStyle>
            <a:lvl1pPr marL="371464" lvl="0" indent="-185732" algn="l">
              <a:lnSpc>
                <a:spcPct val="100000"/>
              </a:lnSpc>
              <a:spcBef>
                <a:spcPts val="812"/>
              </a:spcBef>
              <a:spcAft>
                <a:spcPts val="0"/>
              </a:spcAft>
              <a:buClr>
                <a:schemeClr val="lt1"/>
              </a:buClr>
              <a:buSzPts val="2400"/>
              <a:buNone/>
              <a:defRPr sz="1950">
                <a:solidFill>
                  <a:schemeClr val="lt1"/>
                </a:solidFill>
                <a:latin typeface="Inter ExtraBold"/>
                <a:ea typeface="Inter ExtraBold"/>
                <a:cs typeface="Inter ExtraBold"/>
                <a:sym typeface="Inter ExtraBold"/>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19" name="Google Shape;219;p45"/>
          <p:cNvSpPr txBox="1">
            <a:spLocks noGrp="1"/>
          </p:cNvSpPr>
          <p:nvPr>
            <p:ph type="body" idx="4"/>
          </p:nvPr>
        </p:nvSpPr>
        <p:spPr>
          <a:xfrm>
            <a:off x="732168" y="1874520"/>
            <a:ext cx="4158921" cy="848360"/>
          </a:xfrm>
          <a:prstGeom prst="rect">
            <a:avLst/>
          </a:prstGeom>
          <a:solidFill>
            <a:schemeClr val="dk2"/>
          </a:solidFill>
          <a:ln>
            <a:noFill/>
          </a:ln>
        </p:spPr>
        <p:txBody>
          <a:bodyPr spcFirstLastPara="1" wrap="square" lIns="216000" tIns="216000" rIns="216000" bIns="216000" anchor="t" anchorCtr="0">
            <a:noAutofit/>
          </a:bodyPr>
          <a:lstStyle>
            <a:lvl1pPr marL="371464" lvl="0" indent="-185732" algn="l">
              <a:lnSpc>
                <a:spcPct val="100000"/>
              </a:lnSpc>
              <a:spcBef>
                <a:spcPts val="812"/>
              </a:spcBef>
              <a:spcAft>
                <a:spcPts val="0"/>
              </a:spcAft>
              <a:buClr>
                <a:schemeClr val="accent1"/>
              </a:buClr>
              <a:buSzPts val="3600"/>
              <a:buNone/>
              <a:defRPr sz="2925">
                <a:solidFill>
                  <a:schemeClr val="accent1"/>
                </a:solidFill>
                <a:latin typeface="Inter ExtraBold"/>
                <a:ea typeface="Inter ExtraBold"/>
                <a:cs typeface="Inter ExtraBold"/>
                <a:sym typeface="Inter ExtraBold"/>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1223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220"/>
        <p:cNvGrpSpPr/>
        <p:nvPr/>
      </p:nvGrpSpPr>
      <p:grpSpPr>
        <a:xfrm>
          <a:off x="0" y="0"/>
          <a:ext cx="0" cy="0"/>
          <a:chOff x="0" y="0"/>
          <a:chExt cx="0" cy="0"/>
        </a:xfrm>
      </p:grpSpPr>
      <p:sp>
        <p:nvSpPr>
          <p:cNvPr id="221" name="Google Shape;221;p46"/>
          <p:cNvSpPr txBox="1">
            <a:spLocks noGrp="1"/>
          </p:cNvSpPr>
          <p:nvPr>
            <p:ph type="title"/>
          </p:nvPr>
        </p:nvSpPr>
        <p:spPr>
          <a:xfrm>
            <a:off x="731969" y="890589"/>
            <a:ext cx="8441864" cy="771019"/>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 name="Google Shape;222;p46"/>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Tree>
    <p:extLst>
      <p:ext uri="{BB962C8B-B14F-4D97-AF65-F5344CB8AC3E}">
        <p14:creationId xmlns:p14="http://schemas.microsoft.com/office/powerpoint/2010/main" val="34566520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jen logo">
  <p:cSld name="jen logo">
    <p:spTree>
      <p:nvGrpSpPr>
        <p:cNvPr id="1" name="Shape 223"/>
        <p:cNvGrpSpPr/>
        <p:nvPr/>
      </p:nvGrpSpPr>
      <p:grpSpPr>
        <a:xfrm>
          <a:off x="0" y="0"/>
          <a:ext cx="0" cy="0"/>
          <a:chOff x="0" y="0"/>
          <a:chExt cx="0" cy="0"/>
        </a:xfrm>
      </p:grpSpPr>
    </p:spTree>
    <p:extLst>
      <p:ext uri="{BB962C8B-B14F-4D97-AF65-F5344CB8AC3E}">
        <p14:creationId xmlns:p14="http://schemas.microsoft.com/office/powerpoint/2010/main" val="41041317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4_Jenom nadpis">
  <p:cSld name="4_Jenom nadpis">
    <p:spTree>
      <p:nvGrpSpPr>
        <p:cNvPr id="1" name="Shape 224"/>
        <p:cNvGrpSpPr/>
        <p:nvPr/>
      </p:nvGrpSpPr>
      <p:grpSpPr>
        <a:xfrm>
          <a:off x="0" y="0"/>
          <a:ext cx="0" cy="0"/>
          <a:chOff x="0" y="0"/>
          <a:chExt cx="0" cy="0"/>
        </a:xfrm>
      </p:grpSpPr>
      <p:sp>
        <p:nvSpPr>
          <p:cNvPr id="225" name="Google Shape;225;p48"/>
          <p:cNvSpPr txBox="1">
            <a:spLocks noGrp="1"/>
          </p:cNvSpPr>
          <p:nvPr>
            <p:ph type="title"/>
          </p:nvPr>
        </p:nvSpPr>
        <p:spPr>
          <a:xfrm>
            <a:off x="723605" y="2385539"/>
            <a:ext cx="8458792" cy="2086924"/>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6000"/>
              <a:buFont typeface="Inter ExtraBold"/>
              <a:buNone/>
              <a:defRPr sz="487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6" name="Google Shape;226;p48"/>
          <p:cNvPicPr preferRelativeResize="0"/>
          <p:nvPr/>
        </p:nvPicPr>
        <p:blipFill rotWithShape="1">
          <a:blip r:embed="rId2">
            <a:alphaModFix/>
          </a:blip>
          <a:srcRect/>
          <a:stretch/>
        </p:blipFill>
        <p:spPr>
          <a:xfrm>
            <a:off x="7002958" y="6065135"/>
            <a:ext cx="2581350" cy="485901"/>
          </a:xfrm>
          <a:prstGeom prst="rect">
            <a:avLst/>
          </a:prstGeom>
          <a:noFill/>
          <a:ln>
            <a:noFill/>
          </a:ln>
        </p:spPr>
      </p:pic>
    </p:spTree>
    <p:extLst>
      <p:ext uri="{BB962C8B-B14F-4D97-AF65-F5344CB8AC3E}">
        <p14:creationId xmlns:p14="http://schemas.microsoft.com/office/powerpoint/2010/main" val="875066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Nadpis a obsah / 3 obrázky V1">
  <p:cSld name="Nadpis a obsah / 3 obrázky V1">
    <p:spTree>
      <p:nvGrpSpPr>
        <p:cNvPr id="1" name="Shape 227"/>
        <p:cNvGrpSpPr/>
        <p:nvPr/>
      </p:nvGrpSpPr>
      <p:grpSpPr>
        <a:xfrm>
          <a:off x="0" y="0"/>
          <a:ext cx="0" cy="0"/>
          <a:chOff x="0" y="0"/>
          <a:chExt cx="0" cy="0"/>
        </a:xfrm>
      </p:grpSpPr>
      <p:sp>
        <p:nvSpPr>
          <p:cNvPr id="228" name="Google Shape;228;p49"/>
          <p:cNvSpPr txBox="1">
            <a:spLocks noGrp="1"/>
          </p:cNvSpPr>
          <p:nvPr>
            <p:ph type="body" idx="1"/>
          </p:nvPr>
        </p:nvSpPr>
        <p:spPr>
          <a:xfrm>
            <a:off x="385715" y="2133105"/>
            <a:ext cx="7636868" cy="3993059"/>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dk1"/>
              </a:buClr>
              <a:buSzPts val="1800"/>
              <a:buNone/>
              <a:defRPr/>
            </a:lvl1pPr>
            <a:lvl2pPr marL="742927" lvl="1" indent="-278598" algn="l">
              <a:lnSpc>
                <a:spcPct val="100000"/>
              </a:lnSpc>
              <a:spcBef>
                <a:spcPts val="406"/>
              </a:spcBef>
              <a:spcAft>
                <a:spcPts val="0"/>
              </a:spcAft>
              <a:buSzPts val="1800"/>
              <a:buChar char="*"/>
              <a:defRPr/>
            </a:lvl2pPr>
            <a:lvl3pPr marL="1114391" lvl="2" indent="-278598" algn="l">
              <a:lnSpc>
                <a:spcPct val="100000"/>
              </a:lnSpc>
              <a:spcBef>
                <a:spcPts val="406"/>
              </a:spcBef>
              <a:spcAft>
                <a:spcPts val="0"/>
              </a:spcAft>
              <a:buSzPts val="1800"/>
              <a:buChar char="*"/>
              <a:defRPr/>
            </a:lvl3pPr>
            <a:lvl4pPr marL="1485854" lvl="3" indent="-278598" algn="l">
              <a:lnSpc>
                <a:spcPct val="100000"/>
              </a:lnSpc>
              <a:spcBef>
                <a:spcPts val="406"/>
              </a:spcBef>
              <a:spcAft>
                <a:spcPts val="0"/>
              </a:spcAft>
              <a:buSzPts val="1800"/>
              <a:buChar char="*"/>
              <a:defRPr/>
            </a:lvl4pPr>
            <a:lvl5pPr marL="1857318" lvl="4" indent="-278598" algn="l">
              <a:lnSpc>
                <a:spcPct val="100000"/>
              </a:lnSpc>
              <a:spcBef>
                <a:spcPts val="406"/>
              </a:spcBef>
              <a:spcAft>
                <a:spcPts val="0"/>
              </a:spcAft>
              <a:buSzPts val="1800"/>
              <a:buChar char="*"/>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29" name="Google Shape;229;p49"/>
          <p:cNvSpPr txBox="1">
            <a:spLocks noGrp="1"/>
          </p:cNvSpPr>
          <p:nvPr>
            <p:ph type="dt" idx="10"/>
          </p:nvPr>
        </p:nvSpPr>
        <p:spPr>
          <a:xfrm>
            <a:off x="0" y="0"/>
            <a:ext cx="24375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462">
                <a:solidFill>
                  <a:schemeClr val="dk1"/>
                </a:solidFill>
                <a:latin typeface="Fira Sans"/>
                <a:ea typeface="Fira Sans"/>
                <a:cs typeface="Fira Sans"/>
                <a:sym typeface="Fira Sans"/>
              </a:defRPr>
            </a:lvl1pPr>
            <a:lvl2pPr marR="0" lvl="1"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2pPr>
            <a:lvl3pPr marR="0" lvl="2"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3pPr>
            <a:lvl4pPr marR="0" lvl="3"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4pPr>
            <a:lvl5pPr marR="0" lvl="4"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5pPr>
            <a:lvl6pPr marR="0" lvl="5"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6pPr>
            <a:lvl7pPr marR="0" lvl="6"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7pPr>
            <a:lvl8pPr marR="0" lvl="7"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8pPr>
            <a:lvl9pPr marR="0" lvl="8"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9pPr>
          </a:lstStyle>
          <a:p>
            <a:endParaRPr/>
          </a:p>
        </p:txBody>
      </p:sp>
      <p:sp>
        <p:nvSpPr>
          <p:cNvPr id="230" name="Google Shape;230;p49"/>
          <p:cNvSpPr txBox="1">
            <a:spLocks noGrp="1"/>
          </p:cNvSpPr>
          <p:nvPr>
            <p:ph type="ftr" idx="11"/>
          </p:nvPr>
        </p:nvSpPr>
        <p:spPr>
          <a:xfrm>
            <a:off x="0" y="0"/>
            <a:ext cx="24375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462">
                <a:solidFill>
                  <a:schemeClr val="dk1"/>
                </a:solidFill>
                <a:latin typeface="Fira Sans"/>
                <a:ea typeface="Fira Sans"/>
                <a:cs typeface="Fira Sans"/>
                <a:sym typeface="Fira Sans"/>
              </a:defRPr>
            </a:lvl1pPr>
            <a:lvl2pPr marR="0" lvl="1"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2pPr>
            <a:lvl3pPr marR="0" lvl="2"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3pPr>
            <a:lvl4pPr marR="0" lvl="3"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4pPr>
            <a:lvl5pPr marR="0" lvl="4"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5pPr>
            <a:lvl6pPr marR="0" lvl="5"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6pPr>
            <a:lvl7pPr marR="0" lvl="6"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7pPr>
            <a:lvl8pPr marR="0" lvl="7"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8pPr>
            <a:lvl9pPr marR="0" lvl="8" algn="l" rtl="0">
              <a:spcBef>
                <a:spcPts val="0"/>
              </a:spcBef>
              <a:spcAft>
                <a:spcPts val="0"/>
              </a:spcAft>
              <a:buSzPts val="1400"/>
              <a:buNone/>
              <a:defRPr sz="1462" b="0" i="0" u="none" strike="noStrike" cap="none">
                <a:solidFill>
                  <a:schemeClr val="dk1"/>
                </a:solidFill>
                <a:latin typeface="Fira Sans"/>
                <a:ea typeface="Fira Sans"/>
                <a:cs typeface="Fira Sans"/>
                <a:sym typeface="Fira Sans"/>
              </a:defRPr>
            </a:lvl9pPr>
          </a:lstStyle>
          <a:p>
            <a:endParaRPr/>
          </a:p>
        </p:txBody>
      </p:sp>
      <p:sp>
        <p:nvSpPr>
          <p:cNvPr id="231" name="Google Shape;231;p49"/>
          <p:cNvSpPr txBox="1">
            <a:spLocks noGrp="1"/>
          </p:cNvSpPr>
          <p:nvPr>
            <p:ph type="sldNum" idx="12"/>
          </p:nvPr>
        </p:nvSpPr>
        <p:spPr>
          <a:xfrm>
            <a:off x="0" y="0"/>
            <a:ext cx="24375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462">
                <a:solidFill>
                  <a:schemeClr val="dk1"/>
                </a:solidFill>
                <a:latin typeface="Fira Sans"/>
                <a:ea typeface="Fira Sans"/>
                <a:cs typeface="Fira Sans"/>
                <a:sym typeface="Fira Sans"/>
              </a:defRPr>
            </a:lvl1pPr>
            <a:lvl2pPr marL="0" marR="0" lvl="1" indent="0" algn="l" rtl="0">
              <a:spcBef>
                <a:spcPts val="0"/>
              </a:spcBef>
              <a:buNone/>
              <a:defRPr sz="1462">
                <a:solidFill>
                  <a:schemeClr val="dk1"/>
                </a:solidFill>
                <a:latin typeface="Fira Sans"/>
                <a:ea typeface="Fira Sans"/>
                <a:cs typeface="Fira Sans"/>
                <a:sym typeface="Fira Sans"/>
              </a:defRPr>
            </a:lvl2pPr>
            <a:lvl3pPr marL="0" marR="0" lvl="2" indent="0" algn="l" rtl="0">
              <a:spcBef>
                <a:spcPts val="0"/>
              </a:spcBef>
              <a:buNone/>
              <a:defRPr sz="1462">
                <a:solidFill>
                  <a:schemeClr val="dk1"/>
                </a:solidFill>
                <a:latin typeface="Fira Sans"/>
                <a:ea typeface="Fira Sans"/>
                <a:cs typeface="Fira Sans"/>
                <a:sym typeface="Fira Sans"/>
              </a:defRPr>
            </a:lvl3pPr>
            <a:lvl4pPr marL="0" marR="0" lvl="3" indent="0" algn="l" rtl="0">
              <a:spcBef>
                <a:spcPts val="0"/>
              </a:spcBef>
              <a:buNone/>
              <a:defRPr sz="1462">
                <a:solidFill>
                  <a:schemeClr val="dk1"/>
                </a:solidFill>
                <a:latin typeface="Fira Sans"/>
                <a:ea typeface="Fira Sans"/>
                <a:cs typeface="Fira Sans"/>
                <a:sym typeface="Fira Sans"/>
              </a:defRPr>
            </a:lvl4pPr>
            <a:lvl5pPr marL="0" marR="0" lvl="4" indent="0" algn="l" rtl="0">
              <a:spcBef>
                <a:spcPts val="0"/>
              </a:spcBef>
              <a:buNone/>
              <a:defRPr sz="1462">
                <a:solidFill>
                  <a:schemeClr val="dk1"/>
                </a:solidFill>
                <a:latin typeface="Fira Sans"/>
                <a:ea typeface="Fira Sans"/>
                <a:cs typeface="Fira Sans"/>
                <a:sym typeface="Fira Sans"/>
              </a:defRPr>
            </a:lvl5pPr>
            <a:lvl6pPr marL="0" marR="0" lvl="5" indent="0" algn="l" rtl="0">
              <a:spcBef>
                <a:spcPts val="0"/>
              </a:spcBef>
              <a:buNone/>
              <a:defRPr sz="1462">
                <a:solidFill>
                  <a:schemeClr val="dk1"/>
                </a:solidFill>
                <a:latin typeface="Fira Sans"/>
                <a:ea typeface="Fira Sans"/>
                <a:cs typeface="Fira Sans"/>
                <a:sym typeface="Fira Sans"/>
              </a:defRPr>
            </a:lvl6pPr>
            <a:lvl7pPr marL="0" marR="0" lvl="6" indent="0" algn="l" rtl="0">
              <a:spcBef>
                <a:spcPts val="0"/>
              </a:spcBef>
              <a:buNone/>
              <a:defRPr sz="1462">
                <a:solidFill>
                  <a:schemeClr val="dk1"/>
                </a:solidFill>
                <a:latin typeface="Fira Sans"/>
                <a:ea typeface="Fira Sans"/>
                <a:cs typeface="Fira Sans"/>
                <a:sym typeface="Fira Sans"/>
              </a:defRPr>
            </a:lvl7pPr>
            <a:lvl8pPr marL="0" marR="0" lvl="7" indent="0" algn="l" rtl="0">
              <a:spcBef>
                <a:spcPts val="0"/>
              </a:spcBef>
              <a:buNone/>
              <a:defRPr sz="1462">
                <a:solidFill>
                  <a:schemeClr val="dk1"/>
                </a:solidFill>
                <a:latin typeface="Fira Sans"/>
                <a:ea typeface="Fira Sans"/>
                <a:cs typeface="Fira Sans"/>
                <a:sym typeface="Fira Sans"/>
              </a:defRPr>
            </a:lvl8pPr>
            <a:lvl9pPr marL="0" marR="0" lvl="8" indent="0" algn="l" rtl="0">
              <a:spcBef>
                <a:spcPts val="0"/>
              </a:spcBef>
              <a:buNone/>
              <a:defRPr sz="1462">
                <a:solidFill>
                  <a:schemeClr val="dk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232" name="Google Shape;232;p49"/>
          <p:cNvSpPr txBox="1">
            <a:spLocks noGrp="1"/>
          </p:cNvSpPr>
          <p:nvPr>
            <p:ph type="title"/>
          </p:nvPr>
        </p:nvSpPr>
        <p:spPr>
          <a:xfrm>
            <a:off x="731969" y="890589"/>
            <a:ext cx="8441864" cy="771019"/>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3" name="Google Shape;233;p49"/>
          <p:cNvPicPr preferRelativeResize="0"/>
          <p:nvPr/>
        </p:nvPicPr>
        <p:blipFill rotWithShape="1">
          <a:blip r:embed="rId2">
            <a:alphaModFix/>
          </a:blip>
          <a:srcRect/>
          <a:stretch/>
        </p:blipFill>
        <p:spPr>
          <a:xfrm>
            <a:off x="8296034" y="2389806"/>
            <a:ext cx="1271664" cy="1564559"/>
          </a:xfrm>
          <a:prstGeom prst="rect">
            <a:avLst/>
          </a:prstGeom>
          <a:noFill/>
          <a:ln>
            <a:noFill/>
          </a:ln>
        </p:spPr>
      </p:pic>
      <p:pic>
        <p:nvPicPr>
          <p:cNvPr id="234" name="Google Shape;234;p49"/>
          <p:cNvPicPr preferRelativeResize="0"/>
          <p:nvPr/>
        </p:nvPicPr>
        <p:blipFill rotWithShape="1">
          <a:blip r:embed="rId3">
            <a:alphaModFix/>
          </a:blip>
          <a:srcRect/>
          <a:stretch/>
        </p:blipFill>
        <p:spPr>
          <a:xfrm>
            <a:off x="8296034" y="4367133"/>
            <a:ext cx="1271664" cy="1564559"/>
          </a:xfrm>
          <a:prstGeom prst="rect">
            <a:avLst/>
          </a:prstGeom>
          <a:noFill/>
          <a:ln>
            <a:noFill/>
          </a:ln>
        </p:spPr>
      </p:pic>
      <p:pic>
        <p:nvPicPr>
          <p:cNvPr id="235" name="Google Shape;235;p49"/>
          <p:cNvPicPr preferRelativeResize="0"/>
          <p:nvPr/>
        </p:nvPicPr>
        <p:blipFill rotWithShape="1">
          <a:blip r:embed="rId4">
            <a:alphaModFix/>
          </a:blip>
          <a:srcRect/>
          <a:stretch/>
        </p:blipFill>
        <p:spPr>
          <a:xfrm>
            <a:off x="8296033" y="407604"/>
            <a:ext cx="1271664" cy="1562320"/>
          </a:xfrm>
          <a:prstGeom prst="rect">
            <a:avLst/>
          </a:prstGeom>
          <a:noFill/>
          <a:ln>
            <a:noFill/>
          </a:ln>
        </p:spPr>
      </p:pic>
    </p:spTree>
    <p:extLst>
      <p:ext uri="{BB962C8B-B14F-4D97-AF65-F5344CB8AC3E}">
        <p14:creationId xmlns:p14="http://schemas.microsoft.com/office/powerpoint/2010/main" val="3609696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1_Nadpis a obsah">
  <p:cSld name="1_Nadpis a obsah">
    <p:spTree>
      <p:nvGrpSpPr>
        <p:cNvPr id="1" name="Shape 236"/>
        <p:cNvGrpSpPr/>
        <p:nvPr/>
      </p:nvGrpSpPr>
      <p:grpSpPr>
        <a:xfrm>
          <a:off x="0" y="0"/>
          <a:ext cx="0" cy="0"/>
          <a:chOff x="0" y="0"/>
          <a:chExt cx="0" cy="0"/>
        </a:xfrm>
      </p:grpSpPr>
      <p:sp>
        <p:nvSpPr>
          <p:cNvPr id="237" name="Google Shape;237;p50"/>
          <p:cNvSpPr txBox="1">
            <a:spLocks noGrp="1"/>
          </p:cNvSpPr>
          <p:nvPr>
            <p:ph type="title"/>
          </p:nvPr>
        </p:nvSpPr>
        <p:spPr>
          <a:xfrm>
            <a:off x="681038" y="365126"/>
            <a:ext cx="8543925" cy="720367"/>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 name="Google Shape;238;p50"/>
          <p:cNvSpPr txBox="1">
            <a:spLocks noGrp="1"/>
          </p:cNvSpPr>
          <p:nvPr>
            <p:ph type="body" idx="1"/>
          </p:nvPr>
        </p:nvSpPr>
        <p:spPr>
          <a:xfrm>
            <a:off x="681038" y="1589130"/>
            <a:ext cx="8543925" cy="4344311"/>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dk1"/>
              </a:buClr>
              <a:buSzPts val="1800"/>
              <a:buNone/>
              <a:defRPr sz="1462"/>
            </a:lvl1pPr>
            <a:lvl2pPr marL="742927" lvl="1" indent="-268279" algn="l">
              <a:lnSpc>
                <a:spcPct val="100000"/>
              </a:lnSpc>
              <a:spcBef>
                <a:spcPts val="406"/>
              </a:spcBef>
              <a:spcAft>
                <a:spcPts val="0"/>
              </a:spcAft>
              <a:buSzPts val="1600"/>
              <a:buChar char="*"/>
              <a:defRPr sz="1300">
                <a:solidFill>
                  <a:srgbClr val="626D78"/>
                </a:solidFill>
              </a:defRPr>
            </a:lvl2pPr>
            <a:lvl3pPr marL="1114391" lvl="2" indent="-257961" algn="l">
              <a:lnSpc>
                <a:spcPct val="100000"/>
              </a:lnSpc>
              <a:spcBef>
                <a:spcPts val="406"/>
              </a:spcBef>
              <a:spcAft>
                <a:spcPts val="0"/>
              </a:spcAft>
              <a:buSzPts val="1400"/>
              <a:buChar char="*"/>
              <a:defRPr sz="1137">
                <a:solidFill>
                  <a:srgbClr val="626D78"/>
                </a:solidFill>
              </a:defRPr>
            </a:lvl3pPr>
            <a:lvl4pPr marL="1485854" lvl="3" indent="-247642" algn="l">
              <a:lnSpc>
                <a:spcPct val="100000"/>
              </a:lnSpc>
              <a:spcBef>
                <a:spcPts val="406"/>
              </a:spcBef>
              <a:spcAft>
                <a:spcPts val="0"/>
              </a:spcAft>
              <a:buSzPts val="1200"/>
              <a:buChar char="*"/>
              <a:defRPr sz="975">
                <a:solidFill>
                  <a:srgbClr val="626D78"/>
                </a:solidFill>
              </a:defRPr>
            </a:lvl4pPr>
            <a:lvl5pPr marL="1857318" lvl="4" indent="-247642" algn="l">
              <a:lnSpc>
                <a:spcPct val="100000"/>
              </a:lnSpc>
              <a:spcBef>
                <a:spcPts val="406"/>
              </a:spcBef>
              <a:spcAft>
                <a:spcPts val="0"/>
              </a:spcAft>
              <a:buSzPts val="1200"/>
              <a:buChar char="*"/>
              <a:defRPr sz="975">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39" name="Google Shape;239;p50"/>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240" name="Google Shape;240;p50"/>
          <p:cNvSpPr txBox="1">
            <a:spLocks noGrp="1"/>
          </p:cNvSpPr>
          <p:nvPr>
            <p:ph type="body" idx="2"/>
          </p:nvPr>
        </p:nvSpPr>
        <p:spPr>
          <a:xfrm>
            <a:off x="145494" y="6176964"/>
            <a:ext cx="8930879" cy="538163"/>
          </a:xfrm>
          <a:prstGeom prst="rect">
            <a:avLst/>
          </a:prstGeom>
          <a:noFill/>
          <a:ln>
            <a:noFill/>
          </a:ln>
        </p:spPr>
        <p:txBody>
          <a:bodyPr spcFirstLastPara="1" wrap="square" lIns="0" tIns="0" rIns="0" bIns="0" anchor="ctr" anchorCtr="0">
            <a:noAutofit/>
          </a:bodyPr>
          <a:lstStyle>
            <a:lvl1pPr marL="371464" lvl="0" indent="-247642" algn="l">
              <a:lnSpc>
                <a:spcPct val="100000"/>
              </a:lnSpc>
              <a:spcBef>
                <a:spcPts val="812"/>
              </a:spcBef>
              <a:spcAft>
                <a:spcPts val="0"/>
              </a:spcAft>
              <a:buClr>
                <a:srgbClr val="BFBFBF"/>
              </a:buClr>
              <a:buSzPts val="1200"/>
              <a:buFont typeface="Inter ExtraBold"/>
              <a:buAutoNum type="arabicPeriod"/>
              <a:defRPr sz="975">
                <a:solidFill>
                  <a:srgbClr val="BFBFBF"/>
                </a:solidFill>
              </a:defRPr>
            </a:lvl1pPr>
            <a:lvl2pPr marL="742927" lvl="1" indent="-278598" algn="l">
              <a:lnSpc>
                <a:spcPct val="100000"/>
              </a:lnSpc>
              <a:spcBef>
                <a:spcPts val="406"/>
              </a:spcBef>
              <a:spcAft>
                <a:spcPts val="0"/>
              </a:spcAft>
              <a:buSzPts val="1800"/>
              <a:buChar char="*"/>
              <a:defRPr>
                <a:solidFill>
                  <a:srgbClr val="626D78"/>
                </a:solidFill>
              </a:defRPr>
            </a:lvl2pPr>
            <a:lvl3pPr marL="1114391" lvl="2" indent="-268279" algn="l">
              <a:lnSpc>
                <a:spcPct val="100000"/>
              </a:lnSpc>
              <a:spcBef>
                <a:spcPts val="406"/>
              </a:spcBef>
              <a:spcAft>
                <a:spcPts val="0"/>
              </a:spcAft>
              <a:buSzPts val="1600"/>
              <a:buChar char="*"/>
              <a:defRPr>
                <a:solidFill>
                  <a:srgbClr val="626D78"/>
                </a:solidFill>
              </a:defRPr>
            </a:lvl3pPr>
            <a:lvl4pPr marL="1485854" lvl="3" indent="-257961" algn="l">
              <a:lnSpc>
                <a:spcPct val="100000"/>
              </a:lnSpc>
              <a:spcBef>
                <a:spcPts val="406"/>
              </a:spcBef>
              <a:spcAft>
                <a:spcPts val="0"/>
              </a:spcAft>
              <a:buSzPts val="1400"/>
              <a:buChar char="*"/>
              <a:defRPr>
                <a:solidFill>
                  <a:srgbClr val="626D78"/>
                </a:solidFill>
              </a:defRPr>
            </a:lvl4pPr>
            <a:lvl5pPr marL="1857318" lvl="4" indent="-257961" algn="l">
              <a:lnSpc>
                <a:spcPct val="100000"/>
              </a:lnSpc>
              <a:spcBef>
                <a:spcPts val="406"/>
              </a:spcBef>
              <a:spcAft>
                <a:spcPts val="0"/>
              </a:spcAft>
              <a:buSzPts val="1400"/>
              <a:buChar char="*"/>
              <a:defRPr>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41" name="Google Shape;241;p50"/>
          <p:cNvSpPr txBox="1">
            <a:spLocks noGrp="1"/>
          </p:cNvSpPr>
          <p:nvPr>
            <p:ph type="body" idx="3"/>
          </p:nvPr>
        </p:nvSpPr>
        <p:spPr>
          <a:xfrm>
            <a:off x="681038" y="1095651"/>
            <a:ext cx="8543925" cy="609192"/>
          </a:xfrm>
          <a:prstGeom prst="rect">
            <a:avLst/>
          </a:prstGeom>
          <a:noFill/>
          <a:ln>
            <a:noFill/>
          </a:ln>
        </p:spPr>
        <p:txBody>
          <a:bodyPr spcFirstLastPara="1" wrap="square" lIns="0" tIns="0" rIns="0" bIns="108000" anchor="t" anchorCtr="0">
            <a:spAutoFit/>
          </a:bodyPr>
          <a:lstStyle>
            <a:lvl1pPr marL="371464" lvl="0" indent="-185732" algn="l">
              <a:lnSpc>
                <a:spcPct val="100000"/>
              </a:lnSpc>
              <a:spcBef>
                <a:spcPts val="1462"/>
              </a:spcBef>
              <a:spcAft>
                <a:spcPts val="0"/>
              </a:spcAft>
              <a:buClr>
                <a:schemeClr val="accent1"/>
              </a:buClr>
              <a:buSzPts val="2000"/>
              <a:buNone/>
              <a:defRPr>
                <a:solidFill>
                  <a:schemeClr val="accent1"/>
                </a:solidFill>
                <a:latin typeface="Inter ExtraBold"/>
                <a:ea typeface="Inter ExtraBold"/>
                <a:cs typeface="Inter ExtraBold"/>
                <a:sym typeface="Inter ExtraBold"/>
              </a:defRPr>
            </a:lvl1pPr>
            <a:lvl2pPr marL="742927" lvl="1" indent="-278598" algn="l">
              <a:lnSpc>
                <a:spcPct val="100000"/>
              </a:lnSpc>
              <a:spcBef>
                <a:spcPts val="406"/>
              </a:spcBef>
              <a:spcAft>
                <a:spcPts val="0"/>
              </a:spcAft>
              <a:buSzPts val="1800"/>
              <a:buChar char="*"/>
              <a:defRPr/>
            </a:lvl2pPr>
            <a:lvl3pPr marL="1114391" lvl="2" indent="-278598" algn="l">
              <a:lnSpc>
                <a:spcPct val="100000"/>
              </a:lnSpc>
              <a:spcBef>
                <a:spcPts val="406"/>
              </a:spcBef>
              <a:spcAft>
                <a:spcPts val="0"/>
              </a:spcAft>
              <a:buSzPts val="1800"/>
              <a:buChar char="*"/>
              <a:defRPr/>
            </a:lvl3pPr>
            <a:lvl4pPr marL="1485854" lvl="3" indent="-278598" algn="l">
              <a:lnSpc>
                <a:spcPct val="100000"/>
              </a:lnSpc>
              <a:spcBef>
                <a:spcPts val="406"/>
              </a:spcBef>
              <a:spcAft>
                <a:spcPts val="0"/>
              </a:spcAft>
              <a:buSzPts val="1800"/>
              <a:buChar char="*"/>
              <a:defRPr/>
            </a:lvl4pPr>
            <a:lvl5pPr marL="1857318" lvl="4" indent="-278598" algn="l">
              <a:lnSpc>
                <a:spcPct val="100000"/>
              </a:lnSpc>
              <a:spcBef>
                <a:spcPts val="406"/>
              </a:spcBef>
              <a:spcAft>
                <a:spcPts val="0"/>
              </a:spcAft>
              <a:buSzPts val="1800"/>
              <a:buChar char="*"/>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012012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37675" y="593367"/>
            <a:ext cx="923065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37675" y="1536633"/>
            <a:ext cx="9230650" cy="4555200"/>
          </a:xfrm>
          <a:prstGeom prst="rect">
            <a:avLst/>
          </a:prstGeom>
        </p:spPr>
        <p:txBody>
          <a:bodyPr spcFirstLastPara="1" wrap="square" lIns="91425" tIns="91425" rIns="91425" bIns="91425" anchor="t" anchorCtr="0">
            <a:normAutofit/>
          </a:bodyPr>
          <a:lstStyle>
            <a:lvl1pPr marL="495273" lvl="0" indent="-371455">
              <a:spcBef>
                <a:spcPts val="0"/>
              </a:spcBef>
              <a:spcAft>
                <a:spcPts val="0"/>
              </a:spcAft>
              <a:buSzPts val="1800"/>
              <a:buChar char="●"/>
              <a:defRPr/>
            </a:lvl1pPr>
            <a:lvl2pPr marL="990546" lvl="1" indent="-343939">
              <a:spcBef>
                <a:spcPts val="0"/>
              </a:spcBef>
              <a:spcAft>
                <a:spcPts val="0"/>
              </a:spcAft>
              <a:buSzPts val="1400"/>
              <a:buChar char="○"/>
              <a:defRPr/>
            </a:lvl2pPr>
            <a:lvl3pPr marL="1485817" lvl="2" indent="-343939">
              <a:spcBef>
                <a:spcPts val="0"/>
              </a:spcBef>
              <a:spcAft>
                <a:spcPts val="0"/>
              </a:spcAft>
              <a:buSzPts val="1400"/>
              <a:buChar char="■"/>
              <a:defRPr/>
            </a:lvl3pPr>
            <a:lvl4pPr marL="1981089" lvl="3" indent="-343939">
              <a:spcBef>
                <a:spcPts val="0"/>
              </a:spcBef>
              <a:spcAft>
                <a:spcPts val="0"/>
              </a:spcAft>
              <a:buSzPts val="1400"/>
              <a:buChar char="●"/>
              <a:defRPr/>
            </a:lvl4pPr>
            <a:lvl5pPr marL="2476362" lvl="4" indent="-343939">
              <a:spcBef>
                <a:spcPts val="0"/>
              </a:spcBef>
              <a:spcAft>
                <a:spcPts val="0"/>
              </a:spcAft>
              <a:buSzPts val="1400"/>
              <a:buChar char="○"/>
              <a:defRPr/>
            </a:lvl5pPr>
            <a:lvl6pPr marL="2971635" lvl="5" indent="-343939">
              <a:spcBef>
                <a:spcPts val="0"/>
              </a:spcBef>
              <a:spcAft>
                <a:spcPts val="0"/>
              </a:spcAft>
              <a:buSzPts val="1400"/>
              <a:buChar char="■"/>
              <a:defRPr/>
            </a:lvl6pPr>
            <a:lvl7pPr marL="3466907" lvl="6" indent="-343939">
              <a:spcBef>
                <a:spcPts val="0"/>
              </a:spcBef>
              <a:spcAft>
                <a:spcPts val="0"/>
              </a:spcAft>
              <a:buSzPts val="1400"/>
              <a:buChar char="●"/>
              <a:defRPr/>
            </a:lvl7pPr>
            <a:lvl8pPr marL="3962179" lvl="7" indent="-343939">
              <a:spcBef>
                <a:spcPts val="0"/>
              </a:spcBef>
              <a:spcAft>
                <a:spcPts val="0"/>
              </a:spcAft>
              <a:buSzPts val="1400"/>
              <a:buChar char="○"/>
              <a:defRPr/>
            </a:lvl8pPr>
            <a:lvl9pPr marL="4457451" lvl="8" indent="-343939">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9178496" y="6217623"/>
            <a:ext cx="594425"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cs" smtClean="0"/>
              <a:pPr algn="r"/>
              <a:t>‹#›</a:t>
            </a:fld>
            <a:endParaRPr lang="cs"/>
          </a:p>
        </p:txBody>
      </p:sp>
    </p:spTree>
    <p:extLst>
      <p:ext uri="{BB962C8B-B14F-4D97-AF65-F5344CB8AC3E}">
        <p14:creationId xmlns:p14="http://schemas.microsoft.com/office/powerpoint/2010/main" val="17846334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Hlavni zjištění">
  <p:cSld name="Hlavni zjištění">
    <p:spTree>
      <p:nvGrpSpPr>
        <p:cNvPr id="1" name="Shape 186"/>
        <p:cNvGrpSpPr/>
        <p:nvPr/>
      </p:nvGrpSpPr>
      <p:grpSpPr>
        <a:xfrm>
          <a:off x="0" y="0"/>
          <a:ext cx="0" cy="0"/>
          <a:chOff x="0" y="0"/>
          <a:chExt cx="0" cy="0"/>
        </a:xfrm>
      </p:grpSpPr>
      <p:sp>
        <p:nvSpPr>
          <p:cNvPr id="187" name="Google Shape;187;p40"/>
          <p:cNvSpPr txBox="1">
            <a:spLocks noGrp="1"/>
          </p:cNvSpPr>
          <p:nvPr>
            <p:ph type="title"/>
          </p:nvPr>
        </p:nvSpPr>
        <p:spPr>
          <a:xfrm>
            <a:off x="736914" y="1102399"/>
            <a:ext cx="8445484" cy="3983088"/>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accent1"/>
              </a:buClr>
              <a:buSzPts val="8600"/>
              <a:buFont typeface="Inter ExtraBold"/>
              <a:buNone/>
              <a:defRPr sz="6987">
                <a:solidFill>
                  <a:schemeClr val="accent1"/>
                </a:solidFill>
                <a:latin typeface="Inter ExtraBold"/>
                <a:ea typeface="Inter ExtraBold"/>
                <a:cs typeface="Inter ExtraBold"/>
                <a:sym typeface="Inter ExtraBold"/>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 name="Google Shape;188;p40"/>
          <p:cNvSpPr txBox="1">
            <a:spLocks noGrp="1"/>
          </p:cNvSpPr>
          <p:nvPr>
            <p:ph type="body" idx="1"/>
          </p:nvPr>
        </p:nvSpPr>
        <p:spPr>
          <a:xfrm>
            <a:off x="736914" y="5093861"/>
            <a:ext cx="5269204" cy="869947"/>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dk1"/>
              </a:buClr>
              <a:buSzPts val="2000"/>
              <a:buNone/>
              <a:defRPr sz="1625" b="1">
                <a:solidFill>
                  <a:schemeClr val="dk1"/>
                </a:solidFill>
                <a:latin typeface="Inter ExtraBold"/>
                <a:ea typeface="Inter ExtraBold"/>
                <a:cs typeface="Inter ExtraBold"/>
                <a:sym typeface="Inter ExtraBold"/>
              </a:defRPr>
            </a:lvl1pPr>
            <a:lvl2pPr marL="742927" lvl="1" indent="-232165" algn="l">
              <a:lnSpc>
                <a:spcPct val="100000"/>
              </a:lnSpc>
              <a:spcBef>
                <a:spcPts val="406"/>
              </a:spcBef>
              <a:spcAft>
                <a:spcPts val="0"/>
              </a:spcAft>
              <a:buSzPts val="900"/>
              <a:buChar char="*"/>
              <a:defRPr sz="731">
                <a:solidFill>
                  <a:srgbClr val="626D78"/>
                </a:solidFill>
              </a:defRPr>
            </a:lvl2pPr>
            <a:lvl3pPr marL="1114391" lvl="2" indent="-232165" algn="l">
              <a:lnSpc>
                <a:spcPct val="100000"/>
              </a:lnSpc>
              <a:spcBef>
                <a:spcPts val="406"/>
              </a:spcBef>
              <a:spcAft>
                <a:spcPts val="0"/>
              </a:spcAft>
              <a:buSzPts val="900"/>
              <a:buChar char="*"/>
              <a:defRPr sz="731">
                <a:solidFill>
                  <a:srgbClr val="626D78"/>
                </a:solidFill>
              </a:defRPr>
            </a:lvl3pPr>
            <a:lvl4pPr marL="1485854" lvl="3" indent="-232165" algn="l">
              <a:lnSpc>
                <a:spcPct val="100000"/>
              </a:lnSpc>
              <a:spcBef>
                <a:spcPts val="406"/>
              </a:spcBef>
              <a:spcAft>
                <a:spcPts val="0"/>
              </a:spcAft>
              <a:buSzPts val="900"/>
              <a:buChar char="*"/>
              <a:defRPr sz="731">
                <a:solidFill>
                  <a:srgbClr val="626D78"/>
                </a:solidFill>
              </a:defRPr>
            </a:lvl4pPr>
            <a:lvl5pPr marL="1857318" lvl="4" indent="-232165" algn="l">
              <a:lnSpc>
                <a:spcPct val="100000"/>
              </a:lnSpc>
              <a:spcBef>
                <a:spcPts val="406"/>
              </a:spcBef>
              <a:spcAft>
                <a:spcPts val="0"/>
              </a:spcAft>
              <a:buSzPts val="900"/>
              <a:buChar char="*"/>
              <a:defRPr sz="731">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89" name="Google Shape;189;p40"/>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190" name="Google Shape;190;p40"/>
          <p:cNvSpPr txBox="1">
            <a:spLocks noGrp="1"/>
          </p:cNvSpPr>
          <p:nvPr>
            <p:ph type="body" idx="2"/>
          </p:nvPr>
        </p:nvSpPr>
        <p:spPr>
          <a:xfrm>
            <a:off x="736913" y="837017"/>
            <a:ext cx="2984820" cy="257007"/>
          </a:xfrm>
          <a:prstGeom prst="rect">
            <a:avLst/>
          </a:prstGeom>
          <a:noFill/>
          <a:ln>
            <a:noFill/>
          </a:ln>
        </p:spPr>
        <p:txBody>
          <a:bodyPr spcFirstLastPara="1" wrap="square" lIns="0" tIns="0" rIns="0" bIns="0" anchor="b" anchorCtr="0">
            <a:noAutofit/>
          </a:bodyPr>
          <a:lstStyle>
            <a:lvl1pPr marL="371464" lvl="0" indent="-185732" algn="l">
              <a:lnSpc>
                <a:spcPct val="100000"/>
              </a:lnSpc>
              <a:spcBef>
                <a:spcPts val="812"/>
              </a:spcBef>
              <a:spcAft>
                <a:spcPts val="0"/>
              </a:spcAft>
              <a:buClr>
                <a:schemeClr val="dk1"/>
              </a:buClr>
              <a:buSzPts val="1400"/>
              <a:buNone/>
              <a:defRPr sz="1137">
                <a:latin typeface="Inter"/>
                <a:ea typeface="Inter"/>
                <a:cs typeface="Inter"/>
                <a:sym typeface="Inter"/>
              </a:defRPr>
            </a:lvl1pPr>
            <a:lvl2pPr marL="742927" lvl="1" indent="-247642" algn="l">
              <a:lnSpc>
                <a:spcPct val="100000"/>
              </a:lnSpc>
              <a:spcBef>
                <a:spcPts val="406"/>
              </a:spcBef>
              <a:spcAft>
                <a:spcPts val="0"/>
              </a:spcAft>
              <a:buSzPts val="1200"/>
              <a:buChar char="*"/>
              <a:defRPr sz="975">
                <a:latin typeface="Inter"/>
                <a:ea typeface="Inter"/>
                <a:cs typeface="Inter"/>
                <a:sym typeface="Inter"/>
              </a:defRPr>
            </a:lvl2pPr>
            <a:lvl3pPr marL="1114391" lvl="2" indent="-247642" algn="l">
              <a:lnSpc>
                <a:spcPct val="100000"/>
              </a:lnSpc>
              <a:spcBef>
                <a:spcPts val="406"/>
              </a:spcBef>
              <a:spcAft>
                <a:spcPts val="0"/>
              </a:spcAft>
              <a:buSzPts val="1200"/>
              <a:buChar char="*"/>
              <a:defRPr sz="975">
                <a:latin typeface="Inter"/>
                <a:ea typeface="Inter"/>
                <a:cs typeface="Inter"/>
                <a:sym typeface="Inter"/>
              </a:defRPr>
            </a:lvl3pPr>
            <a:lvl4pPr marL="1485854" lvl="3" indent="-247642" algn="l">
              <a:lnSpc>
                <a:spcPct val="100000"/>
              </a:lnSpc>
              <a:spcBef>
                <a:spcPts val="406"/>
              </a:spcBef>
              <a:spcAft>
                <a:spcPts val="0"/>
              </a:spcAft>
              <a:buSzPts val="1200"/>
              <a:buChar char="*"/>
              <a:defRPr sz="975">
                <a:latin typeface="Inter"/>
                <a:ea typeface="Inter"/>
                <a:cs typeface="Inter"/>
                <a:sym typeface="Inter"/>
              </a:defRPr>
            </a:lvl4pPr>
            <a:lvl5pPr marL="1857318" lvl="4" indent="-247642" algn="l">
              <a:lnSpc>
                <a:spcPct val="100000"/>
              </a:lnSpc>
              <a:spcBef>
                <a:spcPts val="406"/>
              </a:spcBef>
              <a:spcAft>
                <a:spcPts val="0"/>
              </a:spcAft>
              <a:buSzPts val="1200"/>
              <a:buChar char="*"/>
              <a:defRPr sz="975">
                <a:latin typeface="Inter"/>
                <a:ea typeface="Inter"/>
                <a:cs typeface="Inter"/>
                <a:sym typeface="Inter"/>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234305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Nadpis a obsah bez loga na pozadí">
    <p:bg>
      <p:bgPr>
        <a:solidFill>
          <a:schemeClr val="bg1"/>
        </a:solidFill>
        <a:effectLst/>
      </p:bgPr>
    </p:bg>
    <p:spTree>
      <p:nvGrpSpPr>
        <p:cNvPr id="1" name=""/>
        <p:cNvGrpSpPr/>
        <p:nvPr/>
      </p:nvGrpSpPr>
      <p:grpSpPr>
        <a:xfrm>
          <a:off x="0" y="0"/>
          <a:ext cx="0" cy="0"/>
          <a:chOff x="0" y="0"/>
          <a:chExt cx="0" cy="0"/>
        </a:xfrm>
      </p:grpSpPr>
      <p:sp>
        <p:nvSpPr>
          <p:cNvPr id="8" name="Nadpis 7"/>
          <p:cNvSpPr>
            <a:spLocks noGrp="1"/>
          </p:cNvSpPr>
          <p:nvPr>
            <p:ph type="title"/>
          </p:nvPr>
        </p:nvSpPr>
        <p:spPr>
          <a:xfrm>
            <a:off x="656561" y="781788"/>
            <a:ext cx="8568402" cy="691116"/>
          </a:xfrm>
          <a:prstGeom prst="rect">
            <a:avLst/>
          </a:prstGeom>
        </p:spPr>
        <p:txBody>
          <a:bodyPr/>
          <a:lstStyle>
            <a:lvl1pPr>
              <a:defRPr b="1"/>
            </a:lvl1pPr>
          </a:lstStyle>
          <a:p>
            <a:r>
              <a:rPr lang="cs-CZ"/>
              <a:t>Kliknutím lze upravit styl.</a:t>
            </a:r>
          </a:p>
        </p:txBody>
      </p:sp>
      <p:sp>
        <p:nvSpPr>
          <p:cNvPr id="3" name="Zástupný symbol pro obsah 2"/>
          <p:cNvSpPr>
            <a:spLocks noGrp="1"/>
          </p:cNvSpPr>
          <p:nvPr>
            <p:ph idx="1" hasCustomPrompt="1"/>
          </p:nvPr>
        </p:nvSpPr>
        <p:spPr>
          <a:xfrm rot="10800000" flipV="1">
            <a:off x="656561" y="1663702"/>
            <a:ext cx="8568402" cy="4396859"/>
          </a:xfrm>
          <a:prstGeom prst="rect">
            <a:avLst/>
          </a:prstGeom>
        </p:spPr>
        <p:txBody>
          <a:bodyPr/>
          <a:lstStyle>
            <a:lvl1pPr marL="290222" indent="-290222">
              <a:defRPr/>
            </a:lvl1pPr>
            <a:lvl2pPr marL="580443" indent="-208959">
              <a:buFont typeface="Courier New" panose="02070309020205020404" pitchFamily="49" charset="0"/>
              <a:buChar char="o"/>
              <a:defRPr/>
            </a:lvl2pPr>
            <a:lvl3pPr marL="928709" indent="-185742">
              <a:buFont typeface="Wingdings" panose="05000000000000000000" pitchFamily="2" charset="2"/>
              <a:buChar char="§"/>
              <a:defRPr/>
            </a:lvl3pPr>
            <a:lvl4pPr>
              <a:defRPr/>
            </a:lvl4pPr>
            <a:lvl5pPr>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p:txBody>
          <a:bodyPr/>
          <a:lstStyle/>
          <a:p>
            <a:fld id="{A8784E01-F173-423B-BCD8-B8C3DB995DD1}" type="datetime1">
              <a:rPr lang="cs-CZ" smtClean="0"/>
              <a:t>15.09.2025</a:t>
            </a:fld>
            <a:endParaRPr lang="cs-CZ"/>
          </a:p>
        </p:txBody>
      </p:sp>
      <p:sp>
        <p:nvSpPr>
          <p:cNvPr id="5" name="Zástupný symbol pro zápatí 4"/>
          <p:cNvSpPr>
            <a:spLocks noGrp="1"/>
          </p:cNvSpPr>
          <p:nvPr>
            <p:ph type="ftr" sz="quarter" idx="11"/>
          </p:nvPr>
        </p:nvSpPr>
        <p:spPr/>
        <p:txBody>
          <a:bodyPr/>
          <a:lstStyle/>
          <a:p>
            <a:endParaRPr lang="cs-CZ"/>
          </a:p>
        </p:txBody>
      </p:sp>
      <p:sp>
        <p:nvSpPr>
          <p:cNvPr id="6" name="Zástupný symbol pro číslo snímku 5"/>
          <p:cNvSpPr>
            <a:spLocks noGrp="1"/>
          </p:cNvSpPr>
          <p:nvPr>
            <p:ph type="sldNum" sz="quarter" idx="12"/>
          </p:nvPr>
        </p:nvSpPr>
        <p:spPr>
          <a:xfrm>
            <a:off x="6996113" y="6356353"/>
            <a:ext cx="2228850" cy="365125"/>
          </a:xfrm>
          <a:prstGeom prst="rect">
            <a:avLst/>
          </a:prstGeom>
        </p:spPr>
        <p:txBody>
          <a:bodyPr/>
          <a:lstStyle>
            <a:lvl1pPr algn="r">
              <a:defRPr/>
            </a:lvl1pPr>
          </a:lstStyle>
          <a:p>
            <a:fld id="{E1FABD4B-2F30-49F8-98F3-E2840AF18AB3}" type="slidenum">
              <a:rPr lang="cs-CZ" smtClean="0"/>
              <a:pPr/>
              <a:t>‹#›</a:t>
            </a:fld>
            <a:endParaRPr lang="cs-CZ"/>
          </a:p>
        </p:txBody>
      </p:sp>
    </p:spTree>
    <p:extLst>
      <p:ext uri="{BB962C8B-B14F-4D97-AF65-F5344CB8AC3E}">
        <p14:creationId xmlns:p14="http://schemas.microsoft.com/office/powerpoint/2010/main" val="31019922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2_Kontakt">
    <p:bg>
      <p:bgPr>
        <a:solidFill>
          <a:srgbClr val="00254B"/>
        </a:solidFill>
        <a:effectLst/>
      </p:bgPr>
    </p:bg>
    <p:spTree>
      <p:nvGrpSpPr>
        <p:cNvPr id="1" name=""/>
        <p:cNvGrpSpPr/>
        <p:nvPr/>
      </p:nvGrpSpPr>
      <p:grpSpPr>
        <a:xfrm>
          <a:off x="0" y="0"/>
          <a:ext cx="0" cy="0"/>
          <a:chOff x="0" y="0"/>
          <a:chExt cx="0" cy="0"/>
        </a:xfrm>
      </p:grpSpPr>
      <p:pic>
        <p:nvPicPr>
          <p:cNvPr id="2050" name="Picture 2" descr="Základová fotografie zdarma na téma barvy, bezešvý, děti">
            <a:extLst>
              <a:ext uri="{FF2B5EF4-FFF2-40B4-BE49-F238E27FC236}">
                <a16:creationId xmlns:a16="http://schemas.microsoft.com/office/drawing/2014/main" id="{F012F71C-09D6-69D5-340E-62E8475C61C5}"/>
              </a:ext>
            </a:extLst>
          </p:cNvPr>
          <p:cNvPicPr>
            <a:picLocks noChangeArrowheads="1"/>
          </p:cNvPicPr>
          <p:nvPr userDrawn="1"/>
        </p:nvPicPr>
        <p:blipFill rotWithShape="1">
          <a:blip r:embed="rId2" cstate="screen">
            <a:extLst>
              <a:ext uri="{28A0092B-C50C-407E-A947-70E740481C1C}">
                <a14:useLocalDpi xmlns:a14="http://schemas.microsoft.com/office/drawing/2010/main"/>
              </a:ext>
            </a:extLst>
          </a:blip>
          <a:srcRect b="2215"/>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Obdélník 2">
            <a:extLst>
              <a:ext uri="{FF2B5EF4-FFF2-40B4-BE49-F238E27FC236}">
                <a16:creationId xmlns:a16="http://schemas.microsoft.com/office/drawing/2014/main" id="{2DA4BC16-7815-8A2C-6BBC-3C78CB5C303C}"/>
              </a:ext>
            </a:extLst>
          </p:cNvPr>
          <p:cNvSpPr/>
          <p:nvPr userDrawn="1"/>
        </p:nvSpPr>
        <p:spPr>
          <a:xfrm>
            <a:off x="0" y="0"/>
            <a:ext cx="9906000" cy="6858000"/>
          </a:xfrm>
          <a:prstGeom prst="rect">
            <a:avLst/>
          </a:prstGeom>
          <a:solidFill>
            <a:srgbClr val="0C2337">
              <a:alpha val="87059"/>
            </a:srgbClr>
          </a:solidFill>
          <a:ln>
            <a:solidFill>
              <a:srgbClr val="2450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137"/>
          </a:p>
        </p:txBody>
      </p:sp>
      <p:sp>
        <p:nvSpPr>
          <p:cNvPr id="2" name="Nadpis 1">
            <a:extLst>
              <a:ext uri="{FF2B5EF4-FFF2-40B4-BE49-F238E27FC236}">
                <a16:creationId xmlns:a16="http://schemas.microsoft.com/office/drawing/2014/main" id="{606B45E8-676E-44AC-94A5-37ECFC734658}"/>
              </a:ext>
            </a:extLst>
          </p:cNvPr>
          <p:cNvSpPr>
            <a:spLocks noGrp="1"/>
          </p:cNvSpPr>
          <p:nvPr>
            <p:ph type="ctrTitle" hasCustomPrompt="1"/>
          </p:nvPr>
        </p:nvSpPr>
        <p:spPr>
          <a:xfrm>
            <a:off x="731251" y="1539129"/>
            <a:ext cx="8458793" cy="915504"/>
          </a:xfrm>
        </p:spPr>
        <p:txBody>
          <a:bodyPr lIns="0" anchor="t" anchorCtr="0"/>
          <a:lstStyle>
            <a:lvl1pPr algn="l">
              <a:defRPr sz="4875">
                <a:solidFill>
                  <a:schemeClr val="bg1"/>
                </a:solidFill>
              </a:defRPr>
            </a:lvl1pPr>
          </a:lstStyle>
          <a:p>
            <a:r>
              <a:rPr lang="en-US" err="1"/>
              <a:t>Kontakt</a:t>
            </a:r>
            <a:endParaRPr lang="cs-CZ"/>
          </a:p>
        </p:txBody>
      </p:sp>
      <p:sp>
        <p:nvSpPr>
          <p:cNvPr id="22" name="Zástupný text 20">
            <a:extLst>
              <a:ext uri="{FF2B5EF4-FFF2-40B4-BE49-F238E27FC236}">
                <a16:creationId xmlns:a16="http://schemas.microsoft.com/office/drawing/2014/main" id="{9ACEAD58-FB4B-490E-864C-E77FF6602080}"/>
              </a:ext>
            </a:extLst>
          </p:cNvPr>
          <p:cNvSpPr>
            <a:spLocks noGrp="1"/>
          </p:cNvSpPr>
          <p:nvPr>
            <p:ph type="body" sz="quarter" idx="10" hasCustomPrompt="1"/>
          </p:nvPr>
        </p:nvSpPr>
        <p:spPr>
          <a:xfrm>
            <a:off x="731250" y="3522497"/>
            <a:ext cx="4184531" cy="2092052"/>
          </a:xfrm>
        </p:spPr>
        <p:txBody>
          <a:bodyPr anchor="t" anchorCtr="0">
            <a:noAutofit/>
          </a:bodyPr>
          <a:lstStyle>
            <a:lvl1pPr marL="0" indent="0">
              <a:buNone/>
              <a:defRPr sz="1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cs-CZ"/>
              <a:t>Lidi, co to dělali</a:t>
            </a:r>
          </a:p>
        </p:txBody>
      </p:sp>
      <p:sp>
        <p:nvSpPr>
          <p:cNvPr id="25" name="Obdélník 24">
            <a:extLst>
              <a:ext uri="{FF2B5EF4-FFF2-40B4-BE49-F238E27FC236}">
                <a16:creationId xmlns:a16="http://schemas.microsoft.com/office/drawing/2014/main" id="{7882ADFD-95BB-4419-9365-CD90C982FBC1}"/>
              </a:ext>
            </a:extLst>
          </p:cNvPr>
          <p:cNvSpPr/>
          <p:nvPr/>
        </p:nvSpPr>
        <p:spPr>
          <a:xfrm>
            <a:off x="9039225" y="6045200"/>
            <a:ext cx="701675" cy="6502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462"/>
          </a:p>
        </p:txBody>
      </p:sp>
      <p:sp>
        <p:nvSpPr>
          <p:cNvPr id="4" name="TextBox 3">
            <a:extLst>
              <a:ext uri="{FF2B5EF4-FFF2-40B4-BE49-F238E27FC236}">
                <a16:creationId xmlns:a16="http://schemas.microsoft.com/office/drawing/2014/main" id="{9FC1FA3A-A3F6-4FE9-8F78-20979F187464}"/>
              </a:ext>
            </a:extLst>
          </p:cNvPr>
          <p:cNvSpPr txBox="1"/>
          <p:nvPr userDrawn="1"/>
        </p:nvSpPr>
        <p:spPr>
          <a:xfrm>
            <a:off x="731250" y="4593490"/>
            <a:ext cx="1439895" cy="317331"/>
          </a:xfrm>
          <a:prstGeom prst="rect">
            <a:avLst/>
          </a:prstGeom>
          <a:noFill/>
        </p:spPr>
        <p:txBody>
          <a:bodyPr wrap="square" lIns="0" rtlCol="0">
            <a:spAutoFit/>
          </a:bodyPr>
          <a:lstStyle/>
          <a:p>
            <a:r>
              <a:rPr lang="cs-CZ" sz="1462" b="0" kern="1200">
                <a:solidFill>
                  <a:schemeClr val="accent1"/>
                </a:solidFill>
                <a:latin typeface="+mj-lt"/>
                <a:ea typeface="+mn-ea"/>
                <a:cs typeface="+mn-cs"/>
              </a:rPr>
              <a:t>Napište nám</a:t>
            </a:r>
            <a:endParaRPr lang="en-US" sz="1462" b="0" kern="1200">
              <a:solidFill>
                <a:schemeClr val="accent1"/>
              </a:solidFill>
              <a:latin typeface="+mj-lt"/>
              <a:ea typeface="+mn-ea"/>
              <a:cs typeface="+mn-cs"/>
            </a:endParaRPr>
          </a:p>
        </p:txBody>
      </p:sp>
      <p:sp>
        <p:nvSpPr>
          <p:cNvPr id="13" name="Ovál 12">
            <a:extLst>
              <a:ext uri="{FF2B5EF4-FFF2-40B4-BE49-F238E27FC236}">
                <a16:creationId xmlns:a16="http://schemas.microsoft.com/office/drawing/2014/main" id="{00F80433-FEAC-1449-8739-7DE0C704EAEE}"/>
              </a:ext>
            </a:extLst>
          </p:cNvPr>
          <p:cNvSpPr/>
          <p:nvPr userDrawn="1"/>
        </p:nvSpPr>
        <p:spPr>
          <a:xfrm>
            <a:off x="6157127" y="2852938"/>
            <a:ext cx="4412498" cy="5430767"/>
          </a:xfrm>
          <a:prstGeom prst="ellipse">
            <a:avLst/>
          </a:prstGeom>
          <a:solidFill>
            <a:srgbClr val="16324A">
              <a:alpha val="7451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137"/>
          </a:p>
        </p:txBody>
      </p:sp>
      <p:pic>
        <p:nvPicPr>
          <p:cNvPr id="14" name="Picture 16">
            <a:extLst>
              <a:ext uri="{FF2B5EF4-FFF2-40B4-BE49-F238E27FC236}">
                <a16:creationId xmlns:a16="http://schemas.microsoft.com/office/drawing/2014/main" id="{F95A643B-DEFA-EB44-A639-34867BD5085F}"/>
              </a:ext>
            </a:extLst>
          </p:cNvPr>
          <p:cNvPicPr/>
          <p:nvPr userDrawn="1"/>
        </p:nvPicPr>
        <p:blipFill rotWithShape="1">
          <a:blip r:embed="rId3" cstate="screen">
            <a:extLst>
              <a:ext uri="{28A0092B-C50C-407E-A947-70E740481C1C}">
                <a14:useLocalDpi xmlns:a14="http://schemas.microsoft.com/office/drawing/2010/main"/>
              </a:ext>
            </a:extLst>
          </a:blip>
          <a:srcRect l="33607" t="42685" r="18308" b="24375"/>
          <a:stretch/>
        </p:blipFill>
        <p:spPr bwMode="auto">
          <a:xfrm>
            <a:off x="7393822" y="4593490"/>
            <a:ext cx="1873195" cy="1381831"/>
          </a:xfrm>
          <a:prstGeom prst="rect">
            <a:avLst/>
          </a:prstGeom>
          <a:ln>
            <a:noFill/>
          </a:ln>
          <a:extLst>
            <a:ext uri="{53640926-AAD7-44D8-BBD7-CCE9431645EC}">
              <a14:shadowObscured xmlns:a14="http://schemas.microsoft.com/office/drawing/2010/main"/>
            </a:ext>
          </a:extLst>
        </p:spPr>
      </p:pic>
      <p:sp>
        <p:nvSpPr>
          <p:cNvPr id="11" name="TextBox 24">
            <a:extLst>
              <a:ext uri="{FF2B5EF4-FFF2-40B4-BE49-F238E27FC236}">
                <a16:creationId xmlns:a16="http://schemas.microsoft.com/office/drawing/2014/main" id="{D7122940-57B3-1CCD-BF5C-121F0C04E22D}"/>
              </a:ext>
            </a:extLst>
          </p:cNvPr>
          <p:cNvSpPr txBox="1"/>
          <p:nvPr userDrawn="1"/>
        </p:nvSpPr>
        <p:spPr>
          <a:xfrm>
            <a:off x="731250" y="6201045"/>
            <a:ext cx="4953000" cy="292388"/>
          </a:xfrm>
          <a:prstGeom prst="rect">
            <a:avLst/>
          </a:prstGeom>
          <a:noFill/>
        </p:spPr>
        <p:txBody>
          <a:bodyPr wrap="square" lIns="0" rIns="0">
            <a:spAutoFit/>
          </a:bodyPr>
          <a:lstStyle/>
          <a:p>
            <a:r>
              <a:rPr lang="cs-CZ" sz="1300">
                <a:solidFill>
                  <a:schemeClr val="accent1"/>
                </a:solidFill>
                <a:latin typeface="+mj-lt"/>
                <a:ea typeface="+mn-ea"/>
                <a:cs typeface="+mn-cs"/>
              </a:rPr>
              <a:t> / </a:t>
            </a:r>
            <a:r>
              <a:rPr lang="cs-CZ" sz="1300">
                <a:solidFill>
                  <a:srgbClr val="CCCCCC"/>
                </a:solidFill>
                <a:latin typeface="+mj-lt"/>
                <a:ea typeface="+mn-ea"/>
                <a:cs typeface="+mn-cs"/>
              </a:rPr>
              <a:t>www.paqresearch.cz </a:t>
            </a:r>
            <a:endParaRPr lang="en-US" sz="1300">
              <a:solidFill>
                <a:srgbClr val="CCCCCC"/>
              </a:solidFill>
            </a:endParaRPr>
          </a:p>
        </p:txBody>
      </p:sp>
    </p:spTree>
    <p:extLst>
      <p:ext uri="{BB962C8B-B14F-4D97-AF65-F5344CB8AC3E}">
        <p14:creationId xmlns:p14="http://schemas.microsoft.com/office/powerpoint/2010/main" val="12556418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3"/>
        <p:cNvGrpSpPr/>
        <p:nvPr/>
      </p:nvGrpSpPr>
      <p:grpSpPr>
        <a:xfrm>
          <a:off x="0" y="0"/>
          <a:ext cx="0" cy="0"/>
          <a:chOff x="0" y="0"/>
          <a:chExt cx="0" cy="0"/>
        </a:xfrm>
      </p:grpSpPr>
      <p:pic>
        <p:nvPicPr>
          <p:cNvPr id="44" name="Google Shape;44;p6"/>
          <p:cNvPicPr preferRelativeResize="0"/>
          <p:nvPr/>
        </p:nvPicPr>
        <p:blipFill rotWithShape="1">
          <a:blip r:embed="rId2">
            <a:alphaModFix amt="93000"/>
          </a:blip>
          <a:srcRect l="1854"/>
          <a:stretch/>
        </p:blipFill>
        <p:spPr>
          <a:xfrm>
            <a:off x="28" y="0"/>
            <a:ext cx="9906001" cy="6858000"/>
          </a:xfrm>
          <a:prstGeom prst="rect">
            <a:avLst/>
          </a:prstGeom>
          <a:noFill/>
          <a:ln>
            <a:noFill/>
          </a:ln>
        </p:spPr>
      </p:pic>
      <p:sp>
        <p:nvSpPr>
          <p:cNvPr id="45" name="Google Shape;45;p6"/>
          <p:cNvSpPr txBox="1">
            <a:spLocks noGrp="1"/>
          </p:cNvSpPr>
          <p:nvPr>
            <p:ph type="title"/>
          </p:nvPr>
        </p:nvSpPr>
        <p:spPr>
          <a:xfrm>
            <a:off x="780000" y="593367"/>
            <a:ext cx="83460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pic>
        <p:nvPicPr>
          <p:cNvPr id="46" name="Google Shape;46;p6"/>
          <p:cNvPicPr preferRelativeResize="0"/>
          <p:nvPr/>
        </p:nvPicPr>
        <p:blipFill>
          <a:blip r:embed="rId3">
            <a:alphaModFix amt="20000"/>
          </a:blip>
          <a:stretch>
            <a:fillRect/>
          </a:stretch>
        </p:blipFill>
        <p:spPr>
          <a:xfrm flipH="1">
            <a:off x="8222366" y="-1786397"/>
            <a:ext cx="2657145" cy="3363600"/>
          </a:xfrm>
          <a:prstGeom prst="rect">
            <a:avLst/>
          </a:prstGeom>
          <a:noFill/>
          <a:ln>
            <a:noFill/>
          </a:ln>
        </p:spPr>
      </p:pic>
      <p:pic>
        <p:nvPicPr>
          <p:cNvPr id="47" name="Google Shape;47;p6"/>
          <p:cNvPicPr preferRelativeResize="0"/>
          <p:nvPr/>
        </p:nvPicPr>
        <p:blipFill>
          <a:blip r:embed="rId4">
            <a:alphaModFix amt="50000"/>
          </a:blip>
          <a:stretch>
            <a:fillRect/>
          </a:stretch>
        </p:blipFill>
        <p:spPr>
          <a:xfrm>
            <a:off x="-725643" y="4996130"/>
            <a:ext cx="2164772" cy="2740335"/>
          </a:xfrm>
          <a:prstGeom prst="rect">
            <a:avLst/>
          </a:prstGeom>
          <a:noFill/>
          <a:ln>
            <a:noFill/>
          </a:ln>
        </p:spPr>
      </p:pic>
    </p:spTree>
    <p:extLst>
      <p:ext uri="{BB962C8B-B14F-4D97-AF65-F5344CB8AC3E}">
        <p14:creationId xmlns:p14="http://schemas.microsoft.com/office/powerpoint/2010/main" val="2402644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54"/>
        <p:cNvGrpSpPr/>
        <p:nvPr/>
      </p:nvGrpSpPr>
      <p:grpSpPr>
        <a:xfrm>
          <a:off x="0" y="0"/>
          <a:ext cx="0" cy="0"/>
          <a:chOff x="0" y="0"/>
          <a:chExt cx="0" cy="0"/>
        </a:xfrm>
      </p:grpSpPr>
      <p:pic>
        <p:nvPicPr>
          <p:cNvPr id="55" name="Google Shape;55;p8"/>
          <p:cNvPicPr preferRelativeResize="0"/>
          <p:nvPr/>
        </p:nvPicPr>
        <p:blipFill rotWithShape="1">
          <a:blip r:embed="rId2">
            <a:alphaModFix amt="93000"/>
          </a:blip>
          <a:srcRect l="1854"/>
          <a:stretch/>
        </p:blipFill>
        <p:spPr>
          <a:xfrm>
            <a:off x="28" y="0"/>
            <a:ext cx="9906001" cy="6858000"/>
          </a:xfrm>
          <a:prstGeom prst="rect">
            <a:avLst/>
          </a:prstGeom>
          <a:noFill/>
          <a:ln>
            <a:noFill/>
          </a:ln>
        </p:spPr>
      </p:pic>
      <p:sp>
        <p:nvSpPr>
          <p:cNvPr id="56" name="Google Shape;56;p8"/>
          <p:cNvSpPr txBox="1">
            <a:spLocks noGrp="1"/>
          </p:cNvSpPr>
          <p:nvPr>
            <p:ph type="title"/>
          </p:nvPr>
        </p:nvSpPr>
        <p:spPr>
          <a:xfrm>
            <a:off x="1503775" y="1742800"/>
            <a:ext cx="6898450" cy="337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6000"/>
              <a:buNone/>
              <a:defRPr sz="6500"/>
            </a:lvl1pPr>
            <a:lvl2pPr lvl="1" algn="ctr">
              <a:spcBef>
                <a:spcPts val="0"/>
              </a:spcBef>
              <a:spcAft>
                <a:spcPts val="0"/>
              </a:spcAft>
              <a:buSzPts val="6000"/>
              <a:buNone/>
              <a:defRPr sz="6500"/>
            </a:lvl2pPr>
            <a:lvl3pPr lvl="2" algn="ctr">
              <a:spcBef>
                <a:spcPts val="0"/>
              </a:spcBef>
              <a:spcAft>
                <a:spcPts val="0"/>
              </a:spcAft>
              <a:buSzPts val="6000"/>
              <a:buNone/>
              <a:defRPr sz="6500"/>
            </a:lvl3pPr>
            <a:lvl4pPr lvl="3" algn="ctr">
              <a:spcBef>
                <a:spcPts val="0"/>
              </a:spcBef>
              <a:spcAft>
                <a:spcPts val="0"/>
              </a:spcAft>
              <a:buSzPts val="6000"/>
              <a:buNone/>
              <a:defRPr sz="6500"/>
            </a:lvl4pPr>
            <a:lvl5pPr lvl="4" algn="ctr">
              <a:spcBef>
                <a:spcPts val="0"/>
              </a:spcBef>
              <a:spcAft>
                <a:spcPts val="0"/>
              </a:spcAft>
              <a:buSzPts val="6000"/>
              <a:buNone/>
              <a:defRPr sz="6500"/>
            </a:lvl5pPr>
            <a:lvl6pPr lvl="5" algn="ctr">
              <a:spcBef>
                <a:spcPts val="0"/>
              </a:spcBef>
              <a:spcAft>
                <a:spcPts val="0"/>
              </a:spcAft>
              <a:buSzPts val="6000"/>
              <a:buNone/>
              <a:defRPr sz="6500"/>
            </a:lvl6pPr>
            <a:lvl7pPr lvl="6" algn="ctr">
              <a:spcBef>
                <a:spcPts val="0"/>
              </a:spcBef>
              <a:spcAft>
                <a:spcPts val="0"/>
              </a:spcAft>
              <a:buSzPts val="6000"/>
              <a:buNone/>
              <a:defRPr sz="6500"/>
            </a:lvl7pPr>
            <a:lvl8pPr lvl="7" algn="ctr">
              <a:spcBef>
                <a:spcPts val="0"/>
              </a:spcBef>
              <a:spcAft>
                <a:spcPts val="0"/>
              </a:spcAft>
              <a:buSzPts val="6000"/>
              <a:buNone/>
              <a:defRPr sz="6500"/>
            </a:lvl8pPr>
            <a:lvl9pPr lvl="8" algn="ctr">
              <a:spcBef>
                <a:spcPts val="0"/>
              </a:spcBef>
              <a:spcAft>
                <a:spcPts val="0"/>
              </a:spcAft>
              <a:buSzPts val="6000"/>
              <a:buNone/>
              <a:defRPr sz="6500"/>
            </a:lvl9pPr>
          </a:lstStyle>
          <a:p>
            <a:endParaRPr/>
          </a:p>
        </p:txBody>
      </p:sp>
    </p:spTree>
    <p:extLst>
      <p:ext uri="{BB962C8B-B14F-4D97-AF65-F5344CB8AC3E}">
        <p14:creationId xmlns:p14="http://schemas.microsoft.com/office/powerpoint/2010/main" val="41873034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Section title and description" preserve="1" userDrawn="1">
  <p:cSld name="Section title and description">
    <p:spTree>
      <p:nvGrpSpPr>
        <p:cNvPr id="1" name="Shape 57"/>
        <p:cNvGrpSpPr/>
        <p:nvPr/>
      </p:nvGrpSpPr>
      <p:grpSpPr>
        <a:xfrm>
          <a:off x="0" y="0"/>
          <a:ext cx="0" cy="0"/>
          <a:chOff x="0" y="0"/>
          <a:chExt cx="0" cy="0"/>
        </a:xfrm>
      </p:grpSpPr>
      <p:pic>
        <p:nvPicPr>
          <p:cNvPr id="58" name="Google Shape;58;p9"/>
          <p:cNvPicPr preferRelativeResize="0"/>
          <p:nvPr/>
        </p:nvPicPr>
        <p:blipFill rotWithShape="1">
          <a:blip r:embed="rId2">
            <a:alphaModFix amt="93000"/>
          </a:blip>
          <a:srcRect l="1854"/>
          <a:stretch/>
        </p:blipFill>
        <p:spPr>
          <a:xfrm>
            <a:off x="28" y="0"/>
            <a:ext cx="9906001" cy="6858000"/>
          </a:xfrm>
          <a:prstGeom prst="rect">
            <a:avLst/>
          </a:prstGeom>
          <a:noFill/>
          <a:ln>
            <a:noFill/>
          </a:ln>
        </p:spPr>
      </p:pic>
      <p:pic>
        <p:nvPicPr>
          <p:cNvPr id="62" name="Google Shape;62;p9"/>
          <p:cNvPicPr preferRelativeResize="0"/>
          <p:nvPr/>
        </p:nvPicPr>
        <p:blipFill>
          <a:blip r:embed="rId3">
            <a:duotone>
              <a:schemeClr val="accent1">
                <a:shade val="45000"/>
                <a:satMod val="135000"/>
              </a:schemeClr>
              <a:prstClr val="white"/>
            </a:duotone>
            <a:alphaModFix amt="35000"/>
          </a:blip>
          <a:stretch>
            <a:fillRect/>
          </a:stretch>
        </p:blipFill>
        <p:spPr>
          <a:xfrm rot="2337432">
            <a:off x="-1406736" y="2548869"/>
            <a:ext cx="2610769" cy="3304916"/>
          </a:xfrm>
          <a:prstGeom prst="rect">
            <a:avLst/>
          </a:prstGeom>
          <a:noFill/>
          <a:ln>
            <a:noFill/>
          </a:ln>
        </p:spPr>
      </p:pic>
      <p:pic>
        <p:nvPicPr>
          <p:cNvPr id="63" name="Google Shape;63;p9"/>
          <p:cNvPicPr preferRelativeResize="0"/>
          <p:nvPr/>
        </p:nvPicPr>
        <p:blipFill>
          <a:blip r:embed="rId4">
            <a:duotone>
              <a:prstClr val="black"/>
              <a:schemeClr val="accent1">
                <a:tint val="45000"/>
                <a:satMod val="400000"/>
              </a:schemeClr>
            </a:duotone>
            <a:alphaModFix amt="20000"/>
          </a:blip>
          <a:stretch>
            <a:fillRect/>
          </a:stretch>
        </p:blipFill>
        <p:spPr>
          <a:xfrm rot="10800000">
            <a:off x="8195200" y="4292514"/>
            <a:ext cx="2847432" cy="3604468"/>
          </a:xfrm>
          <a:prstGeom prst="rect">
            <a:avLst/>
          </a:prstGeom>
          <a:noFill/>
          <a:ln>
            <a:noFill/>
          </a:ln>
        </p:spPr>
      </p:pic>
      <p:pic>
        <p:nvPicPr>
          <p:cNvPr id="64" name="Google Shape;64;p9"/>
          <p:cNvPicPr preferRelativeResize="0"/>
          <p:nvPr/>
        </p:nvPicPr>
        <p:blipFill>
          <a:blip r:embed="rId4">
            <a:alphaModFix amt="20000"/>
          </a:blip>
          <a:stretch>
            <a:fillRect/>
          </a:stretch>
        </p:blipFill>
        <p:spPr>
          <a:xfrm>
            <a:off x="7008147" y="5631049"/>
            <a:ext cx="2610769" cy="3304916"/>
          </a:xfrm>
          <a:prstGeom prst="rect">
            <a:avLst/>
          </a:prstGeom>
          <a:noFill/>
          <a:ln>
            <a:noFill/>
          </a:ln>
        </p:spPr>
      </p:pic>
    </p:spTree>
    <p:extLst>
      <p:ext uri="{BB962C8B-B14F-4D97-AF65-F5344CB8AC3E}">
        <p14:creationId xmlns:p14="http://schemas.microsoft.com/office/powerpoint/2010/main" val="1630718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Section title and description" preserve="1">
  <p:cSld name="1_Section title and description">
    <p:bg>
      <p:bgPr>
        <a:solidFill>
          <a:schemeClr val="accent2"/>
        </a:solidFill>
        <a:effectLst/>
      </p:bgPr>
    </p:bg>
    <p:spTree>
      <p:nvGrpSpPr>
        <p:cNvPr id="1" name="Shape 57"/>
        <p:cNvGrpSpPr/>
        <p:nvPr/>
      </p:nvGrpSpPr>
      <p:grpSpPr>
        <a:xfrm>
          <a:off x="0" y="0"/>
          <a:ext cx="0" cy="0"/>
          <a:chOff x="0" y="0"/>
          <a:chExt cx="0" cy="0"/>
        </a:xfrm>
      </p:grpSpPr>
      <p:pic>
        <p:nvPicPr>
          <p:cNvPr id="58" name="Google Shape;58;p9"/>
          <p:cNvPicPr preferRelativeResize="0"/>
          <p:nvPr/>
        </p:nvPicPr>
        <p:blipFill rotWithShape="1">
          <a:blip r:embed="rId2">
            <a:alphaModFix amt="5000"/>
          </a:blip>
          <a:srcRect l="1854"/>
          <a:stretch/>
        </p:blipFill>
        <p:spPr>
          <a:xfrm>
            <a:off x="1" y="0"/>
            <a:ext cx="9906001" cy="6858000"/>
          </a:xfrm>
          <a:prstGeom prst="rect">
            <a:avLst/>
          </a:prstGeom>
          <a:noFill/>
          <a:ln>
            <a:noFill/>
          </a:ln>
        </p:spPr>
      </p:pic>
      <p:sp>
        <p:nvSpPr>
          <p:cNvPr id="59" name="Google Shape;59;p9"/>
          <p:cNvSpPr txBox="1">
            <a:spLocks noGrp="1"/>
          </p:cNvSpPr>
          <p:nvPr>
            <p:ph type="title"/>
          </p:nvPr>
        </p:nvSpPr>
        <p:spPr>
          <a:xfrm>
            <a:off x="3832508" y="1906200"/>
            <a:ext cx="5133700" cy="1570800"/>
          </a:xfrm>
          <a:prstGeom prst="rect">
            <a:avLst/>
          </a:prstGeom>
        </p:spPr>
        <p:txBody>
          <a:bodyPr spcFirstLastPara="1" wrap="square" lIns="91425" tIns="91425" rIns="91425" bIns="91425" anchor="b" anchorCtr="0">
            <a:noAutofit/>
          </a:bodyPr>
          <a:lstStyle>
            <a:lvl1pPr lvl="0" algn="r" rtl="0">
              <a:spcBef>
                <a:spcPts val="0"/>
              </a:spcBef>
              <a:spcAft>
                <a:spcPts val="0"/>
              </a:spcAft>
              <a:buSzPts val="3600"/>
              <a:buNone/>
              <a:defRPr sz="7800"/>
            </a:lvl1pPr>
            <a:lvl2pPr lvl="1" algn="ctr" rtl="0">
              <a:spcBef>
                <a:spcPts val="0"/>
              </a:spcBef>
              <a:spcAft>
                <a:spcPts val="0"/>
              </a:spcAft>
              <a:buSzPts val="3600"/>
              <a:buNone/>
              <a:defRPr sz="3900"/>
            </a:lvl2pPr>
            <a:lvl3pPr lvl="2" algn="ctr" rtl="0">
              <a:spcBef>
                <a:spcPts val="0"/>
              </a:spcBef>
              <a:spcAft>
                <a:spcPts val="0"/>
              </a:spcAft>
              <a:buSzPts val="3600"/>
              <a:buNone/>
              <a:defRPr sz="3900"/>
            </a:lvl3pPr>
            <a:lvl4pPr lvl="3" algn="ctr" rtl="0">
              <a:spcBef>
                <a:spcPts val="0"/>
              </a:spcBef>
              <a:spcAft>
                <a:spcPts val="0"/>
              </a:spcAft>
              <a:buSzPts val="3600"/>
              <a:buNone/>
              <a:defRPr sz="3900"/>
            </a:lvl4pPr>
            <a:lvl5pPr lvl="4" algn="ctr" rtl="0">
              <a:spcBef>
                <a:spcPts val="0"/>
              </a:spcBef>
              <a:spcAft>
                <a:spcPts val="0"/>
              </a:spcAft>
              <a:buSzPts val="3600"/>
              <a:buNone/>
              <a:defRPr sz="3900"/>
            </a:lvl5pPr>
            <a:lvl6pPr lvl="5" algn="ctr" rtl="0">
              <a:spcBef>
                <a:spcPts val="0"/>
              </a:spcBef>
              <a:spcAft>
                <a:spcPts val="0"/>
              </a:spcAft>
              <a:buSzPts val="3600"/>
              <a:buNone/>
              <a:defRPr sz="3900"/>
            </a:lvl6pPr>
            <a:lvl7pPr lvl="6" algn="ctr" rtl="0">
              <a:spcBef>
                <a:spcPts val="0"/>
              </a:spcBef>
              <a:spcAft>
                <a:spcPts val="0"/>
              </a:spcAft>
              <a:buSzPts val="3600"/>
              <a:buNone/>
              <a:defRPr sz="3900"/>
            </a:lvl7pPr>
            <a:lvl8pPr lvl="7" algn="ctr" rtl="0">
              <a:spcBef>
                <a:spcPts val="0"/>
              </a:spcBef>
              <a:spcAft>
                <a:spcPts val="0"/>
              </a:spcAft>
              <a:buSzPts val="3600"/>
              <a:buNone/>
              <a:defRPr sz="3900"/>
            </a:lvl8pPr>
            <a:lvl9pPr lvl="8" algn="ctr" rtl="0">
              <a:spcBef>
                <a:spcPts val="0"/>
              </a:spcBef>
              <a:spcAft>
                <a:spcPts val="0"/>
              </a:spcAft>
              <a:buSzPts val="3600"/>
              <a:buNone/>
              <a:defRPr sz="3900"/>
            </a:lvl9pPr>
          </a:lstStyle>
          <a:p>
            <a:endParaRPr/>
          </a:p>
        </p:txBody>
      </p:sp>
      <p:sp>
        <p:nvSpPr>
          <p:cNvPr id="60" name="Google Shape;60;p9"/>
          <p:cNvSpPr txBox="1">
            <a:spLocks noGrp="1"/>
          </p:cNvSpPr>
          <p:nvPr>
            <p:ph type="subTitle" idx="1"/>
          </p:nvPr>
        </p:nvSpPr>
        <p:spPr>
          <a:xfrm>
            <a:off x="2045008" y="3642433"/>
            <a:ext cx="6921200" cy="151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400"/>
              <a:buNone/>
              <a:defRPr sz="1950"/>
            </a:lvl1pPr>
            <a:lvl2pPr lvl="1" algn="ctr" rtl="0">
              <a:lnSpc>
                <a:spcPct val="100000"/>
              </a:lnSpc>
              <a:spcBef>
                <a:spcPts val="0"/>
              </a:spcBef>
              <a:spcAft>
                <a:spcPts val="0"/>
              </a:spcAft>
              <a:buSzPts val="1400"/>
              <a:buNone/>
              <a:defRPr/>
            </a:lvl2pPr>
            <a:lvl3pPr lvl="2" algn="ctr" rtl="0">
              <a:lnSpc>
                <a:spcPct val="100000"/>
              </a:lnSpc>
              <a:spcBef>
                <a:spcPts val="1733"/>
              </a:spcBef>
              <a:spcAft>
                <a:spcPts val="0"/>
              </a:spcAft>
              <a:buSzPts val="1400"/>
              <a:buNone/>
              <a:defRPr/>
            </a:lvl3pPr>
            <a:lvl4pPr lvl="3" algn="ctr" rtl="0">
              <a:lnSpc>
                <a:spcPct val="100000"/>
              </a:lnSpc>
              <a:spcBef>
                <a:spcPts val="1733"/>
              </a:spcBef>
              <a:spcAft>
                <a:spcPts val="0"/>
              </a:spcAft>
              <a:buSzPts val="1400"/>
              <a:buNone/>
              <a:defRPr/>
            </a:lvl4pPr>
            <a:lvl5pPr lvl="4" algn="ctr" rtl="0">
              <a:lnSpc>
                <a:spcPct val="100000"/>
              </a:lnSpc>
              <a:spcBef>
                <a:spcPts val="1733"/>
              </a:spcBef>
              <a:spcAft>
                <a:spcPts val="0"/>
              </a:spcAft>
              <a:buSzPts val="1400"/>
              <a:buNone/>
              <a:defRPr/>
            </a:lvl5pPr>
            <a:lvl6pPr lvl="5" algn="ctr" rtl="0">
              <a:lnSpc>
                <a:spcPct val="100000"/>
              </a:lnSpc>
              <a:spcBef>
                <a:spcPts val="1733"/>
              </a:spcBef>
              <a:spcAft>
                <a:spcPts val="0"/>
              </a:spcAft>
              <a:buSzPts val="1400"/>
              <a:buNone/>
              <a:defRPr/>
            </a:lvl6pPr>
            <a:lvl7pPr lvl="6" algn="ctr" rtl="0">
              <a:lnSpc>
                <a:spcPct val="100000"/>
              </a:lnSpc>
              <a:spcBef>
                <a:spcPts val="1733"/>
              </a:spcBef>
              <a:spcAft>
                <a:spcPts val="0"/>
              </a:spcAft>
              <a:buSzPts val="1400"/>
              <a:buNone/>
              <a:defRPr/>
            </a:lvl7pPr>
            <a:lvl8pPr lvl="7" algn="ctr" rtl="0">
              <a:lnSpc>
                <a:spcPct val="100000"/>
              </a:lnSpc>
              <a:spcBef>
                <a:spcPts val="1733"/>
              </a:spcBef>
              <a:spcAft>
                <a:spcPts val="0"/>
              </a:spcAft>
              <a:buSzPts val="1400"/>
              <a:buNone/>
              <a:defRPr/>
            </a:lvl8pPr>
            <a:lvl9pPr lvl="8" algn="ctr" rtl="0">
              <a:lnSpc>
                <a:spcPct val="100000"/>
              </a:lnSpc>
              <a:spcBef>
                <a:spcPts val="1733"/>
              </a:spcBef>
              <a:spcAft>
                <a:spcPts val="1733"/>
              </a:spcAft>
              <a:buSzPts val="1400"/>
              <a:buNone/>
              <a:defRPr/>
            </a:lvl9pPr>
          </a:lstStyle>
          <a:p>
            <a:endParaRPr/>
          </a:p>
        </p:txBody>
      </p:sp>
      <p:pic>
        <p:nvPicPr>
          <p:cNvPr id="62" name="Google Shape;62;p9"/>
          <p:cNvPicPr preferRelativeResize="0"/>
          <p:nvPr/>
        </p:nvPicPr>
        <p:blipFill>
          <a:blip r:embed="rId3">
            <a:duotone>
              <a:schemeClr val="accent1">
                <a:shade val="45000"/>
                <a:satMod val="135000"/>
              </a:schemeClr>
              <a:prstClr val="white"/>
            </a:duotone>
            <a:alphaModFix amt="35000"/>
          </a:blip>
          <a:stretch>
            <a:fillRect/>
          </a:stretch>
        </p:blipFill>
        <p:spPr>
          <a:xfrm rot="2337432">
            <a:off x="-1406736" y="2548869"/>
            <a:ext cx="2610769" cy="3304916"/>
          </a:xfrm>
          <a:prstGeom prst="rect">
            <a:avLst/>
          </a:prstGeom>
          <a:noFill/>
          <a:ln>
            <a:noFill/>
          </a:ln>
        </p:spPr>
      </p:pic>
      <p:pic>
        <p:nvPicPr>
          <p:cNvPr id="63" name="Google Shape;63;p9"/>
          <p:cNvPicPr preferRelativeResize="0"/>
          <p:nvPr/>
        </p:nvPicPr>
        <p:blipFill>
          <a:blip r:embed="rId4">
            <a:duotone>
              <a:prstClr val="black"/>
              <a:schemeClr val="accent1">
                <a:tint val="45000"/>
                <a:satMod val="400000"/>
              </a:schemeClr>
            </a:duotone>
            <a:alphaModFix amt="50000"/>
          </a:blip>
          <a:stretch>
            <a:fillRect/>
          </a:stretch>
        </p:blipFill>
        <p:spPr>
          <a:xfrm rot="10800000">
            <a:off x="8195200" y="4292514"/>
            <a:ext cx="2847432" cy="3604468"/>
          </a:xfrm>
          <a:prstGeom prst="rect">
            <a:avLst/>
          </a:prstGeom>
          <a:noFill/>
          <a:ln>
            <a:noFill/>
          </a:ln>
        </p:spPr>
      </p:pic>
      <p:pic>
        <p:nvPicPr>
          <p:cNvPr id="64" name="Google Shape;64;p9"/>
          <p:cNvPicPr preferRelativeResize="0"/>
          <p:nvPr/>
        </p:nvPicPr>
        <p:blipFill>
          <a:blip r:embed="rId4">
            <a:alphaModFix amt="50000"/>
          </a:blip>
          <a:stretch>
            <a:fillRect/>
          </a:stretch>
        </p:blipFill>
        <p:spPr>
          <a:xfrm>
            <a:off x="7008147" y="5631049"/>
            <a:ext cx="2610769" cy="3304916"/>
          </a:xfrm>
          <a:prstGeom prst="rect">
            <a:avLst/>
          </a:prstGeom>
          <a:noFill/>
          <a:ln>
            <a:noFill/>
          </a:ln>
        </p:spPr>
      </p:pic>
    </p:spTree>
    <p:extLst>
      <p:ext uri="{BB962C8B-B14F-4D97-AF65-F5344CB8AC3E}">
        <p14:creationId xmlns:p14="http://schemas.microsoft.com/office/powerpoint/2010/main" val="19036539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Section title and description" preserve="1">
  <p:cSld name="1_Section title and description">
    <p:spTree>
      <p:nvGrpSpPr>
        <p:cNvPr id="1" name="Shape 57"/>
        <p:cNvGrpSpPr/>
        <p:nvPr/>
      </p:nvGrpSpPr>
      <p:grpSpPr>
        <a:xfrm>
          <a:off x="0" y="0"/>
          <a:ext cx="0" cy="0"/>
          <a:chOff x="0" y="0"/>
          <a:chExt cx="0" cy="0"/>
        </a:xfrm>
      </p:grpSpPr>
      <p:pic>
        <p:nvPicPr>
          <p:cNvPr id="58" name="Google Shape;58;p9"/>
          <p:cNvPicPr preferRelativeResize="0"/>
          <p:nvPr/>
        </p:nvPicPr>
        <p:blipFill rotWithShape="1">
          <a:blip r:embed="rId2">
            <a:alphaModFix amt="93000"/>
          </a:blip>
          <a:srcRect l="1854"/>
          <a:stretch/>
        </p:blipFill>
        <p:spPr>
          <a:xfrm>
            <a:off x="28" y="0"/>
            <a:ext cx="9906001" cy="6858000"/>
          </a:xfrm>
          <a:prstGeom prst="rect">
            <a:avLst/>
          </a:prstGeom>
          <a:noFill/>
          <a:ln>
            <a:noFill/>
          </a:ln>
        </p:spPr>
      </p:pic>
      <p:sp>
        <p:nvSpPr>
          <p:cNvPr id="59" name="Google Shape;59;p9"/>
          <p:cNvSpPr txBox="1">
            <a:spLocks noGrp="1"/>
          </p:cNvSpPr>
          <p:nvPr>
            <p:ph type="title"/>
          </p:nvPr>
        </p:nvSpPr>
        <p:spPr>
          <a:xfrm>
            <a:off x="3832508" y="1906200"/>
            <a:ext cx="5133700" cy="1570800"/>
          </a:xfrm>
          <a:prstGeom prst="rect">
            <a:avLst/>
          </a:prstGeom>
        </p:spPr>
        <p:txBody>
          <a:bodyPr spcFirstLastPara="1" wrap="square" lIns="91425" tIns="91425" rIns="91425" bIns="91425" anchor="b" anchorCtr="0">
            <a:noAutofit/>
          </a:bodyPr>
          <a:lstStyle>
            <a:lvl1pPr lvl="0" algn="r" rtl="0">
              <a:spcBef>
                <a:spcPts val="0"/>
              </a:spcBef>
              <a:spcAft>
                <a:spcPts val="0"/>
              </a:spcAft>
              <a:buSzPts val="3600"/>
              <a:buNone/>
              <a:defRPr sz="7800"/>
            </a:lvl1pPr>
            <a:lvl2pPr lvl="1" algn="ctr" rtl="0">
              <a:spcBef>
                <a:spcPts val="0"/>
              </a:spcBef>
              <a:spcAft>
                <a:spcPts val="0"/>
              </a:spcAft>
              <a:buSzPts val="3600"/>
              <a:buNone/>
              <a:defRPr sz="3900"/>
            </a:lvl2pPr>
            <a:lvl3pPr lvl="2" algn="ctr" rtl="0">
              <a:spcBef>
                <a:spcPts val="0"/>
              </a:spcBef>
              <a:spcAft>
                <a:spcPts val="0"/>
              </a:spcAft>
              <a:buSzPts val="3600"/>
              <a:buNone/>
              <a:defRPr sz="3900"/>
            </a:lvl3pPr>
            <a:lvl4pPr lvl="3" algn="ctr" rtl="0">
              <a:spcBef>
                <a:spcPts val="0"/>
              </a:spcBef>
              <a:spcAft>
                <a:spcPts val="0"/>
              </a:spcAft>
              <a:buSzPts val="3600"/>
              <a:buNone/>
              <a:defRPr sz="3900"/>
            </a:lvl4pPr>
            <a:lvl5pPr lvl="4" algn="ctr" rtl="0">
              <a:spcBef>
                <a:spcPts val="0"/>
              </a:spcBef>
              <a:spcAft>
                <a:spcPts val="0"/>
              </a:spcAft>
              <a:buSzPts val="3600"/>
              <a:buNone/>
              <a:defRPr sz="3900"/>
            </a:lvl5pPr>
            <a:lvl6pPr lvl="5" algn="ctr" rtl="0">
              <a:spcBef>
                <a:spcPts val="0"/>
              </a:spcBef>
              <a:spcAft>
                <a:spcPts val="0"/>
              </a:spcAft>
              <a:buSzPts val="3600"/>
              <a:buNone/>
              <a:defRPr sz="3900"/>
            </a:lvl6pPr>
            <a:lvl7pPr lvl="6" algn="ctr" rtl="0">
              <a:spcBef>
                <a:spcPts val="0"/>
              </a:spcBef>
              <a:spcAft>
                <a:spcPts val="0"/>
              </a:spcAft>
              <a:buSzPts val="3600"/>
              <a:buNone/>
              <a:defRPr sz="3900"/>
            </a:lvl7pPr>
            <a:lvl8pPr lvl="7" algn="ctr" rtl="0">
              <a:spcBef>
                <a:spcPts val="0"/>
              </a:spcBef>
              <a:spcAft>
                <a:spcPts val="0"/>
              </a:spcAft>
              <a:buSzPts val="3600"/>
              <a:buNone/>
              <a:defRPr sz="3900"/>
            </a:lvl8pPr>
            <a:lvl9pPr lvl="8" algn="ctr" rtl="0">
              <a:spcBef>
                <a:spcPts val="0"/>
              </a:spcBef>
              <a:spcAft>
                <a:spcPts val="0"/>
              </a:spcAft>
              <a:buSzPts val="3600"/>
              <a:buNone/>
              <a:defRPr sz="3900"/>
            </a:lvl9pPr>
          </a:lstStyle>
          <a:p>
            <a:endParaRPr/>
          </a:p>
        </p:txBody>
      </p:sp>
      <p:sp>
        <p:nvSpPr>
          <p:cNvPr id="60" name="Google Shape;60;p9"/>
          <p:cNvSpPr txBox="1">
            <a:spLocks noGrp="1"/>
          </p:cNvSpPr>
          <p:nvPr>
            <p:ph type="subTitle" idx="1"/>
          </p:nvPr>
        </p:nvSpPr>
        <p:spPr>
          <a:xfrm>
            <a:off x="2045008" y="3642433"/>
            <a:ext cx="6921200" cy="151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400"/>
              <a:buNone/>
              <a:defRPr sz="1950"/>
            </a:lvl1pPr>
            <a:lvl2pPr lvl="1" algn="ctr" rtl="0">
              <a:lnSpc>
                <a:spcPct val="100000"/>
              </a:lnSpc>
              <a:spcBef>
                <a:spcPts val="0"/>
              </a:spcBef>
              <a:spcAft>
                <a:spcPts val="0"/>
              </a:spcAft>
              <a:buSzPts val="1400"/>
              <a:buNone/>
              <a:defRPr/>
            </a:lvl2pPr>
            <a:lvl3pPr lvl="2" algn="ctr" rtl="0">
              <a:lnSpc>
                <a:spcPct val="100000"/>
              </a:lnSpc>
              <a:spcBef>
                <a:spcPts val="1733"/>
              </a:spcBef>
              <a:spcAft>
                <a:spcPts val="0"/>
              </a:spcAft>
              <a:buSzPts val="1400"/>
              <a:buNone/>
              <a:defRPr/>
            </a:lvl3pPr>
            <a:lvl4pPr lvl="3" algn="ctr" rtl="0">
              <a:lnSpc>
                <a:spcPct val="100000"/>
              </a:lnSpc>
              <a:spcBef>
                <a:spcPts val="1733"/>
              </a:spcBef>
              <a:spcAft>
                <a:spcPts val="0"/>
              </a:spcAft>
              <a:buSzPts val="1400"/>
              <a:buNone/>
              <a:defRPr/>
            </a:lvl4pPr>
            <a:lvl5pPr lvl="4" algn="ctr" rtl="0">
              <a:lnSpc>
                <a:spcPct val="100000"/>
              </a:lnSpc>
              <a:spcBef>
                <a:spcPts val="1733"/>
              </a:spcBef>
              <a:spcAft>
                <a:spcPts val="0"/>
              </a:spcAft>
              <a:buSzPts val="1400"/>
              <a:buNone/>
              <a:defRPr/>
            </a:lvl5pPr>
            <a:lvl6pPr lvl="5" algn="ctr" rtl="0">
              <a:lnSpc>
                <a:spcPct val="100000"/>
              </a:lnSpc>
              <a:spcBef>
                <a:spcPts val="1733"/>
              </a:spcBef>
              <a:spcAft>
                <a:spcPts val="0"/>
              </a:spcAft>
              <a:buSzPts val="1400"/>
              <a:buNone/>
              <a:defRPr/>
            </a:lvl6pPr>
            <a:lvl7pPr lvl="6" algn="ctr" rtl="0">
              <a:lnSpc>
                <a:spcPct val="100000"/>
              </a:lnSpc>
              <a:spcBef>
                <a:spcPts val="1733"/>
              </a:spcBef>
              <a:spcAft>
                <a:spcPts val="0"/>
              </a:spcAft>
              <a:buSzPts val="1400"/>
              <a:buNone/>
              <a:defRPr/>
            </a:lvl7pPr>
            <a:lvl8pPr lvl="7" algn="ctr" rtl="0">
              <a:lnSpc>
                <a:spcPct val="100000"/>
              </a:lnSpc>
              <a:spcBef>
                <a:spcPts val="1733"/>
              </a:spcBef>
              <a:spcAft>
                <a:spcPts val="0"/>
              </a:spcAft>
              <a:buSzPts val="1400"/>
              <a:buNone/>
              <a:defRPr/>
            </a:lvl8pPr>
            <a:lvl9pPr lvl="8" algn="ctr" rtl="0">
              <a:lnSpc>
                <a:spcPct val="100000"/>
              </a:lnSpc>
              <a:spcBef>
                <a:spcPts val="1733"/>
              </a:spcBef>
              <a:spcAft>
                <a:spcPts val="1733"/>
              </a:spcAft>
              <a:buSzPts val="1400"/>
              <a:buNone/>
              <a:defRPr/>
            </a:lvl9pPr>
          </a:lstStyle>
          <a:p>
            <a:endParaRPr/>
          </a:p>
        </p:txBody>
      </p:sp>
      <p:pic>
        <p:nvPicPr>
          <p:cNvPr id="62" name="Google Shape;62;p9"/>
          <p:cNvPicPr preferRelativeResize="0"/>
          <p:nvPr/>
        </p:nvPicPr>
        <p:blipFill>
          <a:blip r:embed="rId3">
            <a:duotone>
              <a:schemeClr val="accent1">
                <a:shade val="45000"/>
                <a:satMod val="135000"/>
              </a:schemeClr>
              <a:prstClr val="white"/>
            </a:duotone>
            <a:alphaModFix amt="35000"/>
          </a:blip>
          <a:stretch>
            <a:fillRect/>
          </a:stretch>
        </p:blipFill>
        <p:spPr>
          <a:xfrm rot="2337432">
            <a:off x="-1406736" y="2548869"/>
            <a:ext cx="2610769" cy="3304916"/>
          </a:xfrm>
          <a:prstGeom prst="rect">
            <a:avLst/>
          </a:prstGeom>
          <a:noFill/>
          <a:ln>
            <a:noFill/>
          </a:ln>
        </p:spPr>
      </p:pic>
      <p:pic>
        <p:nvPicPr>
          <p:cNvPr id="63" name="Google Shape;63;p9"/>
          <p:cNvPicPr preferRelativeResize="0"/>
          <p:nvPr/>
        </p:nvPicPr>
        <p:blipFill>
          <a:blip r:embed="rId4">
            <a:duotone>
              <a:prstClr val="black"/>
              <a:schemeClr val="accent1">
                <a:tint val="45000"/>
                <a:satMod val="400000"/>
              </a:schemeClr>
            </a:duotone>
            <a:alphaModFix amt="5000"/>
          </a:blip>
          <a:stretch>
            <a:fillRect/>
          </a:stretch>
        </p:blipFill>
        <p:spPr>
          <a:xfrm rot="10800000">
            <a:off x="8195200" y="4292514"/>
            <a:ext cx="2847432" cy="3604468"/>
          </a:xfrm>
          <a:prstGeom prst="rect">
            <a:avLst/>
          </a:prstGeom>
          <a:noFill/>
          <a:ln>
            <a:noFill/>
          </a:ln>
        </p:spPr>
      </p:pic>
      <p:pic>
        <p:nvPicPr>
          <p:cNvPr id="64" name="Google Shape;64;p9"/>
          <p:cNvPicPr preferRelativeResize="0"/>
          <p:nvPr/>
        </p:nvPicPr>
        <p:blipFill>
          <a:blip r:embed="rId4">
            <a:alphaModFix amt="5000"/>
          </a:blip>
          <a:stretch>
            <a:fillRect/>
          </a:stretch>
        </p:blipFill>
        <p:spPr>
          <a:xfrm>
            <a:off x="7008147" y="5631049"/>
            <a:ext cx="2610769" cy="3304916"/>
          </a:xfrm>
          <a:prstGeom prst="rect">
            <a:avLst/>
          </a:prstGeom>
          <a:noFill/>
          <a:ln>
            <a:noFill/>
          </a:ln>
        </p:spPr>
      </p:pic>
    </p:spTree>
    <p:extLst>
      <p:ext uri="{BB962C8B-B14F-4D97-AF65-F5344CB8AC3E}">
        <p14:creationId xmlns:p14="http://schemas.microsoft.com/office/powerpoint/2010/main" val="226766205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65"/>
        <p:cNvGrpSpPr/>
        <p:nvPr/>
      </p:nvGrpSpPr>
      <p:grpSpPr>
        <a:xfrm>
          <a:off x="0" y="0"/>
          <a:ext cx="0" cy="0"/>
          <a:chOff x="0" y="0"/>
          <a:chExt cx="0" cy="0"/>
        </a:xfrm>
      </p:grpSpPr>
      <p:pic>
        <p:nvPicPr>
          <p:cNvPr id="66" name="Google Shape;66;p10"/>
          <p:cNvPicPr preferRelativeResize="0"/>
          <p:nvPr/>
        </p:nvPicPr>
        <p:blipFill rotWithShape="1">
          <a:blip r:embed="rId2">
            <a:alphaModFix amt="93000"/>
          </a:blip>
          <a:srcRect l="1854"/>
          <a:stretch/>
        </p:blipFill>
        <p:spPr>
          <a:xfrm>
            <a:off x="28" y="0"/>
            <a:ext cx="9906001" cy="6858000"/>
          </a:xfrm>
          <a:prstGeom prst="rect">
            <a:avLst/>
          </a:prstGeom>
          <a:noFill/>
          <a:ln>
            <a:noFill/>
          </a:ln>
        </p:spPr>
      </p:pic>
      <p:sp>
        <p:nvSpPr>
          <p:cNvPr id="67" name="Google Shape;67;p10"/>
          <p:cNvSpPr txBox="1">
            <a:spLocks noGrp="1"/>
          </p:cNvSpPr>
          <p:nvPr>
            <p:ph type="title"/>
          </p:nvPr>
        </p:nvSpPr>
        <p:spPr>
          <a:xfrm>
            <a:off x="780000" y="3047200"/>
            <a:ext cx="8346000" cy="763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Tree>
    <p:extLst>
      <p:ext uri="{BB962C8B-B14F-4D97-AF65-F5344CB8AC3E}">
        <p14:creationId xmlns:p14="http://schemas.microsoft.com/office/powerpoint/2010/main" val="24844462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68"/>
        <p:cNvGrpSpPr/>
        <p:nvPr/>
      </p:nvGrpSpPr>
      <p:grpSpPr>
        <a:xfrm>
          <a:off x="0" y="0"/>
          <a:ext cx="0" cy="0"/>
          <a:chOff x="0" y="0"/>
          <a:chExt cx="0" cy="0"/>
        </a:xfrm>
      </p:grpSpPr>
      <p:pic>
        <p:nvPicPr>
          <p:cNvPr id="69" name="Google Shape;69;p11"/>
          <p:cNvPicPr preferRelativeResize="0"/>
          <p:nvPr/>
        </p:nvPicPr>
        <p:blipFill rotWithShape="1">
          <a:blip r:embed="rId2">
            <a:alphaModFix amt="93000"/>
          </a:blip>
          <a:srcRect l="1854"/>
          <a:stretch/>
        </p:blipFill>
        <p:spPr>
          <a:xfrm>
            <a:off x="28" y="0"/>
            <a:ext cx="9906001" cy="6858000"/>
          </a:xfrm>
          <a:prstGeom prst="rect">
            <a:avLst/>
          </a:prstGeom>
          <a:noFill/>
          <a:ln>
            <a:noFill/>
          </a:ln>
        </p:spPr>
      </p:pic>
      <p:sp>
        <p:nvSpPr>
          <p:cNvPr id="70" name="Google Shape;70;p11"/>
          <p:cNvSpPr txBox="1">
            <a:spLocks noGrp="1"/>
          </p:cNvSpPr>
          <p:nvPr>
            <p:ph type="title" hasCustomPrompt="1"/>
          </p:nvPr>
        </p:nvSpPr>
        <p:spPr>
          <a:xfrm>
            <a:off x="1391000" y="2077967"/>
            <a:ext cx="7124000" cy="2014800"/>
          </a:xfrm>
          <a:prstGeom prst="rect">
            <a:avLst/>
          </a:prstGeom>
        </p:spPr>
        <p:txBody>
          <a:bodyPr spcFirstLastPara="1" wrap="square" lIns="91425" tIns="91425" rIns="91425" bIns="91425" anchor="t" anchorCtr="0">
            <a:noAutofit/>
          </a:bodyPr>
          <a:lstStyle>
            <a:lvl1pPr lvl="0" algn="ctr">
              <a:spcBef>
                <a:spcPts val="0"/>
              </a:spcBef>
              <a:spcAft>
                <a:spcPts val="0"/>
              </a:spcAft>
              <a:buSzPts val="9600"/>
              <a:buNone/>
              <a:defRPr sz="10400"/>
            </a:lvl1pPr>
            <a:lvl2pPr lvl="1" algn="ctr">
              <a:spcBef>
                <a:spcPts val="0"/>
              </a:spcBef>
              <a:spcAft>
                <a:spcPts val="0"/>
              </a:spcAft>
              <a:buSzPts val="9600"/>
              <a:buNone/>
              <a:defRPr sz="10400"/>
            </a:lvl2pPr>
            <a:lvl3pPr lvl="2" algn="ctr">
              <a:spcBef>
                <a:spcPts val="0"/>
              </a:spcBef>
              <a:spcAft>
                <a:spcPts val="0"/>
              </a:spcAft>
              <a:buSzPts val="9600"/>
              <a:buNone/>
              <a:defRPr sz="10400"/>
            </a:lvl3pPr>
            <a:lvl4pPr lvl="3" algn="ctr">
              <a:spcBef>
                <a:spcPts val="0"/>
              </a:spcBef>
              <a:spcAft>
                <a:spcPts val="0"/>
              </a:spcAft>
              <a:buSzPts val="9600"/>
              <a:buNone/>
              <a:defRPr sz="10400"/>
            </a:lvl4pPr>
            <a:lvl5pPr lvl="4" algn="ctr">
              <a:spcBef>
                <a:spcPts val="0"/>
              </a:spcBef>
              <a:spcAft>
                <a:spcPts val="0"/>
              </a:spcAft>
              <a:buSzPts val="9600"/>
              <a:buNone/>
              <a:defRPr sz="10400"/>
            </a:lvl5pPr>
            <a:lvl6pPr lvl="5" algn="ctr">
              <a:spcBef>
                <a:spcPts val="0"/>
              </a:spcBef>
              <a:spcAft>
                <a:spcPts val="0"/>
              </a:spcAft>
              <a:buSzPts val="9600"/>
              <a:buNone/>
              <a:defRPr sz="10400"/>
            </a:lvl6pPr>
            <a:lvl7pPr lvl="6" algn="ctr">
              <a:spcBef>
                <a:spcPts val="0"/>
              </a:spcBef>
              <a:spcAft>
                <a:spcPts val="0"/>
              </a:spcAft>
              <a:buSzPts val="9600"/>
              <a:buNone/>
              <a:defRPr sz="10400"/>
            </a:lvl7pPr>
            <a:lvl8pPr lvl="7" algn="ctr">
              <a:spcBef>
                <a:spcPts val="0"/>
              </a:spcBef>
              <a:spcAft>
                <a:spcPts val="0"/>
              </a:spcAft>
              <a:buSzPts val="9600"/>
              <a:buNone/>
              <a:defRPr sz="10400"/>
            </a:lvl8pPr>
            <a:lvl9pPr lvl="8" algn="ctr">
              <a:spcBef>
                <a:spcPts val="0"/>
              </a:spcBef>
              <a:spcAft>
                <a:spcPts val="0"/>
              </a:spcAft>
              <a:buSzPts val="9600"/>
              <a:buNone/>
              <a:defRPr sz="10400"/>
            </a:lvl9pPr>
          </a:lstStyle>
          <a:p>
            <a:r>
              <a:t>xx%</a:t>
            </a:r>
          </a:p>
        </p:txBody>
      </p:sp>
      <p:sp>
        <p:nvSpPr>
          <p:cNvPr id="71" name="Google Shape;71;p11"/>
          <p:cNvSpPr txBox="1">
            <a:spLocks noGrp="1"/>
          </p:cNvSpPr>
          <p:nvPr>
            <p:ph type="subTitle" idx="1"/>
          </p:nvPr>
        </p:nvSpPr>
        <p:spPr>
          <a:xfrm>
            <a:off x="1391000" y="4092833"/>
            <a:ext cx="7124000" cy="9512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sz="1950"/>
            </a:lvl1pPr>
            <a:lvl2pPr lvl="1" algn="ctr" rtl="0">
              <a:lnSpc>
                <a:spcPct val="100000"/>
              </a:lnSpc>
              <a:spcBef>
                <a:spcPts val="0"/>
              </a:spcBef>
              <a:spcAft>
                <a:spcPts val="0"/>
              </a:spcAft>
              <a:buSzPts val="1600"/>
              <a:buNone/>
              <a:defRPr sz="1733"/>
            </a:lvl2pPr>
            <a:lvl3pPr lvl="2" algn="ctr" rtl="0">
              <a:lnSpc>
                <a:spcPct val="100000"/>
              </a:lnSpc>
              <a:spcBef>
                <a:spcPts val="0"/>
              </a:spcBef>
              <a:spcAft>
                <a:spcPts val="0"/>
              </a:spcAft>
              <a:buSzPts val="1600"/>
              <a:buNone/>
              <a:defRPr sz="1733"/>
            </a:lvl3pPr>
            <a:lvl4pPr lvl="3" algn="ctr" rtl="0">
              <a:lnSpc>
                <a:spcPct val="100000"/>
              </a:lnSpc>
              <a:spcBef>
                <a:spcPts val="0"/>
              </a:spcBef>
              <a:spcAft>
                <a:spcPts val="0"/>
              </a:spcAft>
              <a:buSzPts val="1600"/>
              <a:buNone/>
              <a:defRPr sz="1733"/>
            </a:lvl4pPr>
            <a:lvl5pPr lvl="4" algn="ctr" rtl="0">
              <a:lnSpc>
                <a:spcPct val="100000"/>
              </a:lnSpc>
              <a:spcBef>
                <a:spcPts val="0"/>
              </a:spcBef>
              <a:spcAft>
                <a:spcPts val="0"/>
              </a:spcAft>
              <a:buSzPts val="1600"/>
              <a:buNone/>
              <a:defRPr sz="1733"/>
            </a:lvl5pPr>
            <a:lvl6pPr lvl="5" algn="ctr" rtl="0">
              <a:lnSpc>
                <a:spcPct val="100000"/>
              </a:lnSpc>
              <a:spcBef>
                <a:spcPts val="0"/>
              </a:spcBef>
              <a:spcAft>
                <a:spcPts val="0"/>
              </a:spcAft>
              <a:buSzPts val="1600"/>
              <a:buNone/>
              <a:defRPr sz="1733"/>
            </a:lvl6pPr>
            <a:lvl7pPr lvl="6" algn="ctr" rtl="0">
              <a:lnSpc>
                <a:spcPct val="100000"/>
              </a:lnSpc>
              <a:spcBef>
                <a:spcPts val="0"/>
              </a:spcBef>
              <a:spcAft>
                <a:spcPts val="0"/>
              </a:spcAft>
              <a:buSzPts val="1600"/>
              <a:buNone/>
              <a:defRPr sz="1733"/>
            </a:lvl7pPr>
            <a:lvl8pPr lvl="7" algn="ctr" rtl="0">
              <a:lnSpc>
                <a:spcPct val="100000"/>
              </a:lnSpc>
              <a:spcBef>
                <a:spcPts val="0"/>
              </a:spcBef>
              <a:spcAft>
                <a:spcPts val="0"/>
              </a:spcAft>
              <a:buSzPts val="1600"/>
              <a:buNone/>
              <a:defRPr sz="1733"/>
            </a:lvl8pPr>
            <a:lvl9pPr lvl="8" algn="ctr" rtl="0">
              <a:lnSpc>
                <a:spcPct val="100000"/>
              </a:lnSpc>
              <a:spcBef>
                <a:spcPts val="0"/>
              </a:spcBef>
              <a:spcAft>
                <a:spcPts val="0"/>
              </a:spcAft>
              <a:buSzPts val="1600"/>
              <a:buNone/>
              <a:defRPr sz="1733"/>
            </a:lvl9pPr>
          </a:lstStyle>
          <a:p>
            <a:endParaRPr/>
          </a:p>
        </p:txBody>
      </p:sp>
    </p:spTree>
    <p:extLst>
      <p:ext uri="{BB962C8B-B14F-4D97-AF65-F5344CB8AC3E}">
        <p14:creationId xmlns:p14="http://schemas.microsoft.com/office/powerpoint/2010/main" val="215853911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Background">
  <p:cSld name="Background">
    <p:spTree>
      <p:nvGrpSpPr>
        <p:cNvPr id="1" name="Shape 214"/>
        <p:cNvGrpSpPr/>
        <p:nvPr/>
      </p:nvGrpSpPr>
      <p:grpSpPr>
        <a:xfrm>
          <a:off x="0" y="0"/>
          <a:ext cx="0" cy="0"/>
          <a:chOff x="0" y="0"/>
          <a:chExt cx="0" cy="0"/>
        </a:xfrm>
      </p:grpSpPr>
      <p:pic>
        <p:nvPicPr>
          <p:cNvPr id="215" name="Google Shape;215;p26"/>
          <p:cNvPicPr preferRelativeResize="0"/>
          <p:nvPr/>
        </p:nvPicPr>
        <p:blipFill rotWithShape="1">
          <a:blip r:embed="rId2">
            <a:alphaModFix amt="93000"/>
          </a:blip>
          <a:srcRect l="1854"/>
          <a:stretch/>
        </p:blipFill>
        <p:spPr>
          <a:xfrm>
            <a:off x="28" y="0"/>
            <a:ext cx="9906001" cy="6858000"/>
          </a:xfrm>
          <a:prstGeom prst="rect">
            <a:avLst/>
          </a:prstGeom>
          <a:noFill/>
          <a:ln>
            <a:noFill/>
          </a:ln>
        </p:spPr>
      </p:pic>
    </p:spTree>
    <p:extLst>
      <p:ext uri="{BB962C8B-B14F-4D97-AF65-F5344CB8AC3E}">
        <p14:creationId xmlns:p14="http://schemas.microsoft.com/office/powerpoint/2010/main" val="36436662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Background 1">
  <p:cSld name="Background 1">
    <p:spTree>
      <p:nvGrpSpPr>
        <p:cNvPr id="1" name="Shape 216"/>
        <p:cNvGrpSpPr/>
        <p:nvPr/>
      </p:nvGrpSpPr>
      <p:grpSpPr>
        <a:xfrm>
          <a:off x="0" y="0"/>
          <a:ext cx="0" cy="0"/>
          <a:chOff x="0" y="0"/>
          <a:chExt cx="0" cy="0"/>
        </a:xfrm>
      </p:grpSpPr>
      <p:pic>
        <p:nvPicPr>
          <p:cNvPr id="217" name="Google Shape;217;p27"/>
          <p:cNvPicPr preferRelativeResize="0"/>
          <p:nvPr/>
        </p:nvPicPr>
        <p:blipFill rotWithShape="1">
          <a:blip r:embed="rId2">
            <a:alphaModFix amt="93000"/>
          </a:blip>
          <a:srcRect l="1854"/>
          <a:stretch/>
        </p:blipFill>
        <p:spPr>
          <a:xfrm>
            <a:off x="28" y="0"/>
            <a:ext cx="9906001" cy="6858000"/>
          </a:xfrm>
          <a:prstGeom prst="rect">
            <a:avLst/>
          </a:prstGeom>
          <a:noFill/>
          <a:ln>
            <a:noFill/>
          </a:ln>
        </p:spPr>
      </p:pic>
      <p:pic>
        <p:nvPicPr>
          <p:cNvPr id="218" name="Google Shape;218;p27"/>
          <p:cNvPicPr preferRelativeResize="0"/>
          <p:nvPr/>
        </p:nvPicPr>
        <p:blipFill>
          <a:blip r:embed="rId3">
            <a:alphaModFix/>
          </a:blip>
          <a:stretch>
            <a:fillRect/>
          </a:stretch>
        </p:blipFill>
        <p:spPr>
          <a:xfrm flipH="1">
            <a:off x="7243140" y="-375666"/>
            <a:ext cx="2284589" cy="2891999"/>
          </a:xfrm>
          <a:prstGeom prst="rect">
            <a:avLst/>
          </a:prstGeom>
          <a:noFill/>
          <a:ln>
            <a:noFill/>
          </a:ln>
        </p:spPr>
      </p:pic>
      <p:pic>
        <p:nvPicPr>
          <p:cNvPr id="219" name="Google Shape;219;p27"/>
          <p:cNvPicPr preferRelativeResize="0"/>
          <p:nvPr/>
        </p:nvPicPr>
        <p:blipFill>
          <a:blip r:embed="rId4">
            <a:alphaModFix/>
          </a:blip>
          <a:stretch>
            <a:fillRect/>
          </a:stretch>
        </p:blipFill>
        <p:spPr>
          <a:xfrm flipH="1">
            <a:off x="-396314" y="758267"/>
            <a:ext cx="2540172" cy="3215532"/>
          </a:xfrm>
          <a:prstGeom prst="rect">
            <a:avLst/>
          </a:prstGeom>
          <a:noFill/>
          <a:ln>
            <a:noFill/>
          </a:ln>
        </p:spPr>
      </p:pic>
      <p:pic>
        <p:nvPicPr>
          <p:cNvPr id="220" name="Google Shape;220;p27"/>
          <p:cNvPicPr preferRelativeResize="0"/>
          <p:nvPr/>
        </p:nvPicPr>
        <p:blipFill>
          <a:blip r:embed="rId5">
            <a:alphaModFix/>
          </a:blip>
          <a:stretch>
            <a:fillRect/>
          </a:stretch>
        </p:blipFill>
        <p:spPr>
          <a:xfrm flipH="1">
            <a:off x="7200279" y="3076900"/>
            <a:ext cx="2700507" cy="3418533"/>
          </a:xfrm>
          <a:prstGeom prst="rect">
            <a:avLst/>
          </a:prstGeom>
          <a:noFill/>
          <a:ln>
            <a:noFill/>
          </a:ln>
        </p:spPr>
      </p:pic>
      <p:pic>
        <p:nvPicPr>
          <p:cNvPr id="221" name="Google Shape;221;p27"/>
          <p:cNvPicPr preferRelativeResize="0"/>
          <p:nvPr/>
        </p:nvPicPr>
        <p:blipFill>
          <a:blip r:embed="rId6">
            <a:alphaModFix/>
          </a:blip>
          <a:stretch>
            <a:fillRect/>
          </a:stretch>
        </p:blipFill>
        <p:spPr>
          <a:xfrm flipH="1">
            <a:off x="-483481" y="4825985"/>
            <a:ext cx="2714508" cy="3436233"/>
          </a:xfrm>
          <a:prstGeom prst="rect">
            <a:avLst/>
          </a:prstGeom>
          <a:noFill/>
          <a:ln>
            <a:noFill/>
          </a:ln>
        </p:spPr>
      </p:pic>
    </p:spTree>
    <p:extLst>
      <p:ext uri="{BB962C8B-B14F-4D97-AF65-F5344CB8AC3E}">
        <p14:creationId xmlns:p14="http://schemas.microsoft.com/office/powerpoint/2010/main" val="8414840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adpis a obsah bez loga na pozadí">
    <p:bg>
      <p:bgPr>
        <a:solidFill>
          <a:schemeClr val="bg1"/>
        </a:solidFill>
        <a:effectLst/>
      </p:bgPr>
    </p:bg>
    <p:spTree>
      <p:nvGrpSpPr>
        <p:cNvPr id="1" name=""/>
        <p:cNvGrpSpPr/>
        <p:nvPr/>
      </p:nvGrpSpPr>
      <p:grpSpPr>
        <a:xfrm>
          <a:off x="0" y="0"/>
          <a:ext cx="0" cy="0"/>
          <a:chOff x="0" y="0"/>
          <a:chExt cx="0" cy="0"/>
        </a:xfrm>
      </p:grpSpPr>
      <p:sp>
        <p:nvSpPr>
          <p:cNvPr id="8" name="Nadpis 7"/>
          <p:cNvSpPr>
            <a:spLocks noGrp="1"/>
          </p:cNvSpPr>
          <p:nvPr>
            <p:ph type="title"/>
          </p:nvPr>
        </p:nvSpPr>
        <p:spPr>
          <a:xfrm>
            <a:off x="656562" y="781788"/>
            <a:ext cx="8568402" cy="691116"/>
          </a:xfrm>
          <a:prstGeom prst="rect">
            <a:avLst/>
          </a:prstGeom>
        </p:spPr>
        <p:txBody>
          <a:bodyPr/>
          <a:lstStyle>
            <a:lvl1pPr>
              <a:defRPr b="1"/>
            </a:lvl1pPr>
          </a:lstStyle>
          <a:p>
            <a:r>
              <a:rPr lang="cs-CZ"/>
              <a:t>Kliknutím lze upravit styl.</a:t>
            </a:r>
          </a:p>
        </p:txBody>
      </p:sp>
      <p:sp>
        <p:nvSpPr>
          <p:cNvPr id="3" name="Zástupný symbol pro obsah 2"/>
          <p:cNvSpPr>
            <a:spLocks noGrp="1"/>
          </p:cNvSpPr>
          <p:nvPr>
            <p:ph idx="1" hasCustomPrompt="1"/>
          </p:nvPr>
        </p:nvSpPr>
        <p:spPr>
          <a:xfrm rot="10800000" flipV="1">
            <a:off x="656562" y="1663702"/>
            <a:ext cx="8568402" cy="4396859"/>
          </a:xfrm>
          <a:prstGeom prst="rect">
            <a:avLst/>
          </a:prstGeom>
        </p:spPr>
        <p:txBody>
          <a:bodyPr/>
          <a:lstStyle>
            <a:lvl1pPr marL="283431" indent="-283431">
              <a:defRPr/>
            </a:lvl1pPr>
            <a:lvl2pPr marL="566862" indent="-204070">
              <a:buFont typeface="Courier New" panose="02070309020205020404" pitchFamily="49" charset="0"/>
              <a:buChar char="o"/>
              <a:defRPr/>
            </a:lvl2pPr>
            <a:lvl3pPr marL="906979" indent="-181396">
              <a:buFont typeface="Wingdings" panose="05000000000000000000" pitchFamily="2" charset="2"/>
              <a:buChar char="§"/>
              <a:defRPr/>
            </a:lvl3pPr>
            <a:lvl4pPr>
              <a:defRPr/>
            </a:lvl4pPr>
            <a:lvl5pPr>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p:txBody>
          <a:bodyPr/>
          <a:lstStyle/>
          <a:p>
            <a:fld id="{A8784E01-F173-423B-BCD8-B8C3DB995DD1}" type="datetime1">
              <a:rPr lang="cs-CZ" smtClean="0"/>
              <a:t>15.09.2025</a:t>
            </a:fld>
            <a:endParaRPr lang="cs-CZ"/>
          </a:p>
        </p:txBody>
      </p:sp>
      <p:sp>
        <p:nvSpPr>
          <p:cNvPr id="5" name="Zástupný symbol pro zápatí 4"/>
          <p:cNvSpPr>
            <a:spLocks noGrp="1"/>
          </p:cNvSpPr>
          <p:nvPr>
            <p:ph type="ftr" sz="quarter" idx="11"/>
          </p:nvPr>
        </p:nvSpPr>
        <p:spPr/>
        <p:txBody>
          <a:bodyPr/>
          <a:lstStyle/>
          <a:p>
            <a:endParaRPr lang="cs-CZ"/>
          </a:p>
        </p:txBody>
      </p:sp>
      <p:sp>
        <p:nvSpPr>
          <p:cNvPr id="6" name="Zástupný symbol pro číslo snímku 5"/>
          <p:cNvSpPr>
            <a:spLocks noGrp="1"/>
          </p:cNvSpPr>
          <p:nvPr>
            <p:ph type="sldNum" sz="quarter" idx="12"/>
          </p:nvPr>
        </p:nvSpPr>
        <p:spPr>
          <a:xfrm>
            <a:off x="6996113" y="6356354"/>
            <a:ext cx="2228850" cy="365125"/>
          </a:xfrm>
          <a:prstGeom prst="rect">
            <a:avLst/>
          </a:prstGeom>
        </p:spPr>
        <p:txBody>
          <a:bodyPr/>
          <a:lstStyle>
            <a:lvl1pPr algn="r">
              <a:defRPr/>
            </a:lvl1pPr>
          </a:lstStyle>
          <a:p>
            <a:fld id="{E1FABD4B-2F30-49F8-98F3-E2840AF18AB3}" type="slidenum">
              <a:rPr lang="cs-CZ" smtClean="0"/>
              <a:pPr/>
              <a:t>‹#›</a:t>
            </a:fld>
            <a:endParaRPr lang="cs-CZ"/>
          </a:p>
        </p:txBody>
      </p:sp>
      <p:pic>
        <p:nvPicPr>
          <p:cNvPr id="9" name="Obrázek 8" descr="Obsah obrázku text&#10;&#10;Popis byl vytvořen automaticky">
            <a:extLst>
              <a:ext uri="{FF2B5EF4-FFF2-40B4-BE49-F238E27FC236}">
                <a16:creationId xmlns:a16="http://schemas.microsoft.com/office/drawing/2014/main" id="{43F2D9F1-BC76-45A6-9158-8D6EA64CDF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395" y="6206908"/>
            <a:ext cx="1383671" cy="374917"/>
          </a:xfrm>
          <a:prstGeom prst="rect">
            <a:avLst/>
          </a:prstGeom>
        </p:spPr>
      </p:pic>
    </p:spTree>
    <p:extLst>
      <p:ext uri="{BB962C8B-B14F-4D97-AF65-F5344CB8AC3E}">
        <p14:creationId xmlns:p14="http://schemas.microsoft.com/office/powerpoint/2010/main" val="75370773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Nadpis a obsah">
    <p:spTree>
      <p:nvGrpSpPr>
        <p:cNvPr id="1" name=""/>
        <p:cNvGrpSpPr/>
        <p:nvPr/>
      </p:nvGrpSpPr>
      <p:grpSpPr>
        <a:xfrm>
          <a:off x="0" y="0"/>
          <a:ext cx="0" cy="0"/>
          <a:chOff x="0" y="0"/>
          <a:chExt cx="0" cy="0"/>
        </a:xfrm>
      </p:grpSpPr>
      <p:sp>
        <p:nvSpPr>
          <p:cNvPr id="3" name="Zástupný obsah 2">
            <a:extLst>
              <a:ext uri="{FF2B5EF4-FFF2-40B4-BE49-F238E27FC236}">
                <a16:creationId xmlns:a16="http://schemas.microsoft.com/office/drawing/2014/main" id="{76CC9A53-E622-4949-A4BC-34950AC20125}"/>
              </a:ext>
            </a:extLst>
          </p:cNvPr>
          <p:cNvSpPr>
            <a:spLocks noGrp="1"/>
          </p:cNvSpPr>
          <p:nvPr>
            <p:ph idx="1" hasCustomPrompt="1"/>
          </p:nvPr>
        </p:nvSpPr>
        <p:spPr>
          <a:xfrm>
            <a:off x="723604" y="1844825"/>
            <a:ext cx="8441864" cy="4118681"/>
          </a:xfrm>
        </p:spPr>
        <p:txBody>
          <a:bodyPr lIns="0"/>
          <a:lstStyle>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8" name="Zástupný symbol pro číslo snímku 4">
            <a:extLst>
              <a:ext uri="{FF2B5EF4-FFF2-40B4-BE49-F238E27FC236}">
                <a16:creationId xmlns:a16="http://schemas.microsoft.com/office/drawing/2014/main" id="{A537BD5C-D5DC-49A5-AB18-CB56719E3C80}"/>
              </a:ext>
            </a:extLst>
          </p:cNvPr>
          <p:cNvSpPr>
            <a:spLocks noGrp="1"/>
          </p:cNvSpPr>
          <p:nvPr>
            <p:ph type="sldNum" sz="quarter" idx="12"/>
          </p:nvPr>
        </p:nvSpPr>
        <p:spPr>
          <a:xfrm>
            <a:off x="7594600" y="70804"/>
            <a:ext cx="2228850" cy="365125"/>
          </a:xfrm>
          <a:prstGeom prst="rect">
            <a:avLst/>
          </a:prstGeom>
        </p:spPr>
        <p:txBody>
          <a:bodyPr/>
          <a:lstStyle>
            <a:lvl1pPr algn="r">
              <a:defRPr sz="1137" b="0">
                <a:solidFill>
                  <a:schemeClr val="bg1">
                    <a:lumMod val="50000"/>
                  </a:schemeClr>
                </a:solidFill>
              </a:defRPr>
            </a:lvl1pPr>
          </a:lstStyle>
          <a:p>
            <a:fld id="{E0D10946-8DEB-4684-AD6B-8CDD52847066}" type="slidenum">
              <a:rPr lang="cs-CZ" smtClean="0"/>
              <a:pPr/>
              <a:t>‹#›</a:t>
            </a:fld>
            <a:endParaRPr lang="cs-CZ"/>
          </a:p>
        </p:txBody>
      </p:sp>
      <p:sp>
        <p:nvSpPr>
          <p:cNvPr id="9" name="Zástupný obsah 2">
            <a:extLst>
              <a:ext uri="{FF2B5EF4-FFF2-40B4-BE49-F238E27FC236}">
                <a16:creationId xmlns:a16="http://schemas.microsoft.com/office/drawing/2014/main" id="{001170E7-5677-466A-B349-620B3282B901}"/>
              </a:ext>
            </a:extLst>
          </p:cNvPr>
          <p:cNvSpPr>
            <a:spLocks noGrp="1"/>
          </p:cNvSpPr>
          <p:nvPr>
            <p:ph idx="13" hasCustomPrompt="1"/>
          </p:nvPr>
        </p:nvSpPr>
        <p:spPr>
          <a:xfrm>
            <a:off x="723604" y="6176965"/>
            <a:ext cx="7330241" cy="538163"/>
          </a:xfrm>
        </p:spPr>
        <p:txBody>
          <a:bodyPr anchor="b" anchorCtr="0"/>
          <a:lstStyle>
            <a:lvl1pPr>
              <a:defRPr sz="731">
                <a:solidFill>
                  <a:schemeClr val="bg1">
                    <a:lumMod val="7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cs-CZ"/>
              <a:t>Zdroj</a:t>
            </a:r>
          </a:p>
        </p:txBody>
      </p:sp>
      <p:sp>
        <p:nvSpPr>
          <p:cNvPr id="4" name="Nadpis 3">
            <a:extLst>
              <a:ext uri="{FF2B5EF4-FFF2-40B4-BE49-F238E27FC236}">
                <a16:creationId xmlns:a16="http://schemas.microsoft.com/office/drawing/2014/main" id="{BA490E09-7685-0446-B167-F32B959E25E2}"/>
              </a:ext>
            </a:extLst>
          </p:cNvPr>
          <p:cNvSpPr>
            <a:spLocks noGrp="1"/>
          </p:cNvSpPr>
          <p:nvPr>
            <p:ph type="title"/>
          </p:nvPr>
        </p:nvSpPr>
        <p:spPr/>
        <p:txBody>
          <a:bodyPr/>
          <a:lstStyle/>
          <a:p>
            <a:r>
              <a:rPr lang="cs-CZ"/>
              <a:t>Kliknutím lze upravit styl.</a:t>
            </a:r>
          </a:p>
        </p:txBody>
      </p:sp>
    </p:spTree>
    <p:extLst>
      <p:ext uri="{BB962C8B-B14F-4D97-AF65-F5344CB8AC3E}">
        <p14:creationId xmlns:p14="http://schemas.microsoft.com/office/powerpoint/2010/main" val="1573079651"/>
      </p:ext>
    </p:extLst>
  </p:cSld>
  <p:clrMapOvr>
    <a:masterClrMapping/>
  </p:clrMapOvr>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8BCCF87-1F43-4024-B565-F142DF8D9DB6}"/>
              </a:ext>
            </a:extLst>
          </p:cNvPr>
          <p:cNvSpPr>
            <a:spLocks noGrp="1"/>
          </p:cNvSpPr>
          <p:nvPr>
            <p:ph type="title"/>
          </p:nvPr>
        </p:nvSpPr>
        <p:spPr>
          <a:xfrm>
            <a:off x="681038" y="365126"/>
            <a:ext cx="8543925" cy="720367"/>
          </a:xfrm>
          <a:prstGeom prst="rect">
            <a:avLst/>
          </a:prstGeom>
        </p:spPr>
        <p:txBody>
          <a:bodyPr/>
          <a:lstStyle/>
          <a:p>
            <a:r>
              <a:rPr lang="cs-CZ"/>
              <a:t>Kliknutím lze upravit styl.</a:t>
            </a:r>
          </a:p>
        </p:txBody>
      </p:sp>
      <p:sp>
        <p:nvSpPr>
          <p:cNvPr id="3" name="Zástupný obsah 2">
            <a:extLst>
              <a:ext uri="{FF2B5EF4-FFF2-40B4-BE49-F238E27FC236}">
                <a16:creationId xmlns:a16="http://schemas.microsoft.com/office/drawing/2014/main" id="{76CC9A53-E622-4949-A4BC-34950AC20125}"/>
              </a:ext>
            </a:extLst>
          </p:cNvPr>
          <p:cNvSpPr>
            <a:spLocks noGrp="1"/>
          </p:cNvSpPr>
          <p:nvPr>
            <p:ph idx="1"/>
          </p:nvPr>
        </p:nvSpPr>
        <p:spPr>
          <a:xfrm>
            <a:off x="681038" y="1589130"/>
            <a:ext cx="8543925" cy="4344311"/>
          </a:xfrm>
          <a:prstGeom prst="rect">
            <a:avLst/>
          </a:prstGeom>
        </p:spPr>
        <p:txBody>
          <a:bodyPr/>
          <a:lstStyle>
            <a:lvl1pPr>
              <a:defRPr sz="1462"/>
            </a:lvl1pPr>
            <a:lvl2pPr>
              <a:defRPr sz="1300">
                <a:solidFill>
                  <a:schemeClr val="tx1">
                    <a:lumMod val="65000"/>
                    <a:lumOff val="35000"/>
                  </a:schemeClr>
                </a:solidFill>
              </a:defRPr>
            </a:lvl2pPr>
            <a:lvl3pPr>
              <a:defRPr sz="1137">
                <a:solidFill>
                  <a:schemeClr val="tx1">
                    <a:lumMod val="65000"/>
                    <a:lumOff val="35000"/>
                  </a:schemeClr>
                </a:solidFill>
              </a:defRPr>
            </a:lvl3pPr>
            <a:lvl4pPr>
              <a:defRPr sz="975">
                <a:solidFill>
                  <a:schemeClr val="tx1">
                    <a:lumMod val="65000"/>
                    <a:lumOff val="35000"/>
                  </a:schemeClr>
                </a:solidFill>
              </a:defRPr>
            </a:lvl4pPr>
            <a:lvl5pPr>
              <a:defRPr sz="975">
                <a:solidFill>
                  <a:schemeClr val="tx1">
                    <a:lumMod val="65000"/>
                    <a:lumOff val="35000"/>
                  </a:schemeClr>
                </a:solidFill>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8" name="Zástupný symbol pro číslo snímku 4">
            <a:extLst>
              <a:ext uri="{FF2B5EF4-FFF2-40B4-BE49-F238E27FC236}">
                <a16:creationId xmlns:a16="http://schemas.microsoft.com/office/drawing/2014/main" id="{A537BD5C-D5DC-49A5-AB18-CB56719E3C80}"/>
              </a:ext>
            </a:extLst>
          </p:cNvPr>
          <p:cNvSpPr>
            <a:spLocks noGrp="1"/>
          </p:cNvSpPr>
          <p:nvPr>
            <p:ph type="sldNum" sz="quarter" idx="12"/>
          </p:nvPr>
        </p:nvSpPr>
        <p:spPr>
          <a:xfrm>
            <a:off x="7594600" y="70803"/>
            <a:ext cx="2228850" cy="365125"/>
          </a:xfrm>
          <a:prstGeom prst="rect">
            <a:avLst/>
          </a:prstGeom>
        </p:spPr>
        <p:txBody>
          <a:bodyPr/>
          <a:lstStyle>
            <a:lvl1pPr algn="r">
              <a:defRPr sz="1137" b="1">
                <a:solidFill>
                  <a:schemeClr val="accent1"/>
                </a:solidFill>
              </a:defRPr>
            </a:lvl1pPr>
          </a:lstStyle>
          <a:p>
            <a:fld id="{E0D10946-8DEB-4684-AD6B-8CDD52847066}" type="slidenum">
              <a:rPr lang="cs-CZ" smtClean="0"/>
              <a:pPr/>
              <a:t>‹#›</a:t>
            </a:fld>
            <a:endParaRPr lang="cs-CZ"/>
          </a:p>
        </p:txBody>
      </p:sp>
      <p:sp>
        <p:nvSpPr>
          <p:cNvPr id="9" name="Zástupný obsah 2">
            <a:extLst>
              <a:ext uri="{FF2B5EF4-FFF2-40B4-BE49-F238E27FC236}">
                <a16:creationId xmlns:a16="http://schemas.microsoft.com/office/drawing/2014/main" id="{001170E7-5677-466A-B349-620B3282B901}"/>
              </a:ext>
            </a:extLst>
          </p:cNvPr>
          <p:cNvSpPr>
            <a:spLocks noGrp="1"/>
          </p:cNvSpPr>
          <p:nvPr>
            <p:ph idx="13" hasCustomPrompt="1"/>
          </p:nvPr>
        </p:nvSpPr>
        <p:spPr>
          <a:xfrm>
            <a:off x="145494" y="6176964"/>
            <a:ext cx="8930879" cy="538163"/>
          </a:xfrm>
          <a:prstGeom prst="rect">
            <a:avLst/>
          </a:prstGeom>
        </p:spPr>
        <p:txBody>
          <a:bodyPr anchor="ctr" anchorCtr="0"/>
          <a:lstStyle>
            <a:lvl1pPr marL="185732" indent="-185732">
              <a:buClrTx/>
              <a:buFont typeface="+mj-lt"/>
              <a:buAutoNum type="arabicPeriod"/>
              <a:defRPr sz="975">
                <a:solidFill>
                  <a:schemeClr val="bg1">
                    <a:lumMod val="7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cs-CZ"/>
              <a:t>Zdroj</a:t>
            </a:r>
          </a:p>
        </p:txBody>
      </p:sp>
      <p:sp>
        <p:nvSpPr>
          <p:cNvPr id="12" name="Zástupný text 11">
            <a:extLst>
              <a:ext uri="{FF2B5EF4-FFF2-40B4-BE49-F238E27FC236}">
                <a16:creationId xmlns:a16="http://schemas.microsoft.com/office/drawing/2014/main" id="{A5AB2DC5-EEC1-49E7-9E97-B816FA984CB8}"/>
              </a:ext>
            </a:extLst>
          </p:cNvPr>
          <p:cNvSpPr>
            <a:spLocks noGrp="1"/>
          </p:cNvSpPr>
          <p:nvPr>
            <p:ph type="body" sz="quarter" idx="15" hasCustomPrompt="1"/>
          </p:nvPr>
        </p:nvSpPr>
        <p:spPr>
          <a:xfrm>
            <a:off x="681038" y="1095651"/>
            <a:ext cx="8543925" cy="627195"/>
          </a:xfrm>
        </p:spPr>
        <p:txBody>
          <a:bodyPr wrap="square" bIns="108000">
            <a:spAutoFit/>
          </a:bodyPr>
          <a:lstStyle>
            <a:lvl1pPr marL="0" indent="0">
              <a:spcBef>
                <a:spcPts val="1462"/>
              </a:spcBef>
              <a:buNone/>
              <a:defRPr>
                <a:solidFill>
                  <a:schemeClr val="accent1"/>
                </a:solidFill>
                <a:latin typeface="+mj-lt"/>
              </a:defRPr>
            </a:lvl1pPr>
          </a:lstStyle>
          <a:p>
            <a:pPr lvl="0"/>
            <a:r>
              <a:rPr lang="cs-CZ" err="1"/>
              <a:t>Mezinadpis</a:t>
            </a:r>
            <a:endParaRPr lang="cs-CZ"/>
          </a:p>
        </p:txBody>
      </p:sp>
    </p:spTree>
    <p:extLst>
      <p:ext uri="{BB962C8B-B14F-4D97-AF65-F5344CB8AC3E}">
        <p14:creationId xmlns:p14="http://schemas.microsoft.com/office/powerpoint/2010/main" val="314274649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Hlavni zjištění">
  <p:cSld name="Hlavni zjištění">
    <p:spTree>
      <p:nvGrpSpPr>
        <p:cNvPr id="1" name="Shape 21"/>
        <p:cNvGrpSpPr/>
        <p:nvPr/>
      </p:nvGrpSpPr>
      <p:grpSpPr>
        <a:xfrm>
          <a:off x="0" y="0"/>
          <a:ext cx="0" cy="0"/>
          <a:chOff x="0" y="0"/>
          <a:chExt cx="0" cy="0"/>
        </a:xfrm>
      </p:grpSpPr>
      <p:sp>
        <p:nvSpPr>
          <p:cNvPr id="22" name="Google Shape;22;p41"/>
          <p:cNvSpPr txBox="1">
            <a:spLocks noGrp="1"/>
          </p:cNvSpPr>
          <p:nvPr>
            <p:ph type="title"/>
          </p:nvPr>
        </p:nvSpPr>
        <p:spPr>
          <a:xfrm>
            <a:off x="736914" y="1102399"/>
            <a:ext cx="8445484" cy="3983088"/>
          </a:xfrm>
          <a:prstGeom prst="rect">
            <a:avLst/>
          </a:prstGeom>
          <a:noFill/>
          <a:ln>
            <a:noFill/>
          </a:ln>
        </p:spPr>
        <p:txBody>
          <a:bodyPr spcFirstLastPara="1" wrap="square" lIns="0" tIns="45700" rIns="91425" bIns="45700" anchor="b" anchorCtr="0">
            <a:noAutofit/>
          </a:bodyPr>
          <a:lstStyle>
            <a:lvl1pPr lvl="0" algn="l">
              <a:lnSpc>
                <a:spcPct val="90000"/>
              </a:lnSpc>
              <a:spcBef>
                <a:spcPts val="0"/>
              </a:spcBef>
              <a:spcAft>
                <a:spcPts val="0"/>
              </a:spcAft>
              <a:buSzPts val="4400"/>
              <a:buNone/>
              <a:defRPr sz="6987">
                <a:solidFill>
                  <a:schemeClr val="accen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41"/>
          <p:cNvSpPr txBox="1">
            <a:spLocks noGrp="1"/>
          </p:cNvSpPr>
          <p:nvPr>
            <p:ph type="body" idx="1"/>
          </p:nvPr>
        </p:nvSpPr>
        <p:spPr>
          <a:xfrm>
            <a:off x="736914" y="5093861"/>
            <a:ext cx="5269204" cy="869947"/>
          </a:xfrm>
          <a:prstGeom prst="rect">
            <a:avLst/>
          </a:prstGeom>
          <a:noFill/>
          <a:ln>
            <a:noFill/>
          </a:ln>
        </p:spPr>
        <p:txBody>
          <a:bodyPr spcFirstLastPara="1" wrap="square" lIns="0" tIns="45700" rIns="91425" bIns="45700" anchor="t" anchorCtr="0">
            <a:normAutofit/>
          </a:bodyPr>
          <a:lstStyle>
            <a:lvl1pPr marL="371464" lvl="0" indent="-330190" algn="l">
              <a:lnSpc>
                <a:spcPct val="90000"/>
              </a:lnSpc>
              <a:spcBef>
                <a:spcPts val="812"/>
              </a:spcBef>
              <a:spcAft>
                <a:spcPts val="0"/>
              </a:spcAft>
              <a:buSzPts val="2800"/>
              <a:buChar char="•"/>
              <a:defRPr sz="1625" b="1">
                <a:solidFill>
                  <a:schemeClr val="dk1"/>
                </a:solidFill>
                <a:latin typeface="Arial"/>
                <a:ea typeface="Arial"/>
                <a:cs typeface="Arial"/>
                <a:sym typeface="Arial"/>
              </a:defRPr>
            </a:lvl1pPr>
            <a:lvl2pPr marL="742927" lvl="1" indent="-309553" algn="l">
              <a:lnSpc>
                <a:spcPct val="90000"/>
              </a:lnSpc>
              <a:spcBef>
                <a:spcPts val="406"/>
              </a:spcBef>
              <a:spcAft>
                <a:spcPts val="0"/>
              </a:spcAft>
              <a:buSzPts val="2400"/>
              <a:buChar char="•"/>
              <a:defRPr sz="731">
                <a:solidFill>
                  <a:srgbClr val="595959"/>
                </a:solidFill>
              </a:defRPr>
            </a:lvl2pPr>
            <a:lvl3pPr marL="1114391" lvl="2" indent="-288916" algn="l">
              <a:lnSpc>
                <a:spcPct val="90000"/>
              </a:lnSpc>
              <a:spcBef>
                <a:spcPts val="406"/>
              </a:spcBef>
              <a:spcAft>
                <a:spcPts val="0"/>
              </a:spcAft>
              <a:buSzPts val="2000"/>
              <a:buChar char="•"/>
              <a:defRPr sz="731">
                <a:solidFill>
                  <a:srgbClr val="595959"/>
                </a:solidFill>
              </a:defRPr>
            </a:lvl3pPr>
            <a:lvl4pPr marL="1485854" lvl="3" indent="-278598" algn="l">
              <a:lnSpc>
                <a:spcPct val="90000"/>
              </a:lnSpc>
              <a:spcBef>
                <a:spcPts val="406"/>
              </a:spcBef>
              <a:spcAft>
                <a:spcPts val="0"/>
              </a:spcAft>
              <a:buSzPts val="1800"/>
              <a:buChar char="•"/>
              <a:defRPr sz="731">
                <a:solidFill>
                  <a:srgbClr val="595959"/>
                </a:solidFill>
              </a:defRPr>
            </a:lvl4pPr>
            <a:lvl5pPr marL="1857318" lvl="4" indent="-278598" algn="l">
              <a:lnSpc>
                <a:spcPct val="90000"/>
              </a:lnSpc>
              <a:spcBef>
                <a:spcPts val="406"/>
              </a:spcBef>
              <a:spcAft>
                <a:spcPts val="0"/>
              </a:spcAft>
              <a:buSzPts val="1800"/>
              <a:buChar char="•"/>
              <a:defRPr sz="731">
                <a:solidFill>
                  <a:srgbClr val="595959"/>
                </a:solidFill>
              </a:defRPr>
            </a:lvl5pPr>
            <a:lvl6pPr marL="2228781" lvl="5" indent="-278598" algn="l">
              <a:lnSpc>
                <a:spcPct val="90000"/>
              </a:lnSpc>
              <a:spcBef>
                <a:spcPts val="406"/>
              </a:spcBef>
              <a:spcAft>
                <a:spcPts val="0"/>
              </a:spcAft>
              <a:buSzPts val="1800"/>
              <a:buChar char="•"/>
              <a:defRPr/>
            </a:lvl6pPr>
            <a:lvl7pPr marL="2600245" lvl="6" indent="-278598" algn="l">
              <a:lnSpc>
                <a:spcPct val="90000"/>
              </a:lnSpc>
              <a:spcBef>
                <a:spcPts val="406"/>
              </a:spcBef>
              <a:spcAft>
                <a:spcPts val="0"/>
              </a:spcAft>
              <a:buSzPts val="1800"/>
              <a:buChar char="•"/>
              <a:defRPr/>
            </a:lvl7pPr>
            <a:lvl8pPr marL="2971709" lvl="7" indent="-278598" algn="l">
              <a:lnSpc>
                <a:spcPct val="90000"/>
              </a:lnSpc>
              <a:spcBef>
                <a:spcPts val="406"/>
              </a:spcBef>
              <a:spcAft>
                <a:spcPts val="0"/>
              </a:spcAft>
              <a:buSzPts val="1800"/>
              <a:buChar char="•"/>
              <a:defRPr/>
            </a:lvl8pPr>
            <a:lvl9pPr marL="3343172" lvl="8" indent="-278598" algn="l">
              <a:lnSpc>
                <a:spcPct val="90000"/>
              </a:lnSpc>
              <a:spcBef>
                <a:spcPts val="406"/>
              </a:spcBef>
              <a:spcAft>
                <a:spcPts val="0"/>
              </a:spcAft>
              <a:buSzPts val="1800"/>
              <a:buChar char="•"/>
              <a:defRPr/>
            </a:lvl9pPr>
          </a:lstStyle>
          <a:p>
            <a:endParaRPr/>
          </a:p>
        </p:txBody>
      </p:sp>
      <p:sp>
        <p:nvSpPr>
          <p:cNvPr id="24" name="Google Shape;24;p41"/>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lnSpc>
                <a:spcPct val="100000"/>
              </a:lnSpc>
              <a:spcBef>
                <a:spcPts val="0"/>
              </a:spcBef>
              <a:spcAft>
                <a:spcPts val="0"/>
              </a:spcAft>
              <a:buNone/>
              <a:defRPr sz="1137" b="1" i="0" u="none" strike="noStrike" cap="none">
                <a:solidFill>
                  <a:schemeClr val="accent1"/>
                </a:solidFill>
                <a:latin typeface="Arial"/>
                <a:ea typeface="Arial"/>
                <a:cs typeface="Arial"/>
                <a:sym typeface="Arial"/>
              </a:defRPr>
            </a:lvl1pPr>
            <a:lvl2pPr marL="0" marR="0" lvl="1" indent="0" algn="r" rtl="0">
              <a:lnSpc>
                <a:spcPct val="100000"/>
              </a:lnSpc>
              <a:spcBef>
                <a:spcPts val="0"/>
              </a:spcBef>
              <a:spcAft>
                <a:spcPts val="0"/>
              </a:spcAft>
              <a:buNone/>
              <a:defRPr sz="1137" b="1" i="0" u="none" strike="noStrike" cap="none">
                <a:solidFill>
                  <a:schemeClr val="accent1"/>
                </a:solidFill>
                <a:latin typeface="Arial"/>
                <a:ea typeface="Arial"/>
                <a:cs typeface="Arial"/>
                <a:sym typeface="Arial"/>
              </a:defRPr>
            </a:lvl2pPr>
            <a:lvl3pPr marL="0" marR="0" lvl="2" indent="0" algn="r" rtl="0">
              <a:lnSpc>
                <a:spcPct val="100000"/>
              </a:lnSpc>
              <a:spcBef>
                <a:spcPts val="0"/>
              </a:spcBef>
              <a:spcAft>
                <a:spcPts val="0"/>
              </a:spcAft>
              <a:buNone/>
              <a:defRPr sz="1137" b="1" i="0" u="none" strike="noStrike" cap="none">
                <a:solidFill>
                  <a:schemeClr val="accent1"/>
                </a:solidFill>
                <a:latin typeface="Arial"/>
                <a:ea typeface="Arial"/>
                <a:cs typeface="Arial"/>
                <a:sym typeface="Arial"/>
              </a:defRPr>
            </a:lvl3pPr>
            <a:lvl4pPr marL="0" marR="0" lvl="3" indent="0" algn="r" rtl="0">
              <a:lnSpc>
                <a:spcPct val="100000"/>
              </a:lnSpc>
              <a:spcBef>
                <a:spcPts val="0"/>
              </a:spcBef>
              <a:spcAft>
                <a:spcPts val="0"/>
              </a:spcAft>
              <a:buNone/>
              <a:defRPr sz="1137" b="1" i="0" u="none" strike="noStrike" cap="none">
                <a:solidFill>
                  <a:schemeClr val="accent1"/>
                </a:solidFill>
                <a:latin typeface="Arial"/>
                <a:ea typeface="Arial"/>
                <a:cs typeface="Arial"/>
                <a:sym typeface="Arial"/>
              </a:defRPr>
            </a:lvl4pPr>
            <a:lvl5pPr marL="0" marR="0" lvl="4" indent="0" algn="r" rtl="0">
              <a:lnSpc>
                <a:spcPct val="100000"/>
              </a:lnSpc>
              <a:spcBef>
                <a:spcPts val="0"/>
              </a:spcBef>
              <a:spcAft>
                <a:spcPts val="0"/>
              </a:spcAft>
              <a:buNone/>
              <a:defRPr sz="1137" b="1" i="0" u="none" strike="noStrike" cap="none">
                <a:solidFill>
                  <a:schemeClr val="accent1"/>
                </a:solidFill>
                <a:latin typeface="Arial"/>
                <a:ea typeface="Arial"/>
                <a:cs typeface="Arial"/>
                <a:sym typeface="Arial"/>
              </a:defRPr>
            </a:lvl5pPr>
            <a:lvl6pPr marL="0" marR="0" lvl="5" indent="0" algn="r" rtl="0">
              <a:lnSpc>
                <a:spcPct val="100000"/>
              </a:lnSpc>
              <a:spcBef>
                <a:spcPts val="0"/>
              </a:spcBef>
              <a:spcAft>
                <a:spcPts val="0"/>
              </a:spcAft>
              <a:buNone/>
              <a:defRPr sz="1137" b="1" i="0" u="none" strike="noStrike" cap="none">
                <a:solidFill>
                  <a:schemeClr val="accent1"/>
                </a:solidFill>
                <a:latin typeface="Arial"/>
                <a:ea typeface="Arial"/>
                <a:cs typeface="Arial"/>
                <a:sym typeface="Arial"/>
              </a:defRPr>
            </a:lvl6pPr>
            <a:lvl7pPr marL="0" marR="0" lvl="6" indent="0" algn="r" rtl="0">
              <a:lnSpc>
                <a:spcPct val="100000"/>
              </a:lnSpc>
              <a:spcBef>
                <a:spcPts val="0"/>
              </a:spcBef>
              <a:spcAft>
                <a:spcPts val="0"/>
              </a:spcAft>
              <a:buNone/>
              <a:defRPr sz="1137" b="1" i="0" u="none" strike="noStrike" cap="none">
                <a:solidFill>
                  <a:schemeClr val="accent1"/>
                </a:solidFill>
                <a:latin typeface="Arial"/>
                <a:ea typeface="Arial"/>
                <a:cs typeface="Arial"/>
                <a:sym typeface="Arial"/>
              </a:defRPr>
            </a:lvl7pPr>
            <a:lvl8pPr marL="0" marR="0" lvl="7" indent="0" algn="r" rtl="0">
              <a:lnSpc>
                <a:spcPct val="100000"/>
              </a:lnSpc>
              <a:spcBef>
                <a:spcPts val="0"/>
              </a:spcBef>
              <a:spcAft>
                <a:spcPts val="0"/>
              </a:spcAft>
              <a:buNone/>
              <a:defRPr sz="1137" b="1" i="0" u="none" strike="noStrike" cap="none">
                <a:solidFill>
                  <a:schemeClr val="accent1"/>
                </a:solidFill>
                <a:latin typeface="Arial"/>
                <a:ea typeface="Arial"/>
                <a:cs typeface="Arial"/>
                <a:sym typeface="Arial"/>
              </a:defRPr>
            </a:lvl8pPr>
            <a:lvl9pPr marL="0" marR="0" lvl="8" indent="0" algn="r" rtl="0">
              <a:lnSpc>
                <a:spcPct val="100000"/>
              </a:lnSpc>
              <a:spcBef>
                <a:spcPts val="0"/>
              </a:spcBef>
              <a:spcAft>
                <a:spcPts val="0"/>
              </a:spcAft>
              <a:buNone/>
              <a:defRPr sz="1137" b="1" i="0" u="none" strike="noStrike" cap="none">
                <a:solidFill>
                  <a:schemeClr val="accent1"/>
                </a:solidFill>
                <a:latin typeface="Arial"/>
                <a:ea typeface="Arial"/>
                <a:cs typeface="Arial"/>
                <a:sym typeface="Arial"/>
              </a:defRPr>
            </a:lvl9pPr>
          </a:lstStyle>
          <a:p>
            <a:fld id="{00000000-1234-1234-1234-123412341234}" type="slidenum">
              <a:rPr lang="cs-CZ" smtClean="0"/>
              <a:pPr/>
              <a:t>‹#›</a:t>
            </a:fld>
            <a:endParaRPr lang="cs-CZ"/>
          </a:p>
        </p:txBody>
      </p:sp>
      <p:sp>
        <p:nvSpPr>
          <p:cNvPr id="25" name="Google Shape;25;p41"/>
          <p:cNvSpPr txBox="1">
            <a:spLocks noGrp="1"/>
          </p:cNvSpPr>
          <p:nvPr>
            <p:ph type="body" idx="2"/>
          </p:nvPr>
        </p:nvSpPr>
        <p:spPr>
          <a:xfrm>
            <a:off x="736913" y="837017"/>
            <a:ext cx="2984820" cy="257007"/>
          </a:xfrm>
          <a:prstGeom prst="rect">
            <a:avLst/>
          </a:prstGeom>
          <a:noFill/>
          <a:ln>
            <a:noFill/>
          </a:ln>
        </p:spPr>
        <p:txBody>
          <a:bodyPr spcFirstLastPara="1" wrap="square" lIns="0" tIns="0" rIns="0" bIns="0" anchor="b" anchorCtr="0">
            <a:normAutofit/>
          </a:bodyPr>
          <a:lstStyle>
            <a:lvl1pPr marL="371464" lvl="0" indent="-330190" algn="l">
              <a:lnSpc>
                <a:spcPct val="90000"/>
              </a:lnSpc>
              <a:spcBef>
                <a:spcPts val="812"/>
              </a:spcBef>
              <a:spcAft>
                <a:spcPts val="0"/>
              </a:spcAft>
              <a:buSzPts val="2800"/>
              <a:buChar char="•"/>
              <a:defRPr sz="1137">
                <a:latin typeface="Inter"/>
                <a:ea typeface="Inter"/>
                <a:cs typeface="Inter"/>
                <a:sym typeface="Inter"/>
              </a:defRPr>
            </a:lvl1pPr>
            <a:lvl2pPr marL="742927" lvl="1" indent="-309553" algn="l">
              <a:lnSpc>
                <a:spcPct val="90000"/>
              </a:lnSpc>
              <a:spcBef>
                <a:spcPts val="406"/>
              </a:spcBef>
              <a:spcAft>
                <a:spcPts val="0"/>
              </a:spcAft>
              <a:buSzPts val="2400"/>
              <a:buChar char="•"/>
              <a:defRPr sz="975">
                <a:latin typeface="Inter"/>
                <a:ea typeface="Inter"/>
                <a:cs typeface="Inter"/>
                <a:sym typeface="Inter"/>
              </a:defRPr>
            </a:lvl2pPr>
            <a:lvl3pPr marL="1114391" lvl="2" indent="-288916" algn="l">
              <a:lnSpc>
                <a:spcPct val="90000"/>
              </a:lnSpc>
              <a:spcBef>
                <a:spcPts val="406"/>
              </a:spcBef>
              <a:spcAft>
                <a:spcPts val="0"/>
              </a:spcAft>
              <a:buSzPts val="2000"/>
              <a:buChar char="•"/>
              <a:defRPr sz="975">
                <a:latin typeface="Inter"/>
                <a:ea typeface="Inter"/>
                <a:cs typeface="Inter"/>
                <a:sym typeface="Inter"/>
              </a:defRPr>
            </a:lvl3pPr>
            <a:lvl4pPr marL="1485854" lvl="3" indent="-278598" algn="l">
              <a:lnSpc>
                <a:spcPct val="90000"/>
              </a:lnSpc>
              <a:spcBef>
                <a:spcPts val="406"/>
              </a:spcBef>
              <a:spcAft>
                <a:spcPts val="0"/>
              </a:spcAft>
              <a:buSzPts val="1800"/>
              <a:buChar char="•"/>
              <a:defRPr sz="975">
                <a:latin typeface="Inter"/>
                <a:ea typeface="Inter"/>
                <a:cs typeface="Inter"/>
                <a:sym typeface="Inter"/>
              </a:defRPr>
            </a:lvl4pPr>
            <a:lvl5pPr marL="1857318" lvl="4" indent="-278598" algn="l">
              <a:lnSpc>
                <a:spcPct val="90000"/>
              </a:lnSpc>
              <a:spcBef>
                <a:spcPts val="406"/>
              </a:spcBef>
              <a:spcAft>
                <a:spcPts val="0"/>
              </a:spcAft>
              <a:buSzPts val="1800"/>
              <a:buChar char="•"/>
              <a:defRPr sz="975">
                <a:latin typeface="Inter"/>
                <a:ea typeface="Inter"/>
                <a:cs typeface="Inter"/>
                <a:sym typeface="Inter"/>
              </a:defRPr>
            </a:lvl5pPr>
            <a:lvl6pPr marL="2228781" lvl="5" indent="-278598" algn="l">
              <a:lnSpc>
                <a:spcPct val="90000"/>
              </a:lnSpc>
              <a:spcBef>
                <a:spcPts val="406"/>
              </a:spcBef>
              <a:spcAft>
                <a:spcPts val="0"/>
              </a:spcAft>
              <a:buSzPts val="1800"/>
              <a:buChar char="•"/>
              <a:defRPr/>
            </a:lvl6pPr>
            <a:lvl7pPr marL="2600245" lvl="6" indent="-278598" algn="l">
              <a:lnSpc>
                <a:spcPct val="90000"/>
              </a:lnSpc>
              <a:spcBef>
                <a:spcPts val="406"/>
              </a:spcBef>
              <a:spcAft>
                <a:spcPts val="0"/>
              </a:spcAft>
              <a:buSzPts val="1800"/>
              <a:buChar char="•"/>
              <a:defRPr/>
            </a:lvl7pPr>
            <a:lvl8pPr marL="2971709" lvl="7" indent="-278598" algn="l">
              <a:lnSpc>
                <a:spcPct val="90000"/>
              </a:lnSpc>
              <a:spcBef>
                <a:spcPts val="406"/>
              </a:spcBef>
              <a:spcAft>
                <a:spcPts val="0"/>
              </a:spcAft>
              <a:buSzPts val="1800"/>
              <a:buChar char="•"/>
              <a:defRPr/>
            </a:lvl8pPr>
            <a:lvl9pPr marL="3343172" lvl="8" indent="-278598" algn="l">
              <a:lnSpc>
                <a:spcPct val="90000"/>
              </a:lnSpc>
              <a:spcBef>
                <a:spcPts val="406"/>
              </a:spcBef>
              <a:spcAft>
                <a:spcPts val="0"/>
              </a:spcAft>
              <a:buSzPts val="1800"/>
              <a:buChar char="•"/>
              <a:defRPr/>
            </a:lvl9pPr>
          </a:lstStyle>
          <a:p>
            <a:endParaRPr/>
          </a:p>
        </p:txBody>
      </p:sp>
    </p:spTree>
    <p:extLst>
      <p:ext uri="{BB962C8B-B14F-4D97-AF65-F5344CB8AC3E}">
        <p14:creationId xmlns:p14="http://schemas.microsoft.com/office/powerpoint/2010/main" val="105078872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Nadpis a obsah">
  <p:cSld name="2_Nadpis a obsah">
    <p:spTree>
      <p:nvGrpSpPr>
        <p:cNvPr id="1" name="Shape 17"/>
        <p:cNvGrpSpPr/>
        <p:nvPr/>
      </p:nvGrpSpPr>
      <p:grpSpPr>
        <a:xfrm>
          <a:off x="0" y="0"/>
          <a:ext cx="0" cy="0"/>
          <a:chOff x="0" y="0"/>
          <a:chExt cx="0" cy="0"/>
        </a:xfrm>
      </p:grpSpPr>
      <p:sp>
        <p:nvSpPr>
          <p:cNvPr id="18" name="Google Shape;18;p37"/>
          <p:cNvSpPr txBox="1">
            <a:spLocks noGrp="1"/>
          </p:cNvSpPr>
          <p:nvPr>
            <p:ph type="body" idx="1"/>
          </p:nvPr>
        </p:nvSpPr>
        <p:spPr>
          <a:xfrm>
            <a:off x="723604" y="1844825"/>
            <a:ext cx="8441864" cy="4118681"/>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dk1"/>
              </a:buClr>
              <a:buSzPts val="1800"/>
              <a:buNone/>
              <a:defRPr/>
            </a:lvl1pPr>
            <a:lvl2pPr marL="742927" lvl="1" indent="-278598" algn="l">
              <a:lnSpc>
                <a:spcPct val="100000"/>
              </a:lnSpc>
              <a:spcBef>
                <a:spcPts val="406"/>
              </a:spcBef>
              <a:spcAft>
                <a:spcPts val="0"/>
              </a:spcAft>
              <a:buSzPts val="1800"/>
              <a:buChar char="*"/>
              <a:defRPr>
                <a:solidFill>
                  <a:srgbClr val="626D78"/>
                </a:solidFill>
              </a:defRPr>
            </a:lvl2pPr>
            <a:lvl3pPr marL="1114391" lvl="2" indent="-268279" algn="l">
              <a:lnSpc>
                <a:spcPct val="100000"/>
              </a:lnSpc>
              <a:spcBef>
                <a:spcPts val="406"/>
              </a:spcBef>
              <a:spcAft>
                <a:spcPts val="0"/>
              </a:spcAft>
              <a:buSzPts val="1600"/>
              <a:buChar char="*"/>
              <a:defRPr>
                <a:solidFill>
                  <a:srgbClr val="626D78"/>
                </a:solidFill>
              </a:defRPr>
            </a:lvl3pPr>
            <a:lvl4pPr marL="1485854" lvl="3" indent="-257961" algn="l">
              <a:lnSpc>
                <a:spcPct val="100000"/>
              </a:lnSpc>
              <a:spcBef>
                <a:spcPts val="406"/>
              </a:spcBef>
              <a:spcAft>
                <a:spcPts val="0"/>
              </a:spcAft>
              <a:buSzPts val="1400"/>
              <a:buChar char="*"/>
              <a:defRPr>
                <a:solidFill>
                  <a:srgbClr val="626D78"/>
                </a:solidFill>
              </a:defRPr>
            </a:lvl4pPr>
            <a:lvl5pPr marL="1857318" lvl="4" indent="-257961" algn="l">
              <a:lnSpc>
                <a:spcPct val="100000"/>
              </a:lnSpc>
              <a:spcBef>
                <a:spcPts val="406"/>
              </a:spcBef>
              <a:spcAft>
                <a:spcPts val="0"/>
              </a:spcAft>
              <a:buSzPts val="1400"/>
              <a:buChar char="*"/>
              <a:defRPr>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9" name="Google Shape;19;p37"/>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lnSpc>
                <a:spcPct val="100000"/>
              </a:lnSpc>
              <a:spcBef>
                <a:spcPts val="0"/>
              </a:spcBef>
              <a:spcAft>
                <a:spcPts val="0"/>
              </a:spcAft>
              <a:buClr>
                <a:srgbClr val="000000"/>
              </a:buClr>
              <a:buSzPts val="1400"/>
              <a:buFont typeface="Arial"/>
              <a:buNone/>
              <a:defRPr sz="1137" b="1" i="0" u="none" strike="noStrike" cap="none">
                <a:solidFill>
                  <a:schemeClr val="accent1"/>
                </a:solidFill>
                <a:latin typeface="Fira Sans"/>
                <a:ea typeface="Fira Sans"/>
                <a:cs typeface="Fira Sans"/>
                <a:sym typeface="Fira Sans"/>
              </a:defRPr>
            </a:lvl1pPr>
            <a:lvl2pPr marL="0" marR="0" lvl="1" indent="0" algn="r" rtl="0">
              <a:lnSpc>
                <a:spcPct val="100000"/>
              </a:lnSpc>
              <a:spcBef>
                <a:spcPts val="0"/>
              </a:spcBef>
              <a:spcAft>
                <a:spcPts val="0"/>
              </a:spcAft>
              <a:buClr>
                <a:srgbClr val="000000"/>
              </a:buClr>
              <a:buSzPts val="1400"/>
              <a:buFont typeface="Arial"/>
              <a:buNone/>
              <a:defRPr sz="1137" b="1" i="0" u="none" strike="noStrike" cap="none">
                <a:solidFill>
                  <a:schemeClr val="accent1"/>
                </a:solidFill>
                <a:latin typeface="Fira Sans"/>
                <a:ea typeface="Fira Sans"/>
                <a:cs typeface="Fira Sans"/>
                <a:sym typeface="Fira Sans"/>
              </a:defRPr>
            </a:lvl2pPr>
            <a:lvl3pPr marL="0" marR="0" lvl="2" indent="0" algn="r" rtl="0">
              <a:lnSpc>
                <a:spcPct val="100000"/>
              </a:lnSpc>
              <a:spcBef>
                <a:spcPts val="0"/>
              </a:spcBef>
              <a:spcAft>
                <a:spcPts val="0"/>
              </a:spcAft>
              <a:buClr>
                <a:srgbClr val="000000"/>
              </a:buClr>
              <a:buSzPts val="1400"/>
              <a:buFont typeface="Arial"/>
              <a:buNone/>
              <a:defRPr sz="1137" b="1" i="0" u="none" strike="noStrike" cap="none">
                <a:solidFill>
                  <a:schemeClr val="accent1"/>
                </a:solidFill>
                <a:latin typeface="Fira Sans"/>
                <a:ea typeface="Fira Sans"/>
                <a:cs typeface="Fira Sans"/>
                <a:sym typeface="Fira Sans"/>
              </a:defRPr>
            </a:lvl3pPr>
            <a:lvl4pPr marL="0" marR="0" lvl="3" indent="0" algn="r" rtl="0">
              <a:lnSpc>
                <a:spcPct val="100000"/>
              </a:lnSpc>
              <a:spcBef>
                <a:spcPts val="0"/>
              </a:spcBef>
              <a:spcAft>
                <a:spcPts val="0"/>
              </a:spcAft>
              <a:buClr>
                <a:srgbClr val="000000"/>
              </a:buClr>
              <a:buSzPts val="1400"/>
              <a:buFont typeface="Arial"/>
              <a:buNone/>
              <a:defRPr sz="1137" b="1" i="0" u="none" strike="noStrike" cap="none">
                <a:solidFill>
                  <a:schemeClr val="accent1"/>
                </a:solidFill>
                <a:latin typeface="Fira Sans"/>
                <a:ea typeface="Fira Sans"/>
                <a:cs typeface="Fira Sans"/>
                <a:sym typeface="Fira Sans"/>
              </a:defRPr>
            </a:lvl4pPr>
            <a:lvl5pPr marL="0" marR="0" lvl="4" indent="0" algn="r" rtl="0">
              <a:lnSpc>
                <a:spcPct val="100000"/>
              </a:lnSpc>
              <a:spcBef>
                <a:spcPts val="0"/>
              </a:spcBef>
              <a:spcAft>
                <a:spcPts val="0"/>
              </a:spcAft>
              <a:buClr>
                <a:srgbClr val="000000"/>
              </a:buClr>
              <a:buSzPts val="1400"/>
              <a:buFont typeface="Arial"/>
              <a:buNone/>
              <a:defRPr sz="1137" b="1" i="0" u="none" strike="noStrike" cap="none">
                <a:solidFill>
                  <a:schemeClr val="accent1"/>
                </a:solidFill>
                <a:latin typeface="Fira Sans"/>
                <a:ea typeface="Fira Sans"/>
                <a:cs typeface="Fira Sans"/>
                <a:sym typeface="Fira Sans"/>
              </a:defRPr>
            </a:lvl5pPr>
            <a:lvl6pPr marL="0" marR="0" lvl="5" indent="0" algn="r" rtl="0">
              <a:lnSpc>
                <a:spcPct val="100000"/>
              </a:lnSpc>
              <a:spcBef>
                <a:spcPts val="0"/>
              </a:spcBef>
              <a:spcAft>
                <a:spcPts val="0"/>
              </a:spcAft>
              <a:buClr>
                <a:srgbClr val="000000"/>
              </a:buClr>
              <a:buSzPts val="1400"/>
              <a:buFont typeface="Arial"/>
              <a:buNone/>
              <a:defRPr sz="1137" b="1" i="0" u="none" strike="noStrike" cap="none">
                <a:solidFill>
                  <a:schemeClr val="accent1"/>
                </a:solidFill>
                <a:latin typeface="Fira Sans"/>
                <a:ea typeface="Fira Sans"/>
                <a:cs typeface="Fira Sans"/>
                <a:sym typeface="Fira Sans"/>
              </a:defRPr>
            </a:lvl6pPr>
            <a:lvl7pPr marL="0" marR="0" lvl="6" indent="0" algn="r" rtl="0">
              <a:lnSpc>
                <a:spcPct val="100000"/>
              </a:lnSpc>
              <a:spcBef>
                <a:spcPts val="0"/>
              </a:spcBef>
              <a:spcAft>
                <a:spcPts val="0"/>
              </a:spcAft>
              <a:buClr>
                <a:srgbClr val="000000"/>
              </a:buClr>
              <a:buSzPts val="1400"/>
              <a:buFont typeface="Arial"/>
              <a:buNone/>
              <a:defRPr sz="1137" b="1" i="0" u="none" strike="noStrike" cap="none">
                <a:solidFill>
                  <a:schemeClr val="accent1"/>
                </a:solidFill>
                <a:latin typeface="Fira Sans"/>
                <a:ea typeface="Fira Sans"/>
                <a:cs typeface="Fira Sans"/>
                <a:sym typeface="Fira Sans"/>
              </a:defRPr>
            </a:lvl7pPr>
            <a:lvl8pPr marL="0" marR="0" lvl="7" indent="0" algn="r" rtl="0">
              <a:lnSpc>
                <a:spcPct val="100000"/>
              </a:lnSpc>
              <a:spcBef>
                <a:spcPts val="0"/>
              </a:spcBef>
              <a:spcAft>
                <a:spcPts val="0"/>
              </a:spcAft>
              <a:buClr>
                <a:srgbClr val="000000"/>
              </a:buClr>
              <a:buSzPts val="1400"/>
              <a:buFont typeface="Arial"/>
              <a:buNone/>
              <a:defRPr sz="1137" b="1" i="0" u="none" strike="noStrike" cap="none">
                <a:solidFill>
                  <a:schemeClr val="accent1"/>
                </a:solidFill>
                <a:latin typeface="Fira Sans"/>
                <a:ea typeface="Fira Sans"/>
                <a:cs typeface="Fira Sans"/>
                <a:sym typeface="Fira Sans"/>
              </a:defRPr>
            </a:lvl8pPr>
            <a:lvl9pPr marL="0" marR="0" lvl="8" indent="0" algn="r" rtl="0">
              <a:lnSpc>
                <a:spcPct val="100000"/>
              </a:lnSpc>
              <a:spcBef>
                <a:spcPts val="0"/>
              </a:spcBef>
              <a:spcAft>
                <a:spcPts val="0"/>
              </a:spcAft>
              <a:buClr>
                <a:srgbClr val="000000"/>
              </a:buClr>
              <a:buSzPts val="1400"/>
              <a:buFont typeface="Arial"/>
              <a:buNone/>
              <a:defRPr sz="1137" b="1" i="0" u="none" strike="noStrike" cap="none">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20" name="Google Shape;20;p37"/>
          <p:cNvSpPr txBox="1">
            <a:spLocks noGrp="1"/>
          </p:cNvSpPr>
          <p:nvPr>
            <p:ph type="body" idx="2"/>
          </p:nvPr>
        </p:nvSpPr>
        <p:spPr>
          <a:xfrm>
            <a:off x="723604" y="6176965"/>
            <a:ext cx="8149332" cy="538163"/>
          </a:xfrm>
          <a:prstGeom prst="rect">
            <a:avLst/>
          </a:prstGeom>
          <a:noFill/>
          <a:ln>
            <a:noFill/>
          </a:ln>
        </p:spPr>
        <p:txBody>
          <a:bodyPr spcFirstLastPara="1" wrap="square" lIns="0" tIns="0" rIns="0" bIns="0" anchor="b" anchorCtr="0">
            <a:noAutofit/>
          </a:bodyPr>
          <a:lstStyle>
            <a:lvl1pPr marL="371464" lvl="0" indent="-185732" algn="l">
              <a:lnSpc>
                <a:spcPct val="100000"/>
              </a:lnSpc>
              <a:spcBef>
                <a:spcPts val="812"/>
              </a:spcBef>
              <a:spcAft>
                <a:spcPts val="0"/>
              </a:spcAft>
              <a:buClr>
                <a:srgbClr val="BFBFBF"/>
              </a:buClr>
              <a:buSzPts val="900"/>
              <a:buNone/>
              <a:defRPr sz="731">
                <a:solidFill>
                  <a:srgbClr val="BFBFBF"/>
                </a:solidFill>
              </a:defRPr>
            </a:lvl1pPr>
            <a:lvl2pPr marL="742927" lvl="1" indent="-278598" algn="l">
              <a:lnSpc>
                <a:spcPct val="100000"/>
              </a:lnSpc>
              <a:spcBef>
                <a:spcPts val="406"/>
              </a:spcBef>
              <a:spcAft>
                <a:spcPts val="0"/>
              </a:spcAft>
              <a:buSzPts val="1800"/>
              <a:buChar char="*"/>
              <a:defRPr>
                <a:solidFill>
                  <a:srgbClr val="626D78"/>
                </a:solidFill>
              </a:defRPr>
            </a:lvl2pPr>
            <a:lvl3pPr marL="1114391" lvl="2" indent="-268279" algn="l">
              <a:lnSpc>
                <a:spcPct val="100000"/>
              </a:lnSpc>
              <a:spcBef>
                <a:spcPts val="406"/>
              </a:spcBef>
              <a:spcAft>
                <a:spcPts val="0"/>
              </a:spcAft>
              <a:buSzPts val="1600"/>
              <a:buChar char="*"/>
              <a:defRPr>
                <a:solidFill>
                  <a:srgbClr val="626D78"/>
                </a:solidFill>
              </a:defRPr>
            </a:lvl3pPr>
            <a:lvl4pPr marL="1485854" lvl="3" indent="-257961" algn="l">
              <a:lnSpc>
                <a:spcPct val="100000"/>
              </a:lnSpc>
              <a:spcBef>
                <a:spcPts val="406"/>
              </a:spcBef>
              <a:spcAft>
                <a:spcPts val="0"/>
              </a:spcAft>
              <a:buSzPts val="1400"/>
              <a:buChar char="*"/>
              <a:defRPr>
                <a:solidFill>
                  <a:srgbClr val="626D78"/>
                </a:solidFill>
              </a:defRPr>
            </a:lvl4pPr>
            <a:lvl5pPr marL="1857318" lvl="4" indent="-257961" algn="l">
              <a:lnSpc>
                <a:spcPct val="100000"/>
              </a:lnSpc>
              <a:spcBef>
                <a:spcPts val="406"/>
              </a:spcBef>
              <a:spcAft>
                <a:spcPts val="0"/>
              </a:spcAft>
              <a:buSzPts val="1400"/>
              <a:buChar char="*"/>
              <a:defRPr>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1" name="Google Shape;21;p37"/>
          <p:cNvSpPr txBox="1">
            <a:spLocks noGrp="1"/>
          </p:cNvSpPr>
          <p:nvPr>
            <p:ph type="title"/>
          </p:nvPr>
        </p:nvSpPr>
        <p:spPr>
          <a:xfrm>
            <a:off x="731969" y="890589"/>
            <a:ext cx="8441864" cy="771019"/>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04546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nitřní list bez nadpisu">
    <p:spTree>
      <p:nvGrpSpPr>
        <p:cNvPr id="1" name=""/>
        <p:cNvGrpSpPr/>
        <p:nvPr/>
      </p:nvGrpSpPr>
      <p:grpSpPr>
        <a:xfrm>
          <a:off x="0" y="0"/>
          <a:ext cx="0" cy="0"/>
          <a:chOff x="0" y="0"/>
          <a:chExt cx="0" cy="0"/>
        </a:xfrm>
      </p:grpSpPr>
      <p:sp>
        <p:nvSpPr>
          <p:cNvPr id="7" name="Zástupný symbol pro obsah 2"/>
          <p:cNvSpPr>
            <a:spLocks noGrp="1"/>
          </p:cNvSpPr>
          <p:nvPr>
            <p:ph idx="1" hasCustomPrompt="1"/>
          </p:nvPr>
        </p:nvSpPr>
        <p:spPr>
          <a:xfrm>
            <a:off x="428498" y="1484784"/>
            <a:ext cx="8982203" cy="4968552"/>
          </a:xfrm>
          <a:prstGeom prst="rect">
            <a:avLst/>
          </a:prstGeom>
        </p:spPr>
        <p:txBody>
          <a:bodyPr>
            <a:normAutofit/>
          </a:bodyPr>
          <a:lstStyle>
            <a:lvl1pPr algn="l">
              <a:spcBef>
                <a:spcPts val="1000"/>
              </a:spcBef>
              <a:spcAft>
                <a:spcPts val="1000"/>
              </a:spcAft>
              <a:buFontTx/>
              <a:buNone/>
              <a:defRPr sz="2800">
                <a:latin typeface="Arial" pitchFamily="34" charset="0"/>
                <a:cs typeface="Arial" pitchFamily="34" charset="0"/>
              </a:defRPr>
            </a:lvl1pPr>
            <a:lvl2pPr algn="l">
              <a:buFontTx/>
              <a:buNone/>
              <a:defRPr sz="2400">
                <a:latin typeface="Arial" pitchFamily="34" charset="0"/>
                <a:cs typeface="Arial" pitchFamily="34" charset="0"/>
              </a:defRPr>
            </a:lvl2pPr>
            <a:lvl3pPr algn="l">
              <a:buFontTx/>
              <a:buNone/>
              <a:defRPr sz="2000">
                <a:latin typeface="Arial" pitchFamily="34" charset="0"/>
                <a:cs typeface="Arial" pitchFamily="34" charset="0"/>
              </a:defRPr>
            </a:lvl3pPr>
            <a:lvl4pPr algn="l">
              <a:buFontTx/>
              <a:buNone/>
              <a:defRPr sz="1800">
                <a:latin typeface="Arial" pitchFamily="34" charset="0"/>
                <a:cs typeface="Arial" pitchFamily="34" charset="0"/>
              </a:defRPr>
            </a:lvl4pPr>
            <a:lvl5pPr algn="l">
              <a:buFontTx/>
              <a:buNone/>
              <a:defRPr sz="1800">
                <a:latin typeface="Arial" pitchFamily="34" charset="0"/>
                <a:cs typeface="Arial" pitchFamily="34" charset="0"/>
              </a:defRPr>
            </a:lvl5pPr>
            <a:lvl6pPr>
              <a:buNone/>
              <a:defRPr/>
            </a:lvl6pPr>
          </a:lstStyle>
          <a:p>
            <a:pPr lvl="0"/>
            <a:r>
              <a:rPr lang="cs-CZ"/>
              <a:t>Klepnutím vložíte text</a:t>
            </a:r>
          </a:p>
        </p:txBody>
      </p:sp>
      <p:pic>
        <p:nvPicPr>
          <p:cNvPr id="3" name="Obrázek 2" descr="mmr_cr_rgb.emf"/>
          <p:cNvPicPr>
            <a:picLocks noChangeAspect="1"/>
          </p:cNvPicPr>
          <p:nvPr userDrawn="1"/>
        </p:nvPicPr>
        <p:blipFill>
          <a:blip r:embed="rId2" cstate="print"/>
          <a:stretch>
            <a:fillRect/>
          </a:stretch>
        </p:blipFill>
        <p:spPr>
          <a:xfrm>
            <a:off x="506507" y="620688"/>
            <a:ext cx="2184243" cy="442154"/>
          </a:xfrm>
          <a:prstGeom prst="rect">
            <a:avLst/>
          </a:prstGeom>
        </p:spPr>
      </p:pic>
    </p:spTree>
    <p:extLst>
      <p:ext uri="{BB962C8B-B14F-4D97-AF65-F5344CB8AC3E}">
        <p14:creationId xmlns:p14="http://schemas.microsoft.com/office/powerpoint/2010/main" val="4925369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nitřní list s nadpisem">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428498" y="2060848"/>
            <a:ext cx="8982203" cy="4392488"/>
          </a:xfrm>
          <a:prstGeom prst="rect">
            <a:avLst/>
          </a:prstGeom>
        </p:spPr>
        <p:txBody>
          <a:bodyPr>
            <a:normAutofit/>
          </a:bodyPr>
          <a:lstStyle>
            <a:lvl1pPr marL="0" indent="0" algn="l">
              <a:spcBef>
                <a:spcPts val="1000"/>
              </a:spcBef>
              <a:spcAft>
                <a:spcPts val="1000"/>
              </a:spcAft>
              <a:buFontTx/>
              <a:buNone/>
              <a:defRPr sz="2800">
                <a:latin typeface="Arial" pitchFamily="34" charset="0"/>
                <a:cs typeface="Arial" pitchFamily="34" charset="0"/>
              </a:defRPr>
            </a:lvl1pPr>
            <a:lvl2pPr algn="l">
              <a:buFontTx/>
              <a:buNone/>
              <a:defRPr sz="2400">
                <a:latin typeface="Arial" pitchFamily="34" charset="0"/>
                <a:cs typeface="Arial" pitchFamily="34" charset="0"/>
              </a:defRPr>
            </a:lvl2pPr>
            <a:lvl3pPr algn="l">
              <a:buFontTx/>
              <a:buNone/>
              <a:defRPr sz="2000">
                <a:latin typeface="Arial" pitchFamily="34" charset="0"/>
                <a:cs typeface="Arial" pitchFamily="34" charset="0"/>
              </a:defRPr>
            </a:lvl3pPr>
            <a:lvl4pPr algn="l">
              <a:buFontTx/>
              <a:buNone/>
              <a:defRPr sz="1800">
                <a:latin typeface="Arial" pitchFamily="34" charset="0"/>
                <a:cs typeface="Arial" pitchFamily="34" charset="0"/>
              </a:defRPr>
            </a:lvl4pPr>
            <a:lvl5pPr algn="l">
              <a:buFontTx/>
              <a:buNone/>
              <a:defRPr sz="1800">
                <a:latin typeface="Arial" pitchFamily="34" charset="0"/>
                <a:cs typeface="Arial" pitchFamily="34" charset="0"/>
              </a:defRPr>
            </a:lvl5pPr>
            <a:lvl6pPr>
              <a:buNone/>
              <a:defRPr/>
            </a:lvl6pPr>
          </a:lstStyle>
          <a:p>
            <a:pPr lvl="0"/>
            <a:r>
              <a:rPr lang="cs-CZ"/>
              <a:t>Klepnutím vložíte text</a:t>
            </a:r>
          </a:p>
        </p:txBody>
      </p:sp>
      <p:sp>
        <p:nvSpPr>
          <p:cNvPr id="10" name="Nadpis 9"/>
          <p:cNvSpPr>
            <a:spLocks noGrp="1"/>
          </p:cNvSpPr>
          <p:nvPr>
            <p:ph type="title" hasCustomPrompt="1"/>
          </p:nvPr>
        </p:nvSpPr>
        <p:spPr>
          <a:xfrm>
            <a:off x="428498" y="1412776"/>
            <a:ext cx="8982203" cy="504056"/>
          </a:xfrm>
          <a:prstGeom prst="rect">
            <a:avLst/>
          </a:prstGeom>
        </p:spPr>
        <p:txBody>
          <a:bodyPr anchor="t">
            <a:noAutofit/>
          </a:bodyPr>
          <a:lstStyle>
            <a:lvl1pPr algn="l">
              <a:defRPr sz="3200" b="1">
                <a:solidFill>
                  <a:srgbClr val="000099"/>
                </a:solidFill>
                <a:latin typeface="Arial" pitchFamily="34" charset="0"/>
                <a:cs typeface="Arial" pitchFamily="34" charset="0"/>
              </a:defRPr>
            </a:lvl1pPr>
          </a:lstStyle>
          <a:p>
            <a:r>
              <a:rPr lang="cs-CZ"/>
              <a:t>NADPIS</a:t>
            </a:r>
          </a:p>
        </p:txBody>
      </p:sp>
      <p:pic>
        <p:nvPicPr>
          <p:cNvPr id="4" name="Obrázek 3" descr="mmr_cr_rgb.emf"/>
          <p:cNvPicPr>
            <a:picLocks noChangeAspect="1"/>
          </p:cNvPicPr>
          <p:nvPr userDrawn="1"/>
        </p:nvPicPr>
        <p:blipFill>
          <a:blip r:embed="rId2" cstate="print"/>
          <a:stretch>
            <a:fillRect/>
          </a:stretch>
        </p:blipFill>
        <p:spPr>
          <a:xfrm>
            <a:off x="506507" y="620688"/>
            <a:ext cx="2184243" cy="442154"/>
          </a:xfrm>
          <a:prstGeom prst="rect">
            <a:avLst/>
          </a:prstGeom>
        </p:spPr>
      </p:pic>
    </p:spTree>
    <p:extLst>
      <p:ext uri="{BB962C8B-B14F-4D97-AF65-F5344CB8AC3E}">
        <p14:creationId xmlns:p14="http://schemas.microsoft.com/office/powerpoint/2010/main" val="32664195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Úvodní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731346" y="4624630"/>
            <a:ext cx="6934200" cy="492317"/>
          </a:xfrm>
          <a:prstGeom prst="rect">
            <a:avLst/>
          </a:prstGeom>
        </p:spPr>
        <p:txBody>
          <a:bodyPr lIns="90000">
            <a:normAutofit/>
          </a:bodyPr>
          <a:lstStyle>
            <a:lvl1pPr marL="0" indent="0" algn="l">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a:t>
            </a:r>
          </a:p>
        </p:txBody>
      </p:sp>
      <p:sp>
        <p:nvSpPr>
          <p:cNvPr id="8" name="TextovéPole 7"/>
          <p:cNvSpPr txBox="1"/>
          <p:nvPr userDrawn="1"/>
        </p:nvSpPr>
        <p:spPr>
          <a:xfrm>
            <a:off x="731345" y="879041"/>
            <a:ext cx="3627875" cy="267446"/>
          </a:xfrm>
          <a:prstGeom prst="rect">
            <a:avLst/>
          </a:prstGeom>
          <a:noFill/>
        </p:spPr>
        <p:txBody>
          <a:bodyPr wrap="square" rtlCol="0">
            <a:spAutoFit/>
          </a:bodyPr>
          <a:lstStyle/>
          <a:p>
            <a:r>
              <a:rPr lang="cs-CZ" sz="1138" b="1"/>
              <a:t>MINISTERSTVO PRO MÍSTNÍ ROZVOJ </a:t>
            </a:r>
            <a:endParaRPr lang="cs-CZ" sz="1625" b="1"/>
          </a:p>
        </p:txBody>
      </p:sp>
      <p:sp>
        <p:nvSpPr>
          <p:cNvPr id="19" name="Nadpis 18"/>
          <p:cNvSpPr>
            <a:spLocks noGrp="1"/>
          </p:cNvSpPr>
          <p:nvPr>
            <p:ph type="title" hasCustomPrompt="1"/>
          </p:nvPr>
        </p:nvSpPr>
        <p:spPr>
          <a:xfrm>
            <a:off x="731345" y="2109699"/>
            <a:ext cx="8915400" cy="1143000"/>
          </a:xfrm>
          <a:prstGeom prst="rect">
            <a:avLst/>
          </a:prstGeom>
        </p:spPr>
        <p:txBody>
          <a:bodyPr lIns="90000">
            <a:normAutofit/>
          </a:bodyPr>
          <a:lstStyle>
            <a:lvl1pPr algn="l">
              <a:defRPr sz="3250" b="1" baseline="0">
                <a:solidFill>
                  <a:srgbClr val="034EA2"/>
                </a:solidFill>
              </a:defRPr>
            </a:lvl1pPr>
          </a:lstStyle>
          <a:p>
            <a:r>
              <a:rPr lang="cs-CZ"/>
              <a:t>Název prezentace</a:t>
            </a:r>
          </a:p>
        </p:txBody>
      </p:sp>
      <p:sp>
        <p:nvSpPr>
          <p:cNvPr id="24" name="Zástupný symbol pro text 23"/>
          <p:cNvSpPr>
            <a:spLocks noGrp="1"/>
          </p:cNvSpPr>
          <p:nvPr>
            <p:ph type="body" sz="quarter" idx="17" hasCustomPrompt="1"/>
          </p:nvPr>
        </p:nvSpPr>
        <p:spPr>
          <a:xfrm>
            <a:off x="731345" y="5327626"/>
            <a:ext cx="3744903" cy="351971"/>
          </a:xfrm>
          <a:prstGeom prst="rect">
            <a:avLst/>
          </a:prstGeom>
        </p:spPr>
        <p:txBody>
          <a:bodyPr lIns="90000" rIns="144000">
            <a:noAutofit/>
          </a:bodyPr>
          <a:lstStyle>
            <a:lvl1pPr>
              <a:buNone/>
              <a:defRPr sz="1625">
                <a:solidFill>
                  <a:srgbClr val="034EA2"/>
                </a:solidFill>
              </a:defRPr>
            </a:lvl1pPr>
          </a:lstStyle>
          <a:p>
            <a:pPr lvl="0"/>
            <a:r>
              <a:rPr lang="cs-CZ"/>
              <a:t>Datum a místo</a:t>
            </a:r>
          </a:p>
        </p:txBody>
      </p:sp>
      <p:pic>
        <p:nvPicPr>
          <p:cNvPr id="10" name="Obrázek 9"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13" name="Obrázek 12"/>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139062" y="5933468"/>
            <a:ext cx="3627875" cy="526052"/>
          </a:xfrm>
          <a:prstGeom prst="rect">
            <a:avLst/>
          </a:prstGeom>
        </p:spPr>
      </p:pic>
    </p:spTree>
    <p:extLst>
      <p:ext uri="{BB962C8B-B14F-4D97-AF65-F5344CB8AC3E}">
        <p14:creationId xmlns:p14="http://schemas.microsoft.com/office/powerpoint/2010/main" val="3472900688"/>
      </p:ext>
    </p:extLst>
  </p:cSld>
  <p:clrMapOvr>
    <a:masterClrMapping/>
  </p:clrMapOvr>
  <p:extLst>
    <p:ext uri="{DCECCB84-F9BA-43D5-87BE-67443E8EF086}">
      <p15:sldGuideLst xmlns:p15="http://schemas.microsoft.com/office/powerpoint/2012/main">
        <p15:guide id="1" orient="horz" pos="2211">
          <p15:clr>
            <a:srgbClr val="FBAE40"/>
          </p15:clr>
        </p15:guide>
        <p15:guide id="2" pos="383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4_Nadpis a obsah">
    <p:spTree>
      <p:nvGrpSpPr>
        <p:cNvPr id="1" name=""/>
        <p:cNvGrpSpPr/>
        <p:nvPr/>
      </p:nvGrpSpPr>
      <p:grpSpPr>
        <a:xfrm>
          <a:off x="0" y="0"/>
          <a:ext cx="0" cy="0"/>
          <a:chOff x="0" y="0"/>
          <a:chExt cx="0" cy="0"/>
        </a:xfrm>
      </p:grpSpPr>
      <p:pic>
        <p:nvPicPr>
          <p:cNvPr id="9" name="Obrázek 8" descr="OPTP_CZ_RO_B_C-RGB.png"/>
          <p:cNvPicPr>
            <a:picLocks noChangeAspect="1"/>
          </p:cNvPicPr>
          <p:nvPr userDrawn="1"/>
        </p:nvPicPr>
        <p:blipFill>
          <a:blip r:embed="rId2" cstate="print"/>
          <a:stretch>
            <a:fillRect/>
          </a:stretch>
        </p:blipFill>
        <p:spPr>
          <a:xfrm>
            <a:off x="96328" y="6166210"/>
            <a:ext cx="3238977" cy="671810"/>
          </a:xfrm>
          <a:prstGeom prst="rect">
            <a:avLst/>
          </a:prstGeom>
        </p:spPr>
      </p:pic>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sp>
        <p:nvSpPr>
          <p:cNvPr id="3" name="Zástupný symbol pro obsah 2"/>
          <p:cNvSpPr>
            <a:spLocks noGrp="1"/>
          </p:cNvSpPr>
          <p:nvPr>
            <p:ph idx="1"/>
          </p:nvPr>
        </p:nvSpPr>
        <p:spPr>
          <a:xfrm>
            <a:off x="495300" y="1600200"/>
            <a:ext cx="8915400" cy="4525963"/>
          </a:xfrm>
          <a:prstGeom prst="rect">
            <a:avLst/>
          </a:prstGeom>
        </p:spPr>
        <p:txBody>
          <a:bodyPr/>
          <a:lstStyle>
            <a:lvl1pPr>
              <a:defRPr sz="3250"/>
            </a:lvl1pPr>
            <a:lvl2pPr>
              <a:buFont typeface="Arial" pitchFamily="34" charset="0"/>
              <a:buChar char="»"/>
              <a:defRPr sz="2925"/>
            </a:lvl2pPr>
            <a:lvl4pPr>
              <a:buFont typeface="Arial" pitchFamily="34" charset="0"/>
              <a:buChar char="»"/>
              <a:defRPr/>
            </a:lvl4pPr>
            <a:lvl5pPr>
              <a:buFont typeface="Arial" pitchFamily="34" charset="0"/>
              <a:buChar char="•"/>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pic>
        <p:nvPicPr>
          <p:cNvPr id="7" name="Obráze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pic>
        <p:nvPicPr>
          <p:cNvPr id="8"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sp>
        <p:nvSpPr>
          <p:cNvPr id="11" name="Zástupný symbol pro číslo snímku 10"/>
          <p:cNvSpPr>
            <a:spLocks noGrp="1"/>
          </p:cNvSpPr>
          <p:nvPr>
            <p:ph type="sldNum" sz="quarter" idx="11"/>
          </p:nvPr>
        </p:nvSpPr>
        <p:spPr/>
        <p:txBody>
          <a:bodyPr/>
          <a:lstStyle/>
          <a:p>
            <a:fld id="{177AD5F7-9A70-43A8-B2E8-1F114AD105DD}" type="slidenum">
              <a:rPr lang="cs-CZ" smtClean="0"/>
              <a:pPr/>
              <a:t>‹#›</a:t>
            </a:fld>
            <a:endParaRPr lang="cs-CZ"/>
          </a:p>
        </p:txBody>
      </p:sp>
      <p:pic>
        <p:nvPicPr>
          <p:cNvPr id="5" name="Obrázek 4">
            <a:extLst>
              <a:ext uri="{FF2B5EF4-FFF2-40B4-BE49-F238E27FC236}">
                <a16:creationId xmlns:a16="http://schemas.microsoft.com/office/drawing/2014/main" id="{5DAB128E-E1A7-C931-F307-897FC4ED87F9}"/>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202599" y="6284074"/>
            <a:ext cx="3055375" cy="443038"/>
          </a:xfrm>
          <a:prstGeom prst="rect">
            <a:avLst/>
          </a:prstGeom>
        </p:spPr>
      </p:pic>
    </p:spTree>
    <p:extLst>
      <p:ext uri="{BB962C8B-B14F-4D97-AF65-F5344CB8AC3E}">
        <p14:creationId xmlns:p14="http://schemas.microsoft.com/office/powerpoint/2010/main" val="1268460171"/>
      </p:ext>
    </p:extLst>
  </p:cSld>
  <p:clrMapOvr>
    <a:masterClrMapping/>
  </p:clrMapOvr>
  <p:extLst>
    <p:ext uri="{DCECCB84-F9BA-43D5-87BE-67443E8EF086}">
      <p15:sldGuideLst xmlns:p15="http://schemas.microsoft.com/office/powerpoint/2012/main">
        <p15:guide id="1" orient="horz" pos="2211">
          <p15:clr>
            <a:srgbClr val="FBAE40"/>
          </p15:clr>
        </p15:guide>
        <p15:guide id="2" pos="383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Předělový slide">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47413" y="2152784"/>
            <a:ext cx="8915400" cy="1143000"/>
          </a:xfrm>
          <a:prstGeom prst="rect">
            <a:avLst/>
          </a:prstGeom>
        </p:spPr>
        <p:txBody>
          <a:bodyPr>
            <a:normAutofit/>
          </a:bodyPr>
          <a:lstStyle>
            <a:lvl1pPr>
              <a:defRPr sz="4876" baseline="0">
                <a:solidFill>
                  <a:srgbClr val="034EA2"/>
                </a:solidFill>
              </a:defRPr>
            </a:lvl1pPr>
          </a:lstStyle>
          <a:p>
            <a:r>
              <a:rPr lang="cs-CZ"/>
              <a:t>Název tématu/předělu</a:t>
            </a:r>
          </a:p>
        </p:txBody>
      </p:sp>
      <p:sp>
        <p:nvSpPr>
          <p:cNvPr id="5" name="Zástupný symbol pro číslo snímku 4"/>
          <p:cNvSpPr>
            <a:spLocks noGrp="1"/>
          </p:cNvSpPr>
          <p:nvPr>
            <p:ph type="sldNum" sz="quarter" idx="12"/>
          </p:nvPr>
        </p:nvSpPr>
        <p:spPr/>
        <p:txBody>
          <a:bodyPr/>
          <a:lstStyle/>
          <a:p>
            <a:fld id="{177AD5F7-9A70-43A8-B2E8-1F114AD105DD}" type="slidenum">
              <a:rPr lang="cs-CZ" smtClean="0"/>
              <a:pPr/>
              <a:t>‹#›</a:t>
            </a:fld>
            <a:endParaRPr lang="cs-CZ"/>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209" y="3499331"/>
            <a:ext cx="6575963" cy="66983"/>
          </a:xfrm>
          <a:prstGeom prst="rect">
            <a:avLst/>
          </a:prstGeom>
        </p:spPr>
      </p:pic>
      <p:pic>
        <p:nvPicPr>
          <p:cNvPr id="9" name="Obrázek 8" descr="OPTP_CZ_RO_B_C-RGB.png"/>
          <p:cNvPicPr>
            <a:picLocks noChangeAspect="1"/>
          </p:cNvPicPr>
          <p:nvPr userDrawn="1"/>
        </p:nvPicPr>
        <p:blipFill>
          <a:blip r:embed="rId3" cstate="print"/>
          <a:stretch>
            <a:fillRect/>
          </a:stretch>
        </p:blipFill>
        <p:spPr>
          <a:xfrm>
            <a:off x="96328" y="6166210"/>
            <a:ext cx="3238977" cy="671810"/>
          </a:xfrm>
          <a:prstGeom prst="rect">
            <a:avLst/>
          </a:prstGeom>
        </p:spPr>
      </p:pic>
      <p:pic>
        <p:nvPicPr>
          <p:cNvPr id="10"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66210"/>
            <a:ext cx="6532882" cy="684777"/>
          </a:xfrm>
          <a:prstGeom prst="rect">
            <a:avLst/>
          </a:prstGeom>
        </p:spPr>
      </p:pic>
      <p:pic>
        <p:nvPicPr>
          <p:cNvPr id="3" name="Obrázek 2">
            <a:extLst>
              <a:ext uri="{FF2B5EF4-FFF2-40B4-BE49-F238E27FC236}">
                <a16:creationId xmlns:a16="http://schemas.microsoft.com/office/drawing/2014/main" id="{BE697689-779B-A454-FAEA-EED6B23FD6C1}"/>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202599" y="6284074"/>
            <a:ext cx="3055375" cy="443038"/>
          </a:xfrm>
          <a:prstGeom prst="rect">
            <a:avLst/>
          </a:prstGeom>
        </p:spPr>
      </p:pic>
    </p:spTree>
    <p:extLst>
      <p:ext uri="{BB962C8B-B14F-4D97-AF65-F5344CB8AC3E}">
        <p14:creationId xmlns:p14="http://schemas.microsoft.com/office/powerpoint/2010/main" val="157083423"/>
      </p:ext>
    </p:extLst>
  </p:cSld>
  <p:clrMapOvr>
    <a:masterClrMapping/>
  </p:clrMapOvr>
  <p:extLst>
    <p:ext uri="{DCECCB84-F9BA-43D5-87BE-67443E8EF086}">
      <p15:sldGuideLst xmlns:p15="http://schemas.microsoft.com/office/powerpoint/2012/main">
        <p15:guide id="1" orient="horz" pos="2211">
          <p15:clr>
            <a:srgbClr val="FBAE40"/>
          </p15:clr>
        </p15:guide>
        <p15:guide id="2" pos="383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Graf">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sp>
        <p:nvSpPr>
          <p:cNvPr id="10" name="Zástupný symbol pro graf 9"/>
          <p:cNvSpPr>
            <a:spLocks noGrp="1"/>
          </p:cNvSpPr>
          <p:nvPr>
            <p:ph type="chart" sz="quarter" idx="13"/>
          </p:nvPr>
        </p:nvSpPr>
        <p:spPr>
          <a:xfrm>
            <a:off x="505685" y="1530375"/>
            <a:ext cx="8894631" cy="4290319"/>
          </a:xfrm>
          <a:prstGeom prst="rect">
            <a:avLst/>
          </a:prstGeom>
        </p:spPr>
        <p:txBody>
          <a:bodyPr/>
          <a:lstStyle/>
          <a:p>
            <a:r>
              <a:rPr lang="cs-CZ"/>
              <a:t>Kliknutím na ikonu přidáte graf.</a:t>
            </a:r>
          </a:p>
        </p:txBody>
      </p:sp>
      <p:sp>
        <p:nvSpPr>
          <p:cNvPr id="9" name="Zástupný symbol pro číslo snímku 8"/>
          <p:cNvSpPr>
            <a:spLocks noGrp="1"/>
          </p:cNvSpPr>
          <p:nvPr>
            <p:ph type="sldNum" sz="quarter" idx="14"/>
          </p:nvPr>
        </p:nvSpPr>
        <p:spPr/>
        <p:txBody>
          <a:bodyPr/>
          <a:lstStyle/>
          <a:p>
            <a:fld id="{177AD5F7-9A70-43A8-B2E8-1F114AD105DD}" type="slidenum">
              <a:rPr lang="cs-CZ" smtClean="0"/>
              <a:pPr/>
              <a:t>‹#›</a:t>
            </a:fld>
            <a:endParaRPr lang="cs-CZ"/>
          </a:p>
        </p:txBody>
      </p:sp>
      <p:pic>
        <p:nvPicPr>
          <p:cNvPr id="11" name="Obrázek 10" descr="OPTP_CZ_RO_B_C-RGB.png"/>
          <p:cNvPicPr>
            <a:picLocks noChangeAspect="1"/>
          </p:cNvPicPr>
          <p:nvPr userDrawn="1"/>
        </p:nvPicPr>
        <p:blipFill>
          <a:blip r:embed="rId3" cstate="print"/>
          <a:stretch>
            <a:fillRect/>
          </a:stretch>
        </p:blipFill>
        <p:spPr>
          <a:xfrm>
            <a:off x="96328" y="6166210"/>
            <a:ext cx="3238977" cy="671810"/>
          </a:xfrm>
          <a:prstGeom prst="rect">
            <a:avLst/>
          </a:prstGeom>
        </p:spPr>
      </p:pic>
      <p:pic>
        <p:nvPicPr>
          <p:cNvPr id="12"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pic>
        <p:nvPicPr>
          <p:cNvPr id="3" name="Obrázek 2">
            <a:extLst>
              <a:ext uri="{FF2B5EF4-FFF2-40B4-BE49-F238E27FC236}">
                <a16:creationId xmlns:a16="http://schemas.microsoft.com/office/drawing/2014/main" id="{4E81C21B-2A3F-920B-B16E-8D160DE9851C}"/>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202599" y="6284074"/>
            <a:ext cx="3055375" cy="443038"/>
          </a:xfrm>
          <a:prstGeom prst="rect">
            <a:avLst/>
          </a:prstGeom>
        </p:spPr>
      </p:pic>
    </p:spTree>
    <p:extLst>
      <p:ext uri="{BB962C8B-B14F-4D97-AF65-F5344CB8AC3E}">
        <p14:creationId xmlns:p14="http://schemas.microsoft.com/office/powerpoint/2010/main" val="3033812584"/>
      </p:ext>
    </p:extLst>
  </p:cSld>
  <p:clrMapOvr>
    <a:masterClrMapping/>
  </p:clrMapOvr>
  <p:extLst>
    <p:ext uri="{DCECCB84-F9BA-43D5-87BE-67443E8EF086}">
      <p15:sldGuideLst xmlns:p15="http://schemas.microsoft.com/office/powerpoint/2012/main">
        <p15:guide id="1" orient="horz" pos="2211">
          <p15:clr>
            <a:srgbClr val="FBAE40"/>
          </p15:clr>
        </p15:guide>
        <p15:guide id="2" pos="383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abulka">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sp>
        <p:nvSpPr>
          <p:cNvPr id="15" name="Zástupný symbol pro tabulku 14"/>
          <p:cNvSpPr>
            <a:spLocks noGrp="1"/>
          </p:cNvSpPr>
          <p:nvPr>
            <p:ph type="tbl" sz="quarter" idx="13"/>
          </p:nvPr>
        </p:nvSpPr>
        <p:spPr>
          <a:xfrm>
            <a:off x="505685" y="1600149"/>
            <a:ext cx="8952681" cy="4220546"/>
          </a:xfrm>
          <a:prstGeom prst="rect">
            <a:avLst/>
          </a:prstGeom>
        </p:spPr>
        <p:txBody>
          <a:bodyPr/>
          <a:lstStyle/>
          <a:p>
            <a:r>
              <a:rPr lang="cs-CZ"/>
              <a:t>Kliknutím na ikonu přidáte tabulku.</a:t>
            </a:r>
          </a:p>
        </p:txBody>
      </p:sp>
      <p:sp>
        <p:nvSpPr>
          <p:cNvPr id="10" name="Zástupný symbol pro číslo snímku 9"/>
          <p:cNvSpPr>
            <a:spLocks noGrp="1"/>
          </p:cNvSpPr>
          <p:nvPr>
            <p:ph type="sldNum" sz="quarter" idx="15"/>
          </p:nvPr>
        </p:nvSpPr>
        <p:spPr/>
        <p:txBody>
          <a:bodyPr/>
          <a:lstStyle/>
          <a:p>
            <a:fld id="{177AD5F7-9A70-43A8-B2E8-1F114AD105DD}" type="slidenum">
              <a:rPr lang="cs-CZ" smtClean="0"/>
              <a:pPr/>
              <a:t>‹#›</a:t>
            </a:fld>
            <a:endParaRPr lang="cs-CZ"/>
          </a:p>
        </p:txBody>
      </p:sp>
      <p:pic>
        <p:nvPicPr>
          <p:cNvPr id="12" name="Obrázek 11" descr="OPTP_CZ_RO_B_C-RGB.png"/>
          <p:cNvPicPr>
            <a:picLocks noChangeAspect="1"/>
          </p:cNvPicPr>
          <p:nvPr userDrawn="1"/>
        </p:nvPicPr>
        <p:blipFill>
          <a:blip r:embed="rId3" cstate="print"/>
          <a:stretch>
            <a:fillRect/>
          </a:stretch>
        </p:blipFill>
        <p:spPr>
          <a:xfrm>
            <a:off x="96328" y="6166210"/>
            <a:ext cx="3238977" cy="671810"/>
          </a:xfrm>
          <a:prstGeom prst="rect">
            <a:avLst/>
          </a:prstGeom>
        </p:spPr>
      </p:pic>
      <p:pic>
        <p:nvPicPr>
          <p:cNvPr id="13"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pic>
        <p:nvPicPr>
          <p:cNvPr id="3" name="Obrázek 2">
            <a:extLst>
              <a:ext uri="{FF2B5EF4-FFF2-40B4-BE49-F238E27FC236}">
                <a16:creationId xmlns:a16="http://schemas.microsoft.com/office/drawing/2014/main" id="{39F7C4DC-62D7-CA80-F7E6-22075C002D9A}"/>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202599" y="6284074"/>
            <a:ext cx="3055375" cy="443038"/>
          </a:xfrm>
          <a:prstGeom prst="rect">
            <a:avLst/>
          </a:prstGeom>
        </p:spPr>
      </p:pic>
    </p:spTree>
    <p:extLst>
      <p:ext uri="{BB962C8B-B14F-4D97-AF65-F5344CB8AC3E}">
        <p14:creationId xmlns:p14="http://schemas.microsoft.com/office/powerpoint/2010/main" val="691271409"/>
      </p:ext>
    </p:extLst>
  </p:cSld>
  <p:clrMapOvr>
    <a:masterClrMapping/>
  </p:clrMapOvr>
  <p:extLst>
    <p:ext uri="{DCECCB84-F9BA-43D5-87BE-67443E8EF086}">
      <p15:sldGuideLst xmlns:p15="http://schemas.microsoft.com/office/powerpoint/2012/main">
        <p15:guide id="1" orient="horz" pos="2211">
          <p15:clr>
            <a:srgbClr val="FBAE40"/>
          </p15:clr>
        </p15:guide>
        <p15:guide id="2" pos="38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Úvodní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731346" y="4624632"/>
            <a:ext cx="6934200" cy="492317"/>
          </a:xfrm>
          <a:prstGeom prst="rect">
            <a:avLst/>
          </a:prstGeom>
        </p:spPr>
        <p:txBody>
          <a:bodyPr lIns="90000">
            <a:normAutofit/>
          </a:bodyPr>
          <a:lstStyle>
            <a:lvl1pPr marL="0" indent="0" algn="l">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a:t>
            </a:r>
          </a:p>
        </p:txBody>
      </p:sp>
      <p:sp>
        <p:nvSpPr>
          <p:cNvPr id="8" name="TextovéPole 7"/>
          <p:cNvSpPr txBox="1"/>
          <p:nvPr userDrawn="1"/>
        </p:nvSpPr>
        <p:spPr>
          <a:xfrm>
            <a:off x="731346" y="879041"/>
            <a:ext cx="3627875" cy="267446"/>
          </a:xfrm>
          <a:prstGeom prst="rect">
            <a:avLst/>
          </a:prstGeom>
          <a:noFill/>
        </p:spPr>
        <p:txBody>
          <a:bodyPr wrap="square" rtlCol="0">
            <a:spAutoFit/>
          </a:bodyPr>
          <a:lstStyle/>
          <a:p>
            <a:r>
              <a:rPr lang="cs-CZ" sz="1138" b="1"/>
              <a:t>MINISTERSTVO PRO MÍSTNÍ ROZVOJ </a:t>
            </a:r>
            <a:endParaRPr lang="cs-CZ" sz="1625" b="1"/>
          </a:p>
        </p:txBody>
      </p:sp>
      <p:sp>
        <p:nvSpPr>
          <p:cNvPr id="19" name="Nadpis 18"/>
          <p:cNvSpPr>
            <a:spLocks noGrp="1"/>
          </p:cNvSpPr>
          <p:nvPr>
            <p:ph type="title" hasCustomPrompt="1"/>
          </p:nvPr>
        </p:nvSpPr>
        <p:spPr>
          <a:xfrm>
            <a:off x="731345" y="2109699"/>
            <a:ext cx="8915400" cy="1143000"/>
          </a:xfrm>
          <a:prstGeom prst="rect">
            <a:avLst/>
          </a:prstGeom>
        </p:spPr>
        <p:txBody>
          <a:bodyPr lIns="90000">
            <a:normAutofit/>
          </a:bodyPr>
          <a:lstStyle>
            <a:lvl1pPr algn="l">
              <a:defRPr sz="3250" b="1" baseline="0">
                <a:solidFill>
                  <a:srgbClr val="034EA2"/>
                </a:solidFill>
              </a:defRPr>
            </a:lvl1pPr>
          </a:lstStyle>
          <a:p>
            <a:r>
              <a:rPr lang="cs-CZ"/>
              <a:t>Název prezentace</a:t>
            </a:r>
          </a:p>
        </p:txBody>
      </p:sp>
      <p:sp>
        <p:nvSpPr>
          <p:cNvPr id="24" name="Zástupný symbol pro text 23"/>
          <p:cNvSpPr>
            <a:spLocks noGrp="1"/>
          </p:cNvSpPr>
          <p:nvPr>
            <p:ph type="body" sz="quarter" idx="17" hasCustomPrompt="1"/>
          </p:nvPr>
        </p:nvSpPr>
        <p:spPr>
          <a:xfrm>
            <a:off x="731346" y="5327628"/>
            <a:ext cx="3744903" cy="351971"/>
          </a:xfrm>
          <a:prstGeom prst="rect">
            <a:avLst/>
          </a:prstGeom>
        </p:spPr>
        <p:txBody>
          <a:bodyPr lIns="90000" rIns="144000">
            <a:noAutofit/>
          </a:bodyPr>
          <a:lstStyle>
            <a:lvl1pPr>
              <a:buNone/>
              <a:defRPr sz="1625">
                <a:solidFill>
                  <a:srgbClr val="034EA2"/>
                </a:solidFill>
              </a:defRPr>
            </a:lvl1pPr>
          </a:lstStyle>
          <a:p>
            <a:pPr lvl="0"/>
            <a:r>
              <a:rPr lang="cs-CZ"/>
              <a:t>Datum a místo</a:t>
            </a:r>
          </a:p>
        </p:txBody>
      </p:sp>
      <p:pic>
        <p:nvPicPr>
          <p:cNvPr id="10" name="Obrázek 9"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13" name="Obrázek 12" descr="OPTP_CZ_RO_B_C-RGB.png"/>
          <p:cNvPicPr>
            <a:picLocks noChangeAspect="1"/>
          </p:cNvPicPr>
          <p:nvPr userDrawn="1"/>
        </p:nvPicPr>
        <p:blipFill>
          <a:blip r:embed="rId3" cstate="print"/>
          <a:stretch>
            <a:fillRect/>
          </a:stretch>
        </p:blipFill>
        <p:spPr>
          <a:xfrm>
            <a:off x="3139063" y="5820260"/>
            <a:ext cx="3627875" cy="752473"/>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Závěrečný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1500667" y="4694959"/>
            <a:ext cx="6904666" cy="984636"/>
          </a:xfrm>
          <a:prstGeom prst="rect">
            <a:avLst/>
          </a:prstGeom>
        </p:spPr>
        <p:txBody>
          <a:bodyPr lIns="90000">
            <a:normAutofit/>
          </a:bodyPr>
          <a:lstStyle>
            <a:lvl1pPr marL="0" indent="0" algn="ctr">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 a kontakt</a:t>
            </a:r>
          </a:p>
        </p:txBody>
      </p:sp>
      <p:sp>
        <p:nvSpPr>
          <p:cNvPr id="19" name="Nadpis 18"/>
          <p:cNvSpPr>
            <a:spLocks noGrp="1"/>
          </p:cNvSpPr>
          <p:nvPr>
            <p:ph type="title" hasCustomPrompt="1"/>
          </p:nvPr>
        </p:nvSpPr>
        <p:spPr>
          <a:xfrm>
            <a:off x="856568" y="2724284"/>
            <a:ext cx="8192420" cy="1197034"/>
          </a:xfrm>
          <a:prstGeom prst="rect">
            <a:avLst/>
          </a:prstGeom>
        </p:spPr>
        <p:txBody>
          <a:bodyPr lIns="90000">
            <a:normAutofit/>
          </a:bodyPr>
          <a:lstStyle>
            <a:lvl1pPr algn="ctr">
              <a:defRPr sz="4388" b="0" baseline="0">
                <a:solidFill>
                  <a:srgbClr val="034EA2"/>
                </a:solidFill>
              </a:defRPr>
            </a:lvl1pPr>
          </a:lstStyle>
          <a:p>
            <a:r>
              <a:rPr lang="cs-CZ"/>
              <a:t>Rozloučení</a:t>
            </a:r>
          </a:p>
        </p:txBody>
      </p:sp>
      <p:pic>
        <p:nvPicPr>
          <p:cNvPr id="9" name="Obrázek 8"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10" name="Obrázek 9" descr="OPTP_CZ_RO_B_C-RGB.png"/>
          <p:cNvPicPr>
            <a:picLocks noChangeAspect="1"/>
          </p:cNvPicPr>
          <p:nvPr userDrawn="1"/>
        </p:nvPicPr>
        <p:blipFill>
          <a:blip r:embed="rId3" cstate="print"/>
          <a:stretch>
            <a:fillRect/>
          </a:stretch>
        </p:blipFill>
        <p:spPr>
          <a:xfrm>
            <a:off x="3139062" y="5820258"/>
            <a:ext cx="3627875" cy="752473"/>
          </a:xfrm>
          <a:prstGeom prst="rect">
            <a:avLst/>
          </a:prstGeom>
        </p:spPr>
      </p:pic>
      <p:pic>
        <p:nvPicPr>
          <p:cNvPr id="2" name="Obrázek 1">
            <a:extLst>
              <a:ext uri="{FF2B5EF4-FFF2-40B4-BE49-F238E27FC236}">
                <a16:creationId xmlns:a16="http://schemas.microsoft.com/office/drawing/2014/main" id="{14E2E311-187D-EC12-9585-A62A4FEFD30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139063" y="5925814"/>
            <a:ext cx="3637336" cy="527424"/>
          </a:xfrm>
          <a:prstGeom prst="rect">
            <a:avLst/>
          </a:prstGeom>
        </p:spPr>
      </p:pic>
    </p:spTree>
    <p:extLst>
      <p:ext uri="{BB962C8B-B14F-4D97-AF65-F5344CB8AC3E}">
        <p14:creationId xmlns:p14="http://schemas.microsoft.com/office/powerpoint/2010/main" val="3433560964"/>
      </p:ext>
    </p:extLst>
  </p:cSld>
  <p:clrMapOvr>
    <a:masterClrMapping/>
  </p:clrMapOvr>
  <p:extLst>
    <p:ext uri="{DCECCB84-F9BA-43D5-87BE-67443E8EF086}">
      <p15:sldGuideLst xmlns:p15="http://schemas.microsoft.com/office/powerpoint/2012/main">
        <p15:guide id="1" orient="horz" pos="2211">
          <p15:clr>
            <a:srgbClr val="FBAE40"/>
          </p15:clr>
        </p15:guide>
        <p15:guide id="2" pos="383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lastní rozložení">
    <p:spTree>
      <p:nvGrpSpPr>
        <p:cNvPr id="1" name=""/>
        <p:cNvGrpSpPr/>
        <p:nvPr/>
      </p:nvGrpSpPr>
      <p:grpSpPr>
        <a:xfrm>
          <a:off x="0" y="0"/>
          <a:ext cx="0" cy="0"/>
          <a:chOff x="0" y="0"/>
          <a:chExt cx="0" cy="0"/>
        </a:xfrm>
      </p:grpSpPr>
      <p:sp>
        <p:nvSpPr>
          <p:cNvPr id="2" name="Nadpis 1"/>
          <p:cNvSpPr>
            <a:spLocks noGrp="1"/>
          </p:cNvSpPr>
          <p:nvPr>
            <p:ph type="title"/>
          </p:nvPr>
        </p:nvSpPr>
        <p:spPr>
          <a:xfrm>
            <a:off x="681126" y="364375"/>
            <a:ext cx="8543748" cy="1325704"/>
          </a:xfrm>
          <a:prstGeom prst="rect">
            <a:avLst/>
          </a:prstGeom>
        </p:spPr>
        <p:txBody>
          <a:bodyPr/>
          <a:lstStyle/>
          <a:p>
            <a:r>
              <a:rPr lang="cs-CZ"/>
              <a:t>Kliknutím lze upravit styl.</a:t>
            </a:r>
          </a:p>
        </p:txBody>
      </p:sp>
      <p:sp>
        <p:nvSpPr>
          <p:cNvPr id="3" name="Zástupný symbol pro číslo snímku 2"/>
          <p:cNvSpPr>
            <a:spLocks noGrp="1"/>
          </p:cNvSpPr>
          <p:nvPr>
            <p:ph type="sldNum" sz="quarter" idx="10"/>
          </p:nvPr>
        </p:nvSpPr>
        <p:spPr>
          <a:xfrm>
            <a:off x="3256090" y="6277081"/>
            <a:ext cx="2311400" cy="365125"/>
          </a:xfrm>
        </p:spPr>
        <p:txBody>
          <a:bodyPr/>
          <a:lstStyle/>
          <a:p>
            <a:fld id="{177AD5F7-9A70-43A8-B2E8-1F114AD105DD}" type="slidenum">
              <a:rPr lang="cs-CZ" smtClean="0"/>
              <a:pPr/>
              <a:t>‹#›</a:t>
            </a:fld>
            <a:endParaRPr lang="cs-CZ"/>
          </a:p>
        </p:txBody>
      </p:sp>
      <p:pic>
        <p:nvPicPr>
          <p:cNvPr id="4" name="Obrázek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12852" y="6031252"/>
            <a:ext cx="2889250" cy="63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3591349"/>
      </p:ext>
    </p:extLst>
  </p:cSld>
  <p:clrMapOvr>
    <a:masterClrMapping/>
  </p:clrMapOvr>
  <p:extLst>
    <p:ext uri="{DCECCB84-F9BA-43D5-87BE-67443E8EF086}">
      <p15:sldGuideLst xmlns:p15="http://schemas.microsoft.com/office/powerpoint/2012/main">
        <p15:guide id="1" orient="horz" pos="2211">
          <p15:clr>
            <a:srgbClr val="FBAE40"/>
          </p15:clr>
        </p15:guide>
        <p15:guide id="2" pos="383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Nadpis a obsah bez loga na pozadí">
    <p:bg>
      <p:bgPr>
        <a:solidFill>
          <a:schemeClr val="bg1"/>
        </a:solidFill>
        <a:effectLst/>
      </p:bgPr>
    </p:bg>
    <p:spTree>
      <p:nvGrpSpPr>
        <p:cNvPr id="1" name=""/>
        <p:cNvGrpSpPr/>
        <p:nvPr/>
      </p:nvGrpSpPr>
      <p:grpSpPr>
        <a:xfrm>
          <a:off x="0" y="0"/>
          <a:ext cx="0" cy="0"/>
          <a:chOff x="0" y="0"/>
          <a:chExt cx="0" cy="0"/>
        </a:xfrm>
      </p:grpSpPr>
      <p:sp>
        <p:nvSpPr>
          <p:cNvPr id="8" name="Nadpis 7"/>
          <p:cNvSpPr>
            <a:spLocks noGrp="1"/>
          </p:cNvSpPr>
          <p:nvPr>
            <p:ph type="title"/>
          </p:nvPr>
        </p:nvSpPr>
        <p:spPr>
          <a:xfrm>
            <a:off x="656561" y="781788"/>
            <a:ext cx="8568402" cy="691116"/>
          </a:xfrm>
          <a:prstGeom prst="rect">
            <a:avLst/>
          </a:prstGeom>
        </p:spPr>
        <p:txBody>
          <a:bodyPr/>
          <a:lstStyle/>
          <a:p>
            <a:r>
              <a:rPr lang="cs-CZ"/>
              <a:t>Kliknutím lze upravit styl.</a:t>
            </a:r>
          </a:p>
        </p:txBody>
      </p:sp>
      <p:sp>
        <p:nvSpPr>
          <p:cNvPr id="3" name="Zástupný symbol pro obsah 2"/>
          <p:cNvSpPr>
            <a:spLocks noGrp="1"/>
          </p:cNvSpPr>
          <p:nvPr>
            <p:ph idx="1"/>
          </p:nvPr>
        </p:nvSpPr>
        <p:spPr>
          <a:xfrm rot="10800000" flipV="1">
            <a:off x="656561" y="1663700"/>
            <a:ext cx="8568402" cy="4396859"/>
          </a:xfrm>
          <a:prstGeom prst="rect">
            <a:avLst/>
          </a:prstGeom>
        </p:spPr>
        <p:txBody>
          <a:bodyPr/>
          <a:lstStyle>
            <a:lvl1pPr marL="290222" indent="-290222">
              <a:defRPr/>
            </a:lvl1pPr>
            <a:lvl2pPr marL="580443" indent="-208959">
              <a:defRPr/>
            </a:lvl2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p:txBody>
          <a:bodyPr/>
          <a:lstStyle/>
          <a:p>
            <a:fld id="{A8784E01-F173-423B-BCD8-B8C3DB995DD1}" type="datetime1">
              <a:rPr lang="cs-CZ" smtClean="0"/>
              <a:t>15.09.2025</a:t>
            </a:fld>
            <a:endParaRPr lang="cs-CZ"/>
          </a:p>
        </p:txBody>
      </p:sp>
      <p:sp>
        <p:nvSpPr>
          <p:cNvPr id="5" name="Zástupný symbol pro zápatí 4"/>
          <p:cNvSpPr>
            <a:spLocks noGrp="1"/>
          </p:cNvSpPr>
          <p:nvPr>
            <p:ph type="ftr" sz="quarter" idx="11"/>
          </p:nvPr>
        </p:nvSpPr>
        <p:spPr/>
        <p:txBody>
          <a:bodyPr/>
          <a:lstStyle/>
          <a:p>
            <a:endParaRPr lang="cs-CZ"/>
          </a:p>
        </p:txBody>
      </p:sp>
      <p:sp>
        <p:nvSpPr>
          <p:cNvPr id="6" name="Zástupný symbol pro číslo snímku 5"/>
          <p:cNvSpPr>
            <a:spLocks noGrp="1"/>
          </p:cNvSpPr>
          <p:nvPr>
            <p:ph type="sldNum" sz="quarter" idx="12"/>
          </p:nvPr>
        </p:nvSpPr>
        <p:spPr>
          <a:xfrm>
            <a:off x="6996113" y="6356351"/>
            <a:ext cx="2228850" cy="365125"/>
          </a:xfrm>
          <a:prstGeom prst="rect">
            <a:avLst/>
          </a:prstGeom>
        </p:spPr>
        <p:txBody>
          <a:bodyPr/>
          <a:lstStyle>
            <a:lvl1pPr algn="r">
              <a:defRPr/>
            </a:lvl1pPr>
          </a:lstStyle>
          <a:p>
            <a:fld id="{E1FABD4B-2F30-49F8-98F3-E2840AF18AB3}" type="slidenum">
              <a:rPr lang="cs-CZ" smtClean="0"/>
              <a:pPr/>
              <a:t>‹#›</a:t>
            </a:fld>
            <a:endParaRPr lang="cs-CZ"/>
          </a:p>
        </p:txBody>
      </p:sp>
    </p:spTree>
    <p:extLst>
      <p:ext uri="{BB962C8B-B14F-4D97-AF65-F5344CB8AC3E}">
        <p14:creationId xmlns:p14="http://schemas.microsoft.com/office/powerpoint/2010/main" val="10367558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Úvodní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731346" y="4624630"/>
            <a:ext cx="6934200" cy="492317"/>
          </a:xfrm>
          <a:prstGeom prst="rect">
            <a:avLst/>
          </a:prstGeom>
        </p:spPr>
        <p:txBody>
          <a:bodyPr lIns="90000">
            <a:normAutofit/>
          </a:bodyPr>
          <a:lstStyle>
            <a:lvl1pPr marL="0" indent="0" algn="l">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a:t>
            </a:r>
          </a:p>
        </p:txBody>
      </p:sp>
      <p:sp>
        <p:nvSpPr>
          <p:cNvPr id="8" name="TextovéPole 7"/>
          <p:cNvSpPr txBox="1"/>
          <p:nvPr userDrawn="1"/>
        </p:nvSpPr>
        <p:spPr>
          <a:xfrm>
            <a:off x="731345" y="879042"/>
            <a:ext cx="3627875" cy="517514"/>
          </a:xfrm>
          <a:prstGeom prst="rect">
            <a:avLst/>
          </a:prstGeom>
          <a:noFill/>
        </p:spPr>
        <p:txBody>
          <a:bodyPr wrap="square" rtlCol="0">
            <a:spAutoFit/>
          </a:bodyPr>
          <a:lstStyle/>
          <a:p>
            <a:r>
              <a:rPr lang="cs-CZ" sz="1138" b="1"/>
              <a:t>MINISTERSTVO PRO MÍSTNÍ ROZVOJ </a:t>
            </a:r>
            <a:br>
              <a:rPr lang="cs-CZ" sz="1702" b="1"/>
            </a:br>
            <a:r>
              <a:rPr lang="cs-CZ" sz="1625" b="1"/>
              <a:t>Národní orgán pro koordinaci</a:t>
            </a:r>
          </a:p>
        </p:txBody>
      </p:sp>
      <p:sp>
        <p:nvSpPr>
          <p:cNvPr id="19" name="Nadpis 18"/>
          <p:cNvSpPr>
            <a:spLocks noGrp="1"/>
          </p:cNvSpPr>
          <p:nvPr>
            <p:ph type="title" hasCustomPrompt="1"/>
          </p:nvPr>
        </p:nvSpPr>
        <p:spPr>
          <a:xfrm>
            <a:off x="731345" y="2109699"/>
            <a:ext cx="8915400" cy="1143000"/>
          </a:xfrm>
          <a:prstGeom prst="rect">
            <a:avLst/>
          </a:prstGeom>
        </p:spPr>
        <p:txBody>
          <a:bodyPr lIns="90000">
            <a:normAutofit/>
          </a:bodyPr>
          <a:lstStyle>
            <a:lvl1pPr algn="l">
              <a:defRPr sz="3250" b="1" baseline="0">
                <a:solidFill>
                  <a:srgbClr val="034EA2"/>
                </a:solidFill>
              </a:defRPr>
            </a:lvl1pPr>
          </a:lstStyle>
          <a:p>
            <a:r>
              <a:rPr lang="cs-CZ"/>
              <a:t>Název prezentace</a:t>
            </a:r>
          </a:p>
        </p:txBody>
      </p:sp>
      <p:sp>
        <p:nvSpPr>
          <p:cNvPr id="24" name="Zástupný symbol pro text 23"/>
          <p:cNvSpPr>
            <a:spLocks noGrp="1"/>
          </p:cNvSpPr>
          <p:nvPr>
            <p:ph type="body" sz="quarter" idx="17" hasCustomPrompt="1"/>
          </p:nvPr>
        </p:nvSpPr>
        <p:spPr>
          <a:xfrm>
            <a:off x="731345" y="5327626"/>
            <a:ext cx="3744903" cy="351971"/>
          </a:xfrm>
          <a:prstGeom prst="rect">
            <a:avLst/>
          </a:prstGeom>
        </p:spPr>
        <p:txBody>
          <a:bodyPr lIns="90000" rIns="144000">
            <a:noAutofit/>
          </a:bodyPr>
          <a:lstStyle>
            <a:lvl1pPr>
              <a:buNone/>
              <a:defRPr sz="1625">
                <a:solidFill>
                  <a:srgbClr val="034EA2"/>
                </a:solidFill>
              </a:defRPr>
            </a:lvl1pPr>
          </a:lstStyle>
          <a:p>
            <a:pPr lvl="0"/>
            <a:r>
              <a:rPr lang="cs-CZ"/>
              <a:t>Datum a místo</a:t>
            </a:r>
          </a:p>
        </p:txBody>
      </p:sp>
      <p:pic>
        <p:nvPicPr>
          <p:cNvPr id="10" name="Obrázek 9"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13" name="Obrázek 12" descr="OPTP_CZ_RO_B_C-RGB.png"/>
          <p:cNvPicPr>
            <a:picLocks noChangeAspect="1"/>
          </p:cNvPicPr>
          <p:nvPr userDrawn="1"/>
        </p:nvPicPr>
        <p:blipFill>
          <a:blip r:embed="rId3" cstate="print"/>
          <a:stretch>
            <a:fillRect/>
          </a:stretch>
        </p:blipFill>
        <p:spPr>
          <a:xfrm>
            <a:off x="3139062" y="5820258"/>
            <a:ext cx="3627875" cy="752473"/>
          </a:xfrm>
          <a:prstGeom prst="rect">
            <a:avLst/>
          </a:prstGeom>
        </p:spPr>
      </p:pic>
    </p:spTree>
    <p:extLst>
      <p:ext uri="{BB962C8B-B14F-4D97-AF65-F5344CB8AC3E}">
        <p14:creationId xmlns:p14="http://schemas.microsoft.com/office/powerpoint/2010/main" val="4198131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2_Nadpis a obsah">
    <p:spTree>
      <p:nvGrpSpPr>
        <p:cNvPr id="1" name=""/>
        <p:cNvGrpSpPr/>
        <p:nvPr/>
      </p:nvGrpSpPr>
      <p:grpSpPr>
        <a:xfrm>
          <a:off x="0" y="0"/>
          <a:ext cx="0" cy="0"/>
          <a:chOff x="0" y="0"/>
          <a:chExt cx="0" cy="0"/>
        </a:xfrm>
      </p:grpSpPr>
      <p:pic>
        <p:nvPicPr>
          <p:cNvPr id="9" name="Obrázek 8" descr="OPTP_CZ_RO_B_C-RGB.png"/>
          <p:cNvPicPr>
            <a:picLocks noChangeAspect="1"/>
          </p:cNvPicPr>
          <p:nvPr userDrawn="1"/>
        </p:nvPicPr>
        <p:blipFill>
          <a:blip r:embed="rId2" cstate="print"/>
          <a:stretch>
            <a:fillRect/>
          </a:stretch>
        </p:blipFill>
        <p:spPr>
          <a:xfrm>
            <a:off x="96328" y="6166210"/>
            <a:ext cx="3238977" cy="671810"/>
          </a:xfrm>
          <a:prstGeom prst="rect">
            <a:avLst/>
          </a:prstGeom>
        </p:spPr>
      </p:pic>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sp>
        <p:nvSpPr>
          <p:cNvPr id="3" name="Zástupný symbol pro obsah 2"/>
          <p:cNvSpPr>
            <a:spLocks noGrp="1"/>
          </p:cNvSpPr>
          <p:nvPr>
            <p:ph idx="1"/>
          </p:nvPr>
        </p:nvSpPr>
        <p:spPr>
          <a:xfrm>
            <a:off x="495300" y="1600200"/>
            <a:ext cx="8915400" cy="4525963"/>
          </a:xfrm>
          <a:prstGeom prst="rect">
            <a:avLst/>
          </a:prstGeom>
        </p:spPr>
        <p:txBody>
          <a:bodyPr/>
          <a:lstStyle>
            <a:lvl1pPr>
              <a:defRPr sz="3250"/>
            </a:lvl1pPr>
            <a:lvl2pPr>
              <a:buFont typeface="Arial" pitchFamily="34" charset="0"/>
              <a:buChar char="»"/>
              <a:defRPr sz="2925"/>
            </a:lvl2pPr>
            <a:lvl4pPr>
              <a:buFont typeface="Arial" pitchFamily="34" charset="0"/>
              <a:buChar char="»"/>
              <a:defRPr/>
            </a:lvl4pPr>
            <a:lvl5pPr>
              <a:buFont typeface="Arial" pitchFamily="34" charset="0"/>
              <a:buChar char="•"/>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pic>
        <p:nvPicPr>
          <p:cNvPr id="7" name="Obráze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pic>
        <p:nvPicPr>
          <p:cNvPr id="8"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sp>
        <p:nvSpPr>
          <p:cNvPr id="11" name="Zástupný symbol pro číslo snímku 10"/>
          <p:cNvSpPr>
            <a:spLocks noGrp="1"/>
          </p:cNvSpPr>
          <p:nvPr>
            <p:ph type="sldNum" sz="quarter" idx="11"/>
          </p:nvPr>
        </p:nvSpPr>
        <p:spPr/>
        <p:txBody>
          <a:bodyPr/>
          <a:lstStyle/>
          <a:p>
            <a:fld id="{177AD5F7-9A70-43A8-B2E8-1F114AD105DD}" type="slidenum">
              <a:rPr lang="cs-CZ" smtClean="0"/>
              <a:pPr/>
              <a:t>‹#›</a:t>
            </a:fld>
            <a:endParaRPr lang="cs-CZ"/>
          </a:p>
        </p:txBody>
      </p:sp>
    </p:spTree>
    <p:extLst>
      <p:ext uri="{BB962C8B-B14F-4D97-AF65-F5344CB8AC3E}">
        <p14:creationId xmlns:p14="http://schemas.microsoft.com/office/powerpoint/2010/main" val="28602232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Předělový slide">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47413" y="2152784"/>
            <a:ext cx="8915400" cy="1143000"/>
          </a:xfrm>
          <a:prstGeom prst="rect">
            <a:avLst/>
          </a:prstGeom>
        </p:spPr>
        <p:txBody>
          <a:bodyPr>
            <a:normAutofit/>
          </a:bodyPr>
          <a:lstStyle>
            <a:lvl1pPr>
              <a:defRPr sz="4876" baseline="0">
                <a:solidFill>
                  <a:srgbClr val="034EA2"/>
                </a:solidFill>
              </a:defRPr>
            </a:lvl1pPr>
          </a:lstStyle>
          <a:p>
            <a:r>
              <a:rPr lang="cs-CZ"/>
              <a:t>Název tématu/předělu</a:t>
            </a:r>
          </a:p>
        </p:txBody>
      </p:sp>
      <p:sp>
        <p:nvSpPr>
          <p:cNvPr id="5" name="Zástupný symbol pro číslo snímku 4"/>
          <p:cNvSpPr>
            <a:spLocks noGrp="1"/>
          </p:cNvSpPr>
          <p:nvPr>
            <p:ph type="sldNum" sz="quarter" idx="12"/>
          </p:nvPr>
        </p:nvSpPr>
        <p:spPr/>
        <p:txBody>
          <a:bodyPr/>
          <a:lstStyle/>
          <a:p>
            <a:fld id="{177AD5F7-9A70-43A8-B2E8-1F114AD105DD}" type="slidenum">
              <a:rPr lang="cs-CZ" smtClean="0"/>
              <a:pPr/>
              <a:t>‹#›</a:t>
            </a:fld>
            <a:endParaRPr lang="cs-CZ"/>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209" y="3499331"/>
            <a:ext cx="6575963" cy="66983"/>
          </a:xfrm>
          <a:prstGeom prst="rect">
            <a:avLst/>
          </a:prstGeom>
        </p:spPr>
      </p:pic>
      <p:pic>
        <p:nvPicPr>
          <p:cNvPr id="9" name="Obrázek 8" descr="OPTP_CZ_RO_B_C-RGB.png"/>
          <p:cNvPicPr>
            <a:picLocks noChangeAspect="1"/>
          </p:cNvPicPr>
          <p:nvPr userDrawn="1"/>
        </p:nvPicPr>
        <p:blipFill>
          <a:blip r:embed="rId3" cstate="print"/>
          <a:stretch>
            <a:fillRect/>
          </a:stretch>
        </p:blipFill>
        <p:spPr>
          <a:xfrm>
            <a:off x="96328" y="6166210"/>
            <a:ext cx="3238977" cy="671810"/>
          </a:xfrm>
          <a:prstGeom prst="rect">
            <a:avLst/>
          </a:prstGeom>
        </p:spPr>
      </p:pic>
      <p:pic>
        <p:nvPicPr>
          <p:cNvPr id="10"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spTree>
    <p:extLst>
      <p:ext uri="{BB962C8B-B14F-4D97-AF65-F5344CB8AC3E}">
        <p14:creationId xmlns:p14="http://schemas.microsoft.com/office/powerpoint/2010/main" val="12652926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Graf">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sp>
        <p:nvSpPr>
          <p:cNvPr id="10" name="Zástupný symbol pro graf 9"/>
          <p:cNvSpPr>
            <a:spLocks noGrp="1"/>
          </p:cNvSpPr>
          <p:nvPr>
            <p:ph type="chart" sz="quarter" idx="13"/>
          </p:nvPr>
        </p:nvSpPr>
        <p:spPr>
          <a:xfrm>
            <a:off x="505685" y="1530375"/>
            <a:ext cx="8894631" cy="4290319"/>
          </a:xfrm>
          <a:prstGeom prst="rect">
            <a:avLst/>
          </a:prstGeom>
        </p:spPr>
        <p:txBody>
          <a:bodyPr/>
          <a:lstStyle/>
          <a:p>
            <a:r>
              <a:rPr lang="cs-CZ"/>
              <a:t>Kliknutím na ikonu přidáte graf.</a:t>
            </a:r>
          </a:p>
        </p:txBody>
      </p:sp>
      <p:sp>
        <p:nvSpPr>
          <p:cNvPr id="9" name="Zástupný symbol pro číslo snímku 8"/>
          <p:cNvSpPr>
            <a:spLocks noGrp="1"/>
          </p:cNvSpPr>
          <p:nvPr>
            <p:ph type="sldNum" sz="quarter" idx="14"/>
          </p:nvPr>
        </p:nvSpPr>
        <p:spPr/>
        <p:txBody>
          <a:bodyPr/>
          <a:lstStyle/>
          <a:p>
            <a:fld id="{177AD5F7-9A70-43A8-B2E8-1F114AD105DD}" type="slidenum">
              <a:rPr lang="cs-CZ" smtClean="0"/>
              <a:pPr/>
              <a:t>‹#›</a:t>
            </a:fld>
            <a:endParaRPr lang="cs-CZ"/>
          </a:p>
        </p:txBody>
      </p:sp>
      <p:pic>
        <p:nvPicPr>
          <p:cNvPr id="11" name="Obrázek 10" descr="OPTP_CZ_RO_B_C-RGB.png"/>
          <p:cNvPicPr>
            <a:picLocks noChangeAspect="1"/>
          </p:cNvPicPr>
          <p:nvPr userDrawn="1"/>
        </p:nvPicPr>
        <p:blipFill>
          <a:blip r:embed="rId3" cstate="print"/>
          <a:stretch>
            <a:fillRect/>
          </a:stretch>
        </p:blipFill>
        <p:spPr>
          <a:xfrm>
            <a:off x="96328" y="6166210"/>
            <a:ext cx="3238977" cy="671810"/>
          </a:xfrm>
          <a:prstGeom prst="rect">
            <a:avLst/>
          </a:prstGeom>
        </p:spPr>
      </p:pic>
      <p:pic>
        <p:nvPicPr>
          <p:cNvPr id="12"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spTree>
    <p:extLst>
      <p:ext uri="{BB962C8B-B14F-4D97-AF65-F5344CB8AC3E}">
        <p14:creationId xmlns:p14="http://schemas.microsoft.com/office/powerpoint/2010/main" val="2558181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abulka">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sp>
        <p:nvSpPr>
          <p:cNvPr id="15" name="Zástupný symbol pro tabulku 14"/>
          <p:cNvSpPr>
            <a:spLocks noGrp="1"/>
          </p:cNvSpPr>
          <p:nvPr>
            <p:ph type="tbl" sz="quarter" idx="13"/>
          </p:nvPr>
        </p:nvSpPr>
        <p:spPr>
          <a:xfrm>
            <a:off x="505685" y="1600149"/>
            <a:ext cx="8952681" cy="4220546"/>
          </a:xfrm>
          <a:prstGeom prst="rect">
            <a:avLst/>
          </a:prstGeom>
        </p:spPr>
        <p:txBody>
          <a:bodyPr/>
          <a:lstStyle/>
          <a:p>
            <a:r>
              <a:rPr lang="cs-CZ"/>
              <a:t>Kliknutím na ikonu přidáte tabulku.</a:t>
            </a:r>
          </a:p>
        </p:txBody>
      </p:sp>
      <p:sp>
        <p:nvSpPr>
          <p:cNvPr id="10" name="Zástupný symbol pro číslo snímku 9"/>
          <p:cNvSpPr>
            <a:spLocks noGrp="1"/>
          </p:cNvSpPr>
          <p:nvPr>
            <p:ph type="sldNum" sz="quarter" idx="15"/>
          </p:nvPr>
        </p:nvSpPr>
        <p:spPr/>
        <p:txBody>
          <a:bodyPr/>
          <a:lstStyle/>
          <a:p>
            <a:fld id="{177AD5F7-9A70-43A8-B2E8-1F114AD105DD}" type="slidenum">
              <a:rPr lang="cs-CZ" smtClean="0"/>
              <a:pPr/>
              <a:t>‹#›</a:t>
            </a:fld>
            <a:endParaRPr lang="cs-CZ"/>
          </a:p>
        </p:txBody>
      </p:sp>
      <p:pic>
        <p:nvPicPr>
          <p:cNvPr id="12" name="Obrázek 11" descr="OPTP_CZ_RO_B_C-RGB.png"/>
          <p:cNvPicPr>
            <a:picLocks noChangeAspect="1"/>
          </p:cNvPicPr>
          <p:nvPr userDrawn="1"/>
        </p:nvPicPr>
        <p:blipFill>
          <a:blip r:embed="rId3" cstate="print"/>
          <a:stretch>
            <a:fillRect/>
          </a:stretch>
        </p:blipFill>
        <p:spPr>
          <a:xfrm>
            <a:off x="96328" y="6166210"/>
            <a:ext cx="3238977" cy="671810"/>
          </a:xfrm>
          <a:prstGeom prst="rect">
            <a:avLst/>
          </a:prstGeom>
        </p:spPr>
      </p:pic>
      <p:pic>
        <p:nvPicPr>
          <p:cNvPr id="13"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spTree>
    <p:extLst>
      <p:ext uri="{BB962C8B-B14F-4D97-AF65-F5344CB8AC3E}">
        <p14:creationId xmlns:p14="http://schemas.microsoft.com/office/powerpoint/2010/main" val="5773739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Závěrečný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1500667" y="4694959"/>
            <a:ext cx="6904666" cy="984636"/>
          </a:xfrm>
          <a:prstGeom prst="rect">
            <a:avLst/>
          </a:prstGeom>
        </p:spPr>
        <p:txBody>
          <a:bodyPr lIns="90000">
            <a:normAutofit/>
          </a:bodyPr>
          <a:lstStyle>
            <a:lvl1pPr marL="0" indent="0" algn="ctr">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 a kontakt</a:t>
            </a:r>
          </a:p>
        </p:txBody>
      </p:sp>
      <p:sp>
        <p:nvSpPr>
          <p:cNvPr id="19" name="Nadpis 18"/>
          <p:cNvSpPr>
            <a:spLocks noGrp="1"/>
          </p:cNvSpPr>
          <p:nvPr>
            <p:ph type="title" hasCustomPrompt="1"/>
          </p:nvPr>
        </p:nvSpPr>
        <p:spPr>
          <a:xfrm>
            <a:off x="856568" y="2724284"/>
            <a:ext cx="8192420" cy="1197034"/>
          </a:xfrm>
          <a:prstGeom prst="rect">
            <a:avLst/>
          </a:prstGeom>
        </p:spPr>
        <p:txBody>
          <a:bodyPr lIns="90000">
            <a:normAutofit/>
          </a:bodyPr>
          <a:lstStyle>
            <a:lvl1pPr algn="ctr">
              <a:defRPr sz="4388" b="0" baseline="0">
                <a:solidFill>
                  <a:srgbClr val="034EA2"/>
                </a:solidFill>
              </a:defRPr>
            </a:lvl1pPr>
          </a:lstStyle>
          <a:p>
            <a:r>
              <a:rPr lang="cs-CZ"/>
              <a:t>Rozloučení</a:t>
            </a:r>
          </a:p>
        </p:txBody>
      </p:sp>
      <p:pic>
        <p:nvPicPr>
          <p:cNvPr id="9" name="Obrázek 8"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10" name="Obrázek 9" descr="OPTP_CZ_RO_B_C-RGB.png"/>
          <p:cNvPicPr>
            <a:picLocks noChangeAspect="1"/>
          </p:cNvPicPr>
          <p:nvPr userDrawn="1"/>
        </p:nvPicPr>
        <p:blipFill>
          <a:blip r:embed="rId3" cstate="print"/>
          <a:stretch>
            <a:fillRect/>
          </a:stretch>
        </p:blipFill>
        <p:spPr>
          <a:xfrm>
            <a:off x="3139062" y="5820258"/>
            <a:ext cx="3627875" cy="752473"/>
          </a:xfrm>
          <a:prstGeom prst="rect">
            <a:avLst/>
          </a:prstGeom>
        </p:spPr>
      </p:pic>
    </p:spTree>
    <p:extLst>
      <p:ext uri="{BB962C8B-B14F-4D97-AF65-F5344CB8AC3E}">
        <p14:creationId xmlns:p14="http://schemas.microsoft.com/office/powerpoint/2010/main" val="2203944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Úvodní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731346" y="4624630"/>
            <a:ext cx="6934200" cy="492317"/>
          </a:xfrm>
          <a:prstGeom prst="rect">
            <a:avLst/>
          </a:prstGeom>
        </p:spPr>
        <p:txBody>
          <a:bodyPr lIns="90000">
            <a:normAutofit/>
          </a:bodyPr>
          <a:lstStyle>
            <a:lvl1pPr marL="0" indent="0" algn="l">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a:t>
            </a:r>
          </a:p>
        </p:txBody>
      </p:sp>
      <p:sp>
        <p:nvSpPr>
          <p:cNvPr id="8" name="TextovéPole 7"/>
          <p:cNvSpPr txBox="1"/>
          <p:nvPr userDrawn="1"/>
        </p:nvSpPr>
        <p:spPr>
          <a:xfrm>
            <a:off x="731345" y="879042"/>
            <a:ext cx="3627875" cy="517514"/>
          </a:xfrm>
          <a:prstGeom prst="rect">
            <a:avLst/>
          </a:prstGeom>
          <a:noFill/>
        </p:spPr>
        <p:txBody>
          <a:bodyPr wrap="square" rtlCol="0">
            <a:spAutoFit/>
          </a:bodyPr>
          <a:lstStyle/>
          <a:p>
            <a:r>
              <a:rPr lang="cs-CZ" sz="1138" b="1"/>
              <a:t>MINISTERSTVO PRO MÍSTNÍ ROZVOJ </a:t>
            </a:r>
            <a:br>
              <a:rPr lang="cs-CZ" sz="1702" b="1"/>
            </a:br>
            <a:r>
              <a:rPr lang="cs-CZ" sz="1625" b="1"/>
              <a:t>Národní orgán pro koordinaci</a:t>
            </a:r>
          </a:p>
        </p:txBody>
      </p:sp>
      <p:sp>
        <p:nvSpPr>
          <p:cNvPr id="19" name="Nadpis 18"/>
          <p:cNvSpPr>
            <a:spLocks noGrp="1"/>
          </p:cNvSpPr>
          <p:nvPr>
            <p:ph type="title" hasCustomPrompt="1"/>
          </p:nvPr>
        </p:nvSpPr>
        <p:spPr>
          <a:xfrm>
            <a:off x="731345" y="2109699"/>
            <a:ext cx="8915400" cy="1143000"/>
          </a:xfrm>
          <a:prstGeom prst="rect">
            <a:avLst/>
          </a:prstGeom>
        </p:spPr>
        <p:txBody>
          <a:bodyPr lIns="90000">
            <a:normAutofit/>
          </a:bodyPr>
          <a:lstStyle>
            <a:lvl1pPr algn="l">
              <a:defRPr sz="3250" b="1" baseline="0">
                <a:solidFill>
                  <a:srgbClr val="034EA2"/>
                </a:solidFill>
              </a:defRPr>
            </a:lvl1pPr>
          </a:lstStyle>
          <a:p>
            <a:r>
              <a:rPr lang="cs-CZ"/>
              <a:t>Název prezentace</a:t>
            </a:r>
          </a:p>
        </p:txBody>
      </p:sp>
      <p:sp>
        <p:nvSpPr>
          <p:cNvPr id="24" name="Zástupný symbol pro text 23"/>
          <p:cNvSpPr>
            <a:spLocks noGrp="1"/>
          </p:cNvSpPr>
          <p:nvPr>
            <p:ph type="body" sz="quarter" idx="17" hasCustomPrompt="1"/>
          </p:nvPr>
        </p:nvSpPr>
        <p:spPr>
          <a:xfrm>
            <a:off x="731345" y="5327626"/>
            <a:ext cx="3744903" cy="351971"/>
          </a:xfrm>
          <a:prstGeom prst="rect">
            <a:avLst/>
          </a:prstGeom>
        </p:spPr>
        <p:txBody>
          <a:bodyPr lIns="90000" rIns="144000">
            <a:noAutofit/>
          </a:bodyPr>
          <a:lstStyle>
            <a:lvl1pPr>
              <a:buNone/>
              <a:defRPr sz="1625">
                <a:solidFill>
                  <a:srgbClr val="034EA2"/>
                </a:solidFill>
              </a:defRPr>
            </a:lvl1pPr>
          </a:lstStyle>
          <a:p>
            <a:pPr lvl="0"/>
            <a:r>
              <a:rPr lang="cs-CZ"/>
              <a:t>Datum a místo</a:t>
            </a:r>
          </a:p>
        </p:txBody>
      </p:sp>
      <p:pic>
        <p:nvPicPr>
          <p:cNvPr id="10" name="Obrázek 9"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4" name="Obrázek 3">
            <a:extLst>
              <a:ext uri="{FF2B5EF4-FFF2-40B4-BE49-F238E27FC236}">
                <a16:creationId xmlns:a16="http://schemas.microsoft.com/office/drawing/2014/main" id="{8D30797C-8257-17A8-0BFC-E73F7A38EB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6090" y="5957902"/>
            <a:ext cx="3393819" cy="495336"/>
          </a:xfrm>
          <a:prstGeom prst="rect">
            <a:avLst/>
          </a:prstGeom>
        </p:spPr>
      </p:pic>
    </p:spTree>
    <p:extLst>
      <p:ext uri="{BB962C8B-B14F-4D97-AF65-F5344CB8AC3E}">
        <p14:creationId xmlns:p14="http://schemas.microsoft.com/office/powerpoint/2010/main" val="3657674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Úvodní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731346" y="4624634"/>
            <a:ext cx="6934200" cy="492317"/>
          </a:xfrm>
          <a:prstGeom prst="rect">
            <a:avLst/>
          </a:prstGeom>
        </p:spPr>
        <p:txBody>
          <a:bodyPr lIns="90000">
            <a:normAutofit/>
          </a:bodyPr>
          <a:lstStyle>
            <a:lvl1pPr marL="0" indent="0" algn="l">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a:t>
            </a:r>
          </a:p>
        </p:txBody>
      </p:sp>
      <p:sp>
        <p:nvSpPr>
          <p:cNvPr id="8" name="TextovéPole 7"/>
          <p:cNvSpPr txBox="1"/>
          <p:nvPr userDrawn="1"/>
        </p:nvSpPr>
        <p:spPr>
          <a:xfrm>
            <a:off x="731347" y="879042"/>
            <a:ext cx="3627875" cy="517514"/>
          </a:xfrm>
          <a:prstGeom prst="rect">
            <a:avLst/>
          </a:prstGeom>
          <a:noFill/>
        </p:spPr>
        <p:txBody>
          <a:bodyPr wrap="square" rtlCol="0">
            <a:spAutoFit/>
          </a:bodyPr>
          <a:lstStyle/>
          <a:p>
            <a:r>
              <a:rPr lang="cs-CZ" sz="1138" b="1"/>
              <a:t>MINISTERSTVO PRO MÍSTNÍ ROZVOJ </a:t>
            </a:r>
            <a:br>
              <a:rPr lang="cs-CZ" sz="1702" b="1"/>
            </a:br>
            <a:r>
              <a:rPr lang="cs-CZ" sz="1625" b="1"/>
              <a:t>Národní orgán pro koordinaci</a:t>
            </a:r>
          </a:p>
        </p:txBody>
      </p:sp>
      <p:sp>
        <p:nvSpPr>
          <p:cNvPr id="19" name="Nadpis 18"/>
          <p:cNvSpPr>
            <a:spLocks noGrp="1"/>
          </p:cNvSpPr>
          <p:nvPr>
            <p:ph type="title" hasCustomPrompt="1"/>
          </p:nvPr>
        </p:nvSpPr>
        <p:spPr>
          <a:xfrm>
            <a:off x="731345" y="2109699"/>
            <a:ext cx="8915400" cy="1143000"/>
          </a:xfrm>
          <a:prstGeom prst="rect">
            <a:avLst/>
          </a:prstGeom>
        </p:spPr>
        <p:txBody>
          <a:bodyPr lIns="90000">
            <a:normAutofit/>
          </a:bodyPr>
          <a:lstStyle>
            <a:lvl1pPr algn="l">
              <a:defRPr sz="3250" b="1" baseline="0">
                <a:solidFill>
                  <a:srgbClr val="034EA2"/>
                </a:solidFill>
              </a:defRPr>
            </a:lvl1pPr>
          </a:lstStyle>
          <a:p>
            <a:r>
              <a:rPr lang="cs-CZ"/>
              <a:t>Název prezentace</a:t>
            </a:r>
          </a:p>
        </p:txBody>
      </p:sp>
      <p:sp>
        <p:nvSpPr>
          <p:cNvPr id="24" name="Zástupný symbol pro text 23"/>
          <p:cNvSpPr>
            <a:spLocks noGrp="1"/>
          </p:cNvSpPr>
          <p:nvPr>
            <p:ph type="body" sz="quarter" idx="17" hasCustomPrompt="1"/>
          </p:nvPr>
        </p:nvSpPr>
        <p:spPr>
          <a:xfrm>
            <a:off x="731347" y="5327630"/>
            <a:ext cx="3744903" cy="351971"/>
          </a:xfrm>
          <a:prstGeom prst="rect">
            <a:avLst/>
          </a:prstGeom>
        </p:spPr>
        <p:txBody>
          <a:bodyPr lIns="90000" rIns="144000">
            <a:noAutofit/>
          </a:bodyPr>
          <a:lstStyle>
            <a:lvl1pPr>
              <a:buNone/>
              <a:defRPr sz="1625">
                <a:solidFill>
                  <a:srgbClr val="034EA2"/>
                </a:solidFill>
              </a:defRPr>
            </a:lvl1pPr>
          </a:lstStyle>
          <a:p>
            <a:pPr lvl="0"/>
            <a:r>
              <a:rPr lang="cs-CZ"/>
              <a:t>Datum a místo</a:t>
            </a:r>
          </a:p>
        </p:txBody>
      </p:sp>
      <p:pic>
        <p:nvPicPr>
          <p:cNvPr id="10" name="Obrázek 9"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13" name="Obrázek 12" descr="OPTP_CZ_RO_B_C-RGB.png"/>
          <p:cNvPicPr>
            <a:picLocks noChangeAspect="1"/>
          </p:cNvPicPr>
          <p:nvPr userDrawn="1"/>
        </p:nvPicPr>
        <p:blipFill>
          <a:blip r:embed="rId3" cstate="print"/>
          <a:stretch>
            <a:fillRect/>
          </a:stretch>
        </p:blipFill>
        <p:spPr>
          <a:xfrm>
            <a:off x="3139064" y="5820262"/>
            <a:ext cx="3627875" cy="752473"/>
          </a:xfrm>
          <a:prstGeom prst="rect">
            <a:avLst/>
          </a:prstGeom>
        </p:spPr>
      </p:pic>
      <p:pic>
        <p:nvPicPr>
          <p:cNvPr id="2" name="Obrázek 2">
            <a:extLst>
              <a:ext uri="{FF2B5EF4-FFF2-40B4-BE49-F238E27FC236}">
                <a16:creationId xmlns:a16="http://schemas.microsoft.com/office/drawing/2014/main" id="{0009DE89-82A4-5B6C-6265-8C811955F95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144276" y="5903100"/>
            <a:ext cx="3622662" cy="586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1_Nadpis a obsah">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sp>
        <p:nvSpPr>
          <p:cNvPr id="3" name="Zástupný symbol pro obsah 2"/>
          <p:cNvSpPr>
            <a:spLocks noGrp="1"/>
          </p:cNvSpPr>
          <p:nvPr>
            <p:ph idx="1"/>
          </p:nvPr>
        </p:nvSpPr>
        <p:spPr>
          <a:xfrm>
            <a:off x="495300" y="1600200"/>
            <a:ext cx="8915400" cy="4525963"/>
          </a:xfrm>
          <a:prstGeom prst="rect">
            <a:avLst/>
          </a:prstGeom>
        </p:spPr>
        <p:txBody>
          <a:bodyPr/>
          <a:lstStyle>
            <a:lvl1pPr>
              <a:defRPr sz="3250"/>
            </a:lvl1pPr>
            <a:lvl2pPr>
              <a:buFont typeface="Arial" pitchFamily="34" charset="0"/>
              <a:buChar char="»"/>
              <a:defRPr sz="2925"/>
            </a:lvl2pPr>
            <a:lvl4pPr>
              <a:buFont typeface="Arial" pitchFamily="34" charset="0"/>
              <a:buChar char="»"/>
              <a:defRPr/>
            </a:lvl4pPr>
            <a:lvl5pPr>
              <a:buFont typeface="Arial" pitchFamily="34" charset="0"/>
              <a:buChar char="•"/>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pic>
        <p:nvPicPr>
          <p:cNvPr id="8" name="Zástupný symbol pro obsah 4"/>
          <p:cNvPicPr>
            <a:picLocks noChangeAspect="1"/>
          </p:cNvPicPr>
          <p:nvPr userDrawn="1"/>
        </p:nvPicPr>
        <p:blipFill>
          <a:blip r:embed="rId3"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sp>
        <p:nvSpPr>
          <p:cNvPr id="11" name="Zástupný symbol pro číslo snímku 10"/>
          <p:cNvSpPr>
            <a:spLocks noGrp="1"/>
          </p:cNvSpPr>
          <p:nvPr>
            <p:ph type="sldNum" sz="quarter" idx="11"/>
          </p:nvPr>
        </p:nvSpPr>
        <p:spPr/>
        <p:txBody>
          <a:bodyPr/>
          <a:lstStyle/>
          <a:p>
            <a:fld id="{177AD5F7-9A70-43A8-B2E8-1F114AD105DD}" type="slidenum">
              <a:rPr lang="cs-CZ" smtClean="0"/>
              <a:pPr/>
              <a:t>‹#›</a:t>
            </a:fld>
            <a:endParaRPr lang="cs-CZ"/>
          </a:p>
        </p:txBody>
      </p:sp>
      <p:pic>
        <p:nvPicPr>
          <p:cNvPr id="4" name="Obrázek 3">
            <a:extLst>
              <a:ext uri="{FF2B5EF4-FFF2-40B4-BE49-F238E27FC236}">
                <a16:creationId xmlns:a16="http://schemas.microsoft.com/office/drawing/2014/main" id="{50B205D1-4DFD-9710-FA26-A012822E914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13356" y="6281928"/>
            <a:ext cx="3101248" cy="452634"/>
          </a:xfrm>
          <a:prstGeom prst="rect">
            <a:avLst/>
          </a:prstGeom>
        </p:spPr>
      </p:pic>
    </p:spTree>
    <p:extLst>
      <p:ext uri="{BB962C8B-B14F-4D97-AF65-F5344CB8AC3E}">
        <p14:creationId xmlns:p14="http://schemas.microsoft.com/office/powerpoint/2010/main" val="22311222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Předělový slide">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47413" y="2152784"/>
            <a:ext cx="8915400" cy="1143000"/>
          </a:xfrm>
          <a:prstGeom prst="rect">
            <a:avLst/>
          </a:prstGeom>
        </p:spPr>
        <p:txBody>
          <a:bodyPr>
            <a:normAutofit/>
          </a:bodyPr>
          <a:lstStyle>
            <a:lvl1pPr>
              <a:defRPr sz="4876" baseline="0">
                <a:solidFill>
                  <a:srgbClr val="034EA2"/>
                </a:solidFill>
              </a:defRPr>
            </a:lvl1pPr>
          </a:lstStyle>
          <a:p>
            <a:r>
              <a:rPr lang="cs-CZ"/>
              <a:t>Název tématu/předělu</a:t>
            </a:r>
          </a:p>
        </p:txBody>
      </p:sp>
      <p:sp>
        <p:nvSpPr>
          <p:cNvPr id="5" name="Zástupný symbol pro číslo snímku 4"/>
          <p:cNvSpPr>
            <a:spLocks noGrp="1"/>
          </p:cNvSpPr>
          <p:nvPr>
            <p:ph type="sldNum" sz="quarter" idx="12"/>
          </p:nvPr>
        </p:nvSpPr>
        <p:spPr/>
        <p:txBody>
          <a:bodyPr/>
          <a:lstStyle/>
          <a:p>
            <a:fld id="{177AD5F7-9A70-43A8-B2E8-1F114AD105DD}" type="slidenum">
              <a:rPr lang="cs-CZ" smtClean="0"/>
              <a:pPr/>
              <a:t>‹#›</a:t>
            </a:fld>
            <a:endParaRPr lang="cs-CZ"/>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209" y="3499331"/>
            <a:ext cx="6575963" cy="66983"/>
          </a:xfrm>
          <a:prstGeom prst="rect">
            <a:avLst/>
          </a:prstGeom>
        </p:spPr>
      </p:pic>
      <p:pic>
        <p:nvPicPr>
          <p:cNvPr id="10" name="Zástupný symbol pro obsah 4"/>
          <p:cNvPicPr>
            <a:picLocks noChangeAspect="1"/>
          </p:cNvPicPr>
          <p:nvPr userDrawn="1"/>
        </p:nvPicPr>
        <p:blipFill>
          <a:blip r:embed="rId3"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pic>
        <p:nvPicPr>
          <p:cNvPr id="3" name="Obrázek 2">
            <a:extLst>
              <a:ext uri="{FF2B5EF4-FFF2-40B4-BE49-F238E27FC236}">
                <a16:creationId xmlns:a16="http://schemas.microsoft.com/office/drawing/2014/main" id="{12FD1362-D13D-5273-472B-E08E8B76EF8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13356" y="6281928"/>
            <a:ext cx="3101248" cy="452634"/>
          </a:xfrm>
          <a:prstGeom prst="rect">
            <a:avLst/>
          </a:prstGeom>
        </p:spPr>
      </p:pic>
    </p:spTree>
    <p:extLst>
      <p:ext uri="{BB962C8B-B14F-4D97-AF65-F5344CB8AC3E}">
        <p14:creationId xmlns:p14="http://schemas.microsoft.com/office/powerpoint/2010/main" val="10953891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Graf">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sp>
        <p:nvSpPr>
          <p:cNvPr id="10" name="Zástupný symbol pro graf 9"/>
          <p:cNvSpPr>
            <a:spLocks noGrp="1"/>
          </p:cNvSpPr>
          <p:nvPr>
            <p:ph type="chart" sz="quarter" idx="13"/>
          </p:nvPr>
        </p:nvSpPr>
        <p:spPr>
          <a:xfrm>
            <a:off x="505685" y="1530375"/>
            <a:ext cx="8894631" cy="4290319"/>
          </a:xfrm>
          <a:prstGeom prst="rect">
            <a:avLst/>
          </a:prstGeom>
        </p:spPr>
        <p:txBody>
          <a:bodyPr/>
          <a:lstStyle/>
          <a:p>
            <a:r>
              <a:rPr lang="cs-CZ"/>
              <a:t>Kliknutím na ikonu přidáte graf.</a:t>
            </a:r>
          </a:p>
        </p:txBody>
      </p:sp>
      <p:sp>
        <p:nvSpPr>
          <p:cNvPr id="9" name="Zástupný symbol pro číslo snímku 8"/>
          <p:cNvSpPr>
            <a:spLocks noGrp="1"/>
          </p:cNvSpPr>
          <p:nvPr>
            <p:ph type="sldNum" sz="quarter" idx="14"/>
          </p:nvPr>
        </p:nvSpPr>
        <p:spPr/>
        <p:txBody>
          <a:bodyPr/>
          <a:lstStyle/>
          <a:p>
            <a:fld id="{177AD5F7-9A70-43A8-B2E8-1F114AD105DD}" type="slidenum">
              <a:rPr lang="cs-CZ" smtClean="0"/>
              <a:pPr/>
              <a:t>‹#›</a:t>
            </a:fld>
            <a:endParaRPr lang="cs-CZ"/>
          </a:p>
        </p:txBody>
      </p:sp>
      <p:pic>
        <p:nvPicPr>
          <p:cNvPr id="12" name="Zástupný symbol pro obsah 4"/>
          <p:cNvPicPr>
            <a:picLocks noChangeAspect="1"/>
          </p:cNvPicPr>
          <p:nvPr userDrawn="1"/>
        </p:nvPicPr>
        <p:blipFill>
          <a:blip r:embed="rId3"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pic>
        <p:nvPicPr>
          <p:cNvPr id="3" name="Obrázek 2">
            <a:extLst>
              <a:ext uri="{FF2B5EF4-FFF2-40B4-BE49-F238E27FC236}">
                <a16:creationId xmlns:a16="http://schemas.microsoft.com/office/drawing/2014/main" id="{3A325D44-3D7A-D327-C2D3-7A7DC0D94FC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13356" y="6281928"/>
            <a:ext cx="3101248" cy="452634"/>
          </a:xfrm>
          <a:prstGeom prst="rect">
            <a:avLst/>
          </a:prstGeom>
        </p:spPr>
      </p:pic>
    </p:spTree>
    <p:extLst>
      <p:ext uri="{BB962C8B-B14F-4D97-AF65-F5344CB8AC3E}">
        <p14:creationId xmlns:p14="http://schemas.microsoft.com/office/powerpoint/2010/main" val="26959604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abulka">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sp>
        <p:nvSpPr>
          <p:cNvPr id="15" name="Zástupný symbol pro tabulku 14"/>
          <p:cNvSpPr>
            <a:spLocks noGrp="1"/>
          </p:cNvSpPr>
          <p:nvPr>
            <p:ph type="tbl" sz="quarter" idx="13"/>
          </p:nvPr>
        </p:nvSpPr>
        <p:spPr>
          <a:xfrm>
            <a:off x="505685" y="1600149"/>
            <a:ext cx="8952681" cy="4220546"/>
          </a:xfrm>
          <a:prstGeom prst="rect">
            <a:avLst/>
          </a:prstGeom>
        </p:spPr>
        <p:txBody>
          <a:bodyPr/>
          <a:lstStyle/>
          <a:p>
            <a:r>
              <a:rPr lang="cs-CZ"/>
              <a:t>Kliknutím na ikonu přidáte tabulku.</a:t>
            </a:r>
          </a:p>
        </p:txBody>
      </p:sp>
      <p:sp>
        <p:nvSpPr>
          <p:cNvPr id="10" name="Zástupný symbol pro číslo snímku 9"/>
          <p:cNvSpPr>
            <a:spLocks noGrp="1"/>
          </p:cNvSpPr>
          <p:nvPr>
            <p:ph type="sldNum" sz="quarter" idx="15"/>
          </p:nvPr>
        </p:nvSpPr>
        <p:spPr/>
        <p:txBody>
          <a:bodyPr/>
          <a:lstStyle/>
          <a:p>
            <a:fld id="{177AD5F7-9A70-43A8-B2E8-1F114AD105DD}" type="slidenum">
              <a:rPr lang="cs-CZ" smtClean="0"/>
              <a:pPr/>
              <a:t>‹#›</a:t>
            </a:fld>
            <a:endParaRPr lang="cs-CZ"/>
          </a:p>
        </p:txBody>
      </p:sp>
      <p:pic>
        <p:nvPicPr>
          <p:cNvPr id="13" name="Zástupný symbol pro obsah 4"/>
          <p:cNvPicPr>
            <a:picLocks noChangeAspect="1"/>
          </p:cNvPicPr>
          <p:nvPr userDrawn="1"/>
        </p:nvPicPr>
        <p:blipFill>
          <a:blip r:embed="rId3" cstate="print">
            <a:extLst>
              <a:ext uri="{28A0092B-C50C-407E-A947-70E740481C1C}">
                <a14:useLocalDpi xmlns:a14="http://schemas.microsoft.com/office/drawing/2010/main" val="0"/>
              </a:ext>
            </a:extLst>
          </a:blip>
          <a:srcRect l="34060"/>
          <a:stretch>
            <a:fillRect/>
          </a:stretch>
        </p:blipFill>
        <p:spPr>
          <a:xfrm>
            <a:off x="3373119" y="6173223"/>
            <a:ext cx="6532882" cy="684777"/>
          </a:xfrm>
          <a:prstGeom prst="rect">
            <a:avLst/>
          </a:prstGeom>
        </p:spPr>
      </p:pic>
      <p:pic>
        <p:nvPicPr>
          <p:cNvPr id="3" name="Obrázek 2">
            <a:extLst>
              <a:ext uri="{FF2B5EF4-FFF2-40B4-BE49-F238E27FC236}">
                <a16:creationId xmlns:a16="http://schemas.microsoft.com/office/drawing/2014/main" id="{CB23DC84-C0E6-B2A3-F2D8-5A3A7607DA1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13356" y="6281928"/>
            <a:ext cx="3101248" cy="452634"/>
          </a:xfrm>
          <a:prstGeom prst="rect">
            <a:avLst/>
          </a:prstGeom>
        </p:spPr>
      </p:pic>
    </p:spTree>
    <p:extLst>
      <p:ext uri="{BB962C8B-B14F-4D97-AF65-F5344CB8AC3E}">
        <p14:creationId xmlns:p14="http://schemas.microsoft.com/office/powerpoint/2010/main" val="5015540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Závěrečný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1500667" y="4694959"/>
            <a:ext cx="6904666" cy="984636"/>
          </a:xfrm>
          <a:prstGeom prst="rect">
            <a:avLst/>
          </a:prstGeom>
        </p:spPr>
        <p:txBody>
          <a:bodyPr lIns="90000">
            <a:normAutofit/>
          </a:bodyPr>
          <a:lstStyle>
            <a:lvl1pPr marL="0" indent="0" algn="ctr">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 a kontakt</a:t>
            </a:r>
          </a:p>
        </p:txBody>
      </p:sp>
      <p:sp>
        <p:nvSpPr>
          <p:cNvPr id="19" name="Nadpis 18"/>
          <p:cNvSpPr>
            <a:spLocks noGrp="1"/>
          </p:cNvSpPr>
          <p:nvPr>
            <p:ph type="title" hasCustomPrompt="1"/>
          </p:nvPr>
        </p:nvSpPr>
        <p:spPr>
          <a:xfrm>
            <a:off x="856568" y="2724284"/>
            <a:ext cx="8192420" cy="1197034"/>
          </a:xfrm>
          <a:prstGeom prst="rect">
            <a:avLst/>
          </a:prstGeom>
        </p:spPr>
        <p:txBody>
          <a:bodyPr lIns="90000">
            <a:normAutofit/>
          </a:bodyPr>
          <a:lstStyle>
            <a:lvl1pPr algn="ctr">
              <a:defRPr sz="4388" b="0" baseline="0">
                <a:solidFill>
                  <a:srgbClr val="034EA2"/>
                </a:solidFill>
              </a:defRPr>
            </a:lvl1pPr>
          </a:lstStyle>
          <a:p>
            <a:r>
              <a:rPr lang="cs-CZ"/>
              <a:t>Rozloučení</a:t>
            </a:r>
          </a:p>
        </p:txBody>
      </p:sp>
      <p:pic>
        <p:nvPicPr>
          <p:cNvPr id="9" name="Obrázek 8"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2" name="Obrázek 1">
            <a:extLst>
              <a:ext uri="{FF2B5EF4-FFF2-40B4-BE49-F238E27FC236}">
                <a16:creationId xmlns:a16="http://schemas.microsoft.com/office/drawing/2014/main" id="{5472BD0D-5C1B-9818-48C5-55813848D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6090" y="5957902"/>
            <a:ext cx="3393819" cy="495336"/>
          </a:xfrm>
          <a:prstGeom prst="rect">
            <a:avLst/>
          </a:prstGeom>
        </p:spPr>
      </p:pic>
    </p:spTree>
    <p:extLst>
      <p:ext uri="{BB962C8B-B14F-4D97-AF65-F5344CB8AC3E}">
        <p14:creationId xmlns:p14="http://schemas.microsoft.com/office/powerpoint/2010/main" val="11472634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Úvodní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731346" y="4624630"/>
            <a:ext cx="6934200" cy="492317"/>
          </a:xfrm>
          <a:prstGeom prst="rect">
            <a:avLst/>
          </a:prstGeom>
        </p:spPr>
        <p:txBody>
          <a:bodyPr lIns="90000">
            <a:normAutofit/>
          </a:bodyPr>
          <a:lstStyle>
            <a:lvl1pPr marL="0" indent="0" algn="l">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a:t>
            </a:r>
          </a:p>
        </p:txBody>
      </p:sp>
      <p:sp>
        <p:nvSpPr>
          <p:cNvPr id="8" name="TextovéPole 7"/>
          <p:cNvSpPr txBox="1"/>
          <p:nvPr userDrawn="1"/>
        </p:nvSpPr>
        <p:spPr>
          <a:xfrm>
            <a:off x="731345" y="879041"/>
            <a:ext cx="3627875" cy="267446"/>
          </a:xfrm>
          <a:prstGeom prst="rect">
            <a:avLst/>
          </a:prstGeom>
          <a:noFill/>
        </p:spPr>
        <p:txBody>
          <a:bodyPr wrap="square" rtlCol="0">
            <a:spAutoFit/>
          </a:bodyPr>
          <a:lstStyle/>
          <a:p>
            <a:r>
              <a:rPr lang="cs-CZ" sz="1138" b="1"/>
              <a:t>MINISTERSTVO PRO MÍSTNÍ ROZVOJ </a:t>
            </a:r>
            <a:endParaRPr lang="cs-CZ" sz="1625" b="1"/>
          </a:p>
        </p:txBody>
      </p:sp>
      <p:sp>
        <p:nvSpPr>
          <p:cNvPr id="19" name="Nadpis 18"/>
          <p:cNvSpPr>
            <a:spLocks noGrp="1"/>
          </p:cNvSpPr>
          <p:nvPr>
            <p:ph type="title" hasCustomPrompt="1"/>
          </p:nvPr>
        </p:nvSpPr>
        <p:spPr>
          <a:xfrm>
            <a:off x="731345" y="2109699"/>
            <a:ext cx="8915400" cy="1143000"/>
          </a:xfrm>
          <a:prstGeom prst="rect">
            <a:avLst/>
          </a:prstGeom>
        </p:spPr>
        <p:txBody>
          <a:bodyPr lIns="90000">
            <a:normAutofit/>
          </a:bodyPr>
          <a:lstStyle>
            <a:lvl1pPr algn="l">
              <a:defRPr sz="3250" b="1" baseline="0">
                <a:solidFill>
                  <a:srgbClr val="034EA2"/>
                </a:solidFill>
              </a:defRPr>
            </a:lvl1pPr>
          </a:lstStyle>
          <a:p>
            <a:r>
              <a:rPr lang="cs-CZ"/>
              <a:t>Název prezentace</a:t>
            </a:r>
          </a:p>
        </p:txBody>
      </p:sp>
      <p:sp>
        <p:nvSpPr>
          <p:cNvPr id="24" name="Zástupný symbol pro text 23"/>
          <p:cNvSpPr>
            <a:spLocks noGrp="1"/>
          </p:cNvSpPr>
          <p:nvPr>
            <p:ph type="body" sz="quarter" idx="17" hasCustomPrompt="1"/>
          </p:nvPr>
        </p:nvSpPr>
        <p:spPr>
          <a:xfrm>
            <a:off x="731345" y="5327626"/>
            <a:ext cx="3744903" cy="351971"/>
          </a:xfrm>
          <a:prstGeom prst="rect">
            <a:avLst/>
          </a:prstGeom>
        </p:spPr>
        <p:txBody>
          <a:bodyPr lIns="90000" rIns="144000">
            <a:noAutofit/>
          </a:bodyPr>
          <a:lstStyle>
            <a:lvl1pPr>
              <a:buNone/>
              <a:defRPr sz="1625">
                <a:solidFill>
                  <a:srgbClr val="034EA2"/>
                </a:solidFill>
              </a:defRPr>
            </a:lvl1pPr>
          </a:lstStyle>
          <a:p>
            <a:pPr lvl="0"/>
            <a:r>
              <a:rPr lang="cs-CZ"/>
              <a:t>Datum a místo</a:t>
            </a:r>
          </a:p>
        </p:txBody>
      </p:sp>
      <p:pic>
        <p:nvPicPr>
          <p:cNvPr id="10" name="Obrázek 9" descr="roh-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75429" y="0"/>
            <a:ext cx="3730572" cy="4483966"/>
          </a:xfrm>
          <a:prstGeom prst="rect">
            <a:avLst/>
          </a:prstGeom>
        </p:spPr>
      </p:pic>
      <p:pic>
        <p:nvPicPr>
          <p:cNvPr id="13" name="Obrázek 12" descr="OPTP_CZ_RO_B_C-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39062" y="5820258"/>
            <a:ext cx="3627875" cy="752473"/>
          </a:xfrm>
          <a:prstGeom prst="rect">
            <a:avLst/>
          </a:prstGeom>
        </p:spPr>
      </p:pic>
    </p:spTree>
    <p:extLst>
      <p:ext uri="{BB962C8B-B14F-4D97-AF65-F5344CB8AC3E}">
        <p14:creationId xmlns:p14="http://schemas.microsoft.com/office/powerpoint/2010/main" val="23306038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3_Nadpis a obsah">
    <p:spTree>
      <p:nvGrpSpPr>
        <p:cNvPr id="1" name=""/>
        <p:cNvGrpSpPr/>
        <p:nvPr/>
      </p:nvGrpSpPr>
      <p:grpSpPr>
        <a:xfrm>
          <a:off x="0" y="0"/>
          <a:ext cx="0" cy="0"/>
          <a:chOff x="0" y="0"/>
          <a:chExt cx="0" cy="0"/>
        </a:xfrm>
      </p:grpSpPr>
      <p:pic>
        <p:nvPicPr>
          <p:cNvPr id="9" name="Obrázek 8" descr="OPTP_CZ_RO_B_C-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328" y="6166210"/>
            <a:ext cx="3238977" cy="671810"/>
          </a:xfrm>
          <a:prstGeom prst="rect">
            <a:avLst/>
          </a:prstGeom>
        </p:spPr>
      </p:pic>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sp>
        <p:nvSpPr>
          <p:cNvPr id="3" name="Zástupný symbol pro obsah 2"/>
          <p:cNvSpPr>
            <a:spLocks noGrp="1"/>
          </p:cNvSpPr>
          <p:nvPr>
            <p:ph idx="1"/>
          </p:nvPr>
        </p:nvSpPr>
        <p:spPr>
          <a:xfrm>
            <a:off x="495300" y="1600200"/>
            <a:ext cx="8915400" cy="4525963"/>
          </a:xfrm>
          <a:prstGeom prst="rect">
            <a:avLst/>
          </a:prstGeom>
        </p:spPr>
        <p:txBody>
          <a:bodyPr/>
          <a:lstStyle>
            <a:lvl1pPr>
              <a:defRPr sz="3250"/>
            </a:lvl1pPr>
            <a:lvl2pPr>
              <a:buFont typeface="Arial" pitchFamily="34" charset="0"/>
              <a:buChar char="»"/>
              <a:defRPr sz="2925"/>
            </a:lvl2pPr>
            <a:lvl4pPr>
              <a:buFont typeface="Arial" pitchFamily="34" charset="0"/>
              <a:buChar char="»"/>
              <a:defRPr/>
            </a:lvl4pPr>
            <a:lvl5pPr>
              <a:buFont typeface="Arial" pitchFamily="34" charset="0"/>
              <a:buChar char="•"/>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pic>
        <p:nvPicPr>
          <p:cNvPr id="7" name="Obrázek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1212168"/>
            <a:ext cx="9920724" cy="100946"/>
          </a:xfrm>
          <a:prstGeom prst="rect">
            <a:avLst/>
          </a:prstGeom>
        </p:spPr>
      </p:pic>
      <p:pic>
        <p:nvPicPr>
          <p:cNvPr id="8" name="Zástupný symbol pro obsah 4"/>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3373119" y="6173223"/>
            <a:ext cx="6532882" cy="684777"/>
          </a:xfrm>
          <a:prstGeom prst="rect">
            <a:avLst/>
          </a:prstGeom>
        </p:spPr>
      </p:pic>
      <p:sp>
        <p:nvSpPr>
          <p:cNvPr id="11" name="Zástupný symbol pro číslo snímku 10"/>
          <p:cNvSpPr>
            <a:spLocks noGrp="1"/>
          </p:cNvSpPr>
          <p:nvPr>
            <p:ph type="sldNum" sz="quarter" idx="11"/>
          </p:nvPr>
        </p:nvSpPr>
        <p:spPr/>
        <p:txBody>
          <a:bodyPr/>
          <a:lstStyle/>
          <a:p>
            <a:fld id="{177AD5F7-9A70-43A8-B2E8-1F114AD105DD}" type="slidenum">
              <a:rPr lang="cs-CZ" smtClean="0"/>
              <a:pPr/>
              <a:t>‹#›</a:t>
            </a:fld>
            <a:endParaRPr lang="cs-CZ"/>
          </a:p>
        </p:txBody>
      </p:sp>
    </p:spTree>
    <p:extLst>
      <p:ext uri="{BB962C8B-B14F-4D97-AF65-F5344CB8AC3E}">
        <p14:creationId xmlns:p14="http://schemas.microsoft.com/office/powerpoint/2010/main" val="5634371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Předělový slide">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47413" y="2152784"/>
            <a:ext cx="8915400" cy="1143000"/>
          </a:xfrm>
          <a:prstGeom prst="rect">
            <a:avLst/>
          </a:prstGeom>
        </p:spPr>
        <p:txBody>
          <a:bodyPr>
            <a:normAutofit/>
          </a:bodyPr>
          <a:lstStyle>
            <a:lvl1pPr>
              <a:defRPr sz="4876" baseline="0">
                <a:solidFill>
                  <a:srgbClr val="034EA2"/>
                </a:solidFill>
              </a:defRPr>
            </a:lvl1pPr>
          </a:lstStyle>
          <a:p>
            <a:r>
              <a:rPr lang="cs-CZ"/>
              <a:t>Název tématu/předělu</a:t>
            </a:r>
          </a:p>
        </p:txBody>
      </p:sp>
      <p:sp>
        <p:nvSpPr>
          <p:cNvPr id="5" name="Zástupný symbol pro číslo snímku 4"/>
          <p:cNvSpPr>
            <a:spLocks noGrp="1"/>
          </p:cNvSpPr>
          <p:nvPr>
            <p:ph type="sldNum" sz="quarter" idx="12"/>
          </p:nvPr>
        </p:nvSpPr>
        <p:spPr/>
        <p:txBody>
          <a:bodyPr/>
          <a:lstStyle/>
          <a:p>
            <a:fld id="{177AD5F7-9A70-43A8-B2E8-1F114AD105DD}" type="slidenum">
              <a:rPr lang="cs-CZ" smtClean="0"/>
              <a:pPr/>
              <a:t>‹#›</a:t>
            </a:fld>
            <a:endParaRPr lang="cs-CZ"/>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209" y="3499331"/>
            <a:ext cx="6575963" cy="66983"/>
          </a:xfrm>
          <a:prstGeom prst="rect">
            <a:avLst/>
          </a:prstGeom>
        </p:spPr>
      </p:pic>
      <p:pic>
        <p:nvPicPr>
          <p:cNvPr id="9" name="Obrázek 8" descr="OPTP_CZ_RO_B_C-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6328" y="6166210"/>
            <a:ext cx="3238977" cy="671810"/>
          </a:xfrm>
          <a:prstGeom prst="rect">
            <a:avLst/>
          </a:prstGeom>
        </p:spPr>
      </p:pic>
      <p:pic>
        <p:nvPicPr>
          <p:cNvPr id="10" name="Zástupný symbol pro obsah 4"/>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3373119" y="6166210"/>
            <a:ext cx="6532882" cy="684777"/>
          </a:xfrm>
          <a:prstGeom prst="rect">
            <a:avLst/>
          </a:prstGeom>
        </p:spPr>
      </p:pic>
    </p:spTree>
    <p:extLst>
      <p:ext uri="{BB962C8B-B14F-4D97-AF65-F5344CB8AC3E}">
        <p14:creationId xmlns:p14="http://schemas.microsoft.com/office/powerpoint/2010/main" val="25802198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Graf">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212168"/>
            <a:ext cx="9920724" cy="100946"/>
          </a:xfrm>
          <a:prstGeom prst="rect">
            <a:avLst/>
          </a:prstGeom>
        </p:spPr>
      </p:pic>
      <p:sp>
        <p:nvSpPr>
          <p:cNvPr id="10" name="Zástupný symbol pro graf 9"/>
          <p:cNvSpPr>
            <a:spLocks noGrp="1"/>
          </p:cNvSpPr>
          <p:nvPr>
            <p:ph type="chart" sz="quarter" idx="13"/>
          </p:nvPr>
        </p:nvSpPr>
        <p:spPr>
          <a:xfrm>
            <a:off x="505685" y="1530375"/>
            <a:ext cx="8894631" cy="4290319"/>
          </a:xfrm>
          <a:prstGeom prst="rect">
            <a:avLst/>
          </a:prstGeom>
        </p:spPr>
        <p:txBody>
          <a:bodyPr/>
          <a:lstStyle/>
          <a:p>
            <a:r>
              <a:rPr lang="cs-CZ"/>
              <a:t>Kliknutím na ikonu přidáte graf.</a:t>
            </a:r>
          </a:p>
        </p:txBody>
      </p:sp>
      <p:sp>
        <p:nvSpPr>
          <p:cNvPr id="9" name="Zástupný symbol pro číslo snímku 8"/>
          <p:cNvSpPr>
            <a:spLocks noGrp="1"/>
          </p:cNvSpPr>
          <p:nvPr>
            <p:ph type="sldNum" sz="quarter" idx="14"/>
          </p:nvPr>
        </p:nvSpPr>
        <p:spPr/>
        <p:txBody>
          <a:bodyPr/>
          <a:lstStyle/>
          <a:p>
            <a:fld id="{177AD5F7-9A70-43A8-B2E8-1F114AD105DD}" type="slidenum">
              <a:rPr lang="cs-CZ" smtClean="0"/>
              <a:pPr/>
              <a:t>‹#›</a:t>
            </a:fld>
            <a:endParaRPr lang="cs-CZ"/>
          </a:p>
        </p:txBody>
      </p:sp>
      <p:pic>
        <p:nvPicPr>
          <p:cNvPr id="11" name="Obrázek 10" descr="OPTP_CZ_RO_B_C-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6328" y="6166210"/>
            <a:ext cx="3238977" cy="671810"/>
          </a:xfrm>
          <a:prstGeom prst="rect">
            <a:avLst/>
          </a:prstGeom>
        </p:spPr>
      </p:pic>
      <p:pic>
        <p:nvPicPr>
          <p:cNvPr id="12" name="Zástupný symbol pro obsah 4"/>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3373119" y="6173223"/>
            <a:ext cx="6532882" cy="684777"/>
          </a:xfrm>
          <a:prstGeom prst="rect">
            <a:avLst/>
          </a:prstGeom>
        </p:spPr>
      </p:pic>
    </p:spTree>
    <p:extLst>
      <p:ext uri="{BB962C8B-B14F-4D97-AF65-F5344CB8AC3E}">
        <p14:creationId xmlns:p14="http://schemas.microsoft.com/office/powerpoint/2010/main" val="26229774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abulka">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39"/>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212168"/>
            <a:ext cx="9920724" cy="100946"/>
          </a:xfrm>
          <a:prstGeom prst="rect">
            <a:avLst/>
          </a:prstGeom>
        </p:spPr>
      </p:pic>
      <p:sp>
        <p:nvSpPr>
          <p:cNvPr id="15" name="Zástupný symbol pro tabulku 14"/>
          <p:cNvSpPr>
            <a:spLocks noGrp="1"/>
          </p:cNvSpPr>
          <p:nvPr>
            <p:ph type="tbl" sz="quarter" idx="13"/>
          </p:nvPr>
        </p:nvSpPr>
        <p:spPr>
          <a:xfrm>
            <a:off x="505685" y="1600149"/>
            <a:ext cx="8952681" cy="4220546"/>
          </a:xfrm>
          <a:prstGeom prst="rect">
            <a:avLst/>
          </a:prstGeom>
        </p:spPr>
        <p:txBody>
          <a:bodyPr/>
          <a:lstStyle/>
          <a:p>
            <a:r>
              <a:rPr lang="cs-CZ"/>
              <a:t>Kliknutím na ikonu přidáte tabulku.</a:t>
            </a:r>
          </a:p>
        </p:txBody>
      </p:sp>
      <p:sp>
        <p:nvSpPr>
          <p:cNvPr id="10" name="Zástupný symbol pro číslo snímku 9"/>
          <p:cNvSpPr>
            <a:spLocks noGrp="1"/>
          </p:cNvSpPr>
          <p:nvPr>
            <p:ph type="sldNum" sz="quarter" idx="15"/>
          </p:nvPr>
        </p:nvSpPr>
        <p:spPr/>
        <p:txBody>
          <a:bodyPr/>
          <a:lstStyle/>
          <a:p>
            <a:fld id="{177AD5F7-9A70-43A8-B2E8-1F114AD105DD}" type="slidenum">
              <a:rPr lang="cs-CZ" smtClean="0"/>
              <a:pPr/>
              <a:t>‹#›</a:t>
            </a:fld>
            <a:endParaRPr lang="cs-CZ"/>
          </a:p>
        </p:txBody>
      </p:sp>
      <p:pic>
        <p:nvPicPr>
          <p:cNvPr id="12" name="Obrázek 11" descr="OPTP_CZ_RO_B_C-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6328" y="6166210"/>
            <a:ext cx="3238977" cy="671810"/>
          </a:xfrm>
          <a:prstGeom prst="rect">
            <a:avLst/>
          </a:prstGeom>
        </p:spPr>
      </p:pic>
      <p:pic>
        <p:nvPicPr>
          <p:cNvPr id="13" name="Zástupný symbol pro obsah 4"/>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3373119" y="6173223"/>
            <a:ext cx="6532882" cy="684777"/>
          </a:xfrm>
          <a:prstGeom prst="rect">
            <a:avLst/>
          </a:prstGeom>
        </p:spPr>
      </p:pic>
    </p:spTree>
    <p:extLst>
      <p:ext uri="{BB962C8B-B14F-4D97-AF65-F5344CB8AC3E}">
        <p14:creationId xmlns:p14="http://schemas.microsoft.com/office/powerpoint/2010/main" val="42347380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pic>
        <p:nvPicPr>
          <p:cNvPr id="9" name="Obrázek 8" descr="OPTP_CZ_RO_B_C-RGB.png"/>
          <p:cNvPicPr>
            <a:picLocks noChangeAspect="1"/>
          </p:cNvPicPr>
          <p:nvPr userDrawn="1"/>
        </p:nvPicPr>
        <p:blipFill>
          <a:blip r:embed="rId2" cstate="print"/>
          <a:stretch>
            <a:fillRect/>
          </a:stretch>
        </p:blipFill>
        <p:spPr>
          <a:xfrm>
            <a:off x="96330" y="6166210"/>
            <a:ext cx="3238977" cy="671810"/>
          </a:xfrm>
          <a:prstGeom prst="rect">
            <a:avLst/>
          </a:prstGeom>
        </p:spPr>
      </p:pic>
      <p:sp>
        <p:nvSpPr>
          <p:cNvPr id="2" name="Nadpis 1"/>
          <p:cNvSpPr>
            <a:spLocks noGrp="1"/>
          </p:cNvSpPr>
          <p:nvPr>
            <p:ph type="title" hasCustomPrompt="1"/>
          </p:nvPr>
        </p:nvSpPr>
        <p:spPr>
          <a:xfrm>
            <a:off x="495300" y="274643"/>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sp>
        <p:nvSpPr>
          <p:cNvPr id="3" name="Zástupný symbol pro obsah 2"/>
          <p:cNvSpPr>
            <a:spLocks noGrp="1"/>
          </p:cNvSpPr>
          <p:nvPr>
            <p:ph idx="1"/>
          </p:nvPr>
        </p:nvSpPr>
        <p:spPr>
          <a:xfrm>
            <a:off x="495300" y="1600204"/>
            <a:ext cx="8915400" cy="4525963"/>
          </a:xfrm>
          <a:prstGeom prst="rect">
            <a:avLst/>
          </a:prstGeom>
        </p:spPr>
        <p:txBody>
          <a:bodyPr/>
          <a:lstStyle>
            <a:lvl1pPr>
              <a:defRPr sz="3250"/>
            </a:lvl1pPr>
            <a:lvl2pPr>
              <a:buFont typeface="Arial" pitchFamily="34" charset="0"/>
              <a:buChar char="»"/>
              <a:defRPr sz="2925"/>
            </a:lvl2pPr>
            <a:lvl4pPr>
              <a:buFont typeface="Arial" pitchFamily="34" charset="0"/>
              <a:buChar char="»"/>
              <a:defRPr/>
            </a:lvl4pPr>
            <a:lvl5pPr>
              <a:buFont typeface="Arial" pitchFamily="34" charset="0"/>
              <a:buChar char="•"/>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pic>
        <p:nvPicPr>
          <p:cNvPr id="7" name="Obráze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pic>
        <p:nvPicPr>
          <p:cNvPr id="8"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7"/>
            <a:ext cx="6532882" cy="684777"/>
          </a:xfrm>
          <a:prstGeom prst="rect">
            <a:avLst/>
          </a:prstGeom>
        </p:spPr>
      </p:pic>
      <p:sp>
        <p:nvSpPr>
          <p:cNvPr id="11" name="Zástupný symbol pro číslo snímku 10"/>
          <p:cNvSpPr>
            <a:spLocks noGrp="1"/>
          </p:cNvSpPr>
          <p:nvPr>
            <p:ph type="sldNum" sz="quarter" idx="11"/>
          </p:nvPr>
        </p:nvSpPr>
        <p:spPr/>
        <p:txBody>
          <a:bodyPr/>
          <a:lstStyle/>
          <a:p>
            <a:fld id="{177AD5F7-9A70-43A8-B2E8-1F114AD105DD}" type="slidenum">
              <a:rPr lang="cs-CZ" smtClean="0"/>
              <a:pPr/>
              <a:t>‹#›</a:t>
            </a:fld>
            <a:endParaRPr lang="cs-CZ"/>
          </a:p>
        </p:txBody>
      </p:sp>
      <p:pic>
        <p:nvPicPr>
          <p:cNvPr id="4" name="Obrázek 2">
            <a:extLst>
              <a:ext uri="{FF2B5EF4-FFF2-40B4-BE49-F238E27FC236}">
                <a16:creationId xmlns:a16="http://schemas.microsoft.com/office/drawing/2014/main" id="{2B947094-70FC-F9EC-0FD4-CE14F34F381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6329" y="6265562"/>
            <a:ext cx="3276790" cy="530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Závěrečný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1500667" y="4694959"/>
            <a:ext cx="6904666" cy="984636"/>
          </a:xfrm>
          <a:prstGeom prst="rect">
            <a:avLst/>
          </a:prstGeom>
        </p:spPr>
        <p:txBody>
          <a:bodyPr lIns="90000">
            <a:normAutofit/>
          </a:bodyPr>
          <a:lstStyle>
            <a:lvl1pPr marL="0" indent="0" algn="ctr">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 a kontakt</a:t>
            </a:r>
          </a:p>
        </p:txBody>
      </p:sp>
      <p:sp>
        <p:nvSpPr>
          <p:cNvPr id="19" name="Nadpis 18"/>
          <p:cNvSpPr>
            <a:spLocks noGrp="1"/>
          </p:cNvSpPr>
          <p:nvPr>
            <p:ph type="title" hasCustomPrompt="1"/>
          </p:nvPr>
        </p:nvSpPr>
        <p:spPr>
          <a:xfrm>
            <a:off x="856568" y="2724284"/>
            <a:ext cx="8192420" cy="1197034"/>
          </a:xfrm>
          <a:prstGeom prst="rect">
            <a:avLst/>
          </a:prstGeom>
        </p:spPr>
        <p:txBody>
          <a:bodyPr lIns="90000">
            <a:normAutofit/>
          </a:bodyPr>
          <a:lstStyle>
            <a:lvl1pPr algn="ctr">
              <a:defRPr sz="4388" b="0" baseline="0">
                <a:solidFill>
                  <a:srgbClr val="034EA2"/>
                </a:solidFill>
              </a:defRPr>
            </a:lvl1pPr>
          </a:lstStyle>
          <a:p>
            <a:r>
              <a:rPr lang="cs-CZ"/>
              <a:t>Rozloučení</a:t>
            </a:r>
          </a:p>
        </p:txBody>
      </p:sp>
      <p:pic>
        <p:nvPicPr>
          <p:cNvPr id="9" name="Obrázek 8" descr="roh-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75429" y="0"/>
            <a:ext cx="3730572" cy="4483966"/>
          </a:xfrm>
          <a:prstGeom prst="rect">
            <a:avLst/>
          </a:prstGeom>
        </p:spPr>
      </p:pic>
      <p:pic>
        <p:nvPicPr>
          <p:cNvPr id="10" name="Obrázek 9" descr="OPTP_CZ_RO_B_C-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39062" y="5820258"/>
            <a:ext cx="3627875" cy="752473"/>
          </a:xfrm>
          <a:prstGeom prst="rect">
            <a:avLst/>
          </a:prstGeom>
        </p:spPr>
      </p:pic>
    </p:spTree>
    <p:extLst>
      <p:ext uri="{BB962C8B-B14F-4D97-AF65-F5344CB8AC3E}">
        <p14:creationId xmlns:p14="http://schemas.microsoft.com/office/powerpoint/2010/main" val="18957677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Vlastní rozložení">
    <p:spTree>
      <p:nvGrpSpPr>
        <p:cNvPr id="1" name=""/>
        <p:cNvGrpSpPr/>
        <p:nvPr/>
      </p:nvGrpSpPr>
      <p:grpSpPr>
        <a:xfrm>
          <a:off x="0" y="0"/>
          <a:ext cx="0" cy="0"/>
          <a:chOff x="0" y="0"/>
          <a:chExt cx="0" cy="0"/>
        </a:xfrm>
      </p:grpSpPr>
      <p:sp>
        <p:nvSpPr>
          <p:cNvPr id="2" name="Nadpis 1"/>
          <p:cNvSpPr>
            <a:spLocks noGrp="1"/>
          </p:cNvSpPr>
          <p:nvPr>
            <p:ph type="title"/>
          </p:nvPr>
        </p:nvSpPr>
        <p:spPr>
          <a:xfrm>
            <a:off x="681126" y="364375"/>
            <a:ext cx="8543748" cy="1325704"/>
          </a:xfrm>
          <a:prstGeom prst="rect">
            <a:avLst/>
          </a:prstGeom>
        </p:spPr>
        <p:txBody>
          <a:bodyPr/>
          <a:lstStyle/>
          <a:p>
            <a:r>
              <a:rPr lang="cs-CZ"/>
              <a:t>Kliknutím lze upravit styl.</a:t>
            </a:r>
          </a:p>
        </p:txBody>
      </p:sp>
      <p:sp>
        <p:nvSpPr>
          <p:cNvPr id="3" name="Zástupný symbol pro číslo snímku 2"/>
          <p:cNvSpPr>
            <a:spLocks noGrp="1"/>
          </p:cNvSpPr>
          <p:nvPr>
            <p:ph type="sldNum" sz="quarter" idx="10"/>
          </p:nvPr>
        </p:nvSpPr>
        <p:spPr>
          <a:xfrm>
            <a:off x="3256090" y="6277081"/>
            <a:ext cx="2311400" cy="365125"/>
          </a:xfrm>
        </p:spPr>
        <p:txBody>
          <a:bodyPr/>
          <a:lstStyle/>
          <a:p>
            <a:fld id="{177AD5F7-9A70-43A8-B2E8-1F114AD105DD}" type="slidenum">
              <a:rPr lang="cs-CZ" smtClean="0"/>
              <a:pPr/>
              <a:t>‹#›</a:t>
            </a:fld>
            <a:endParaRPr lang="cs-CZ"/>
          </a:p>
        </p:txBody>
      </p:sp>
      <p:pic>
        <p:nvPicPr>
          <p:cNvPr id="4" name="Obrázek 8"/>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12852" y="6031252"/>
            <a:ext cx="2889250" cy="63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95292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Předělový slide">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47413" y="2152784"/>
            <a:ext cx="8915400" cy="1143000"/>
          </a:xfrm>
          <a:prstGeom prst="rect">
            <a:avLst/>
          </a:prstGeom>
        </p:spPr>
        <p:txBody>
          <a:bodyPr>
            <a:normAutofit/>
          </a:bodyPr>
          <a:lstStyle>
            <a:lvl1pPr>
              <a:defRPr sz="4876" baseline="0">
                <a:solidFill>
                  <a:srgbClr val="034EA2"/>
                </a:solidFill>
              </a:defRPr>
            </a:lvl1pPr>
          </a:lstStyle>
          <a:p>
            <a:r>
              <a:rPr lang="cs-CZ"/>
              <a:t>Název tématu/předělu</a:t>
            </a:r>
          </a:p>
        </p:txBody>
      </p:sp>
      <p:sp>
        <p:nvSpPr>
          <p:cNvPr id="5" name="Zástupný symbol pro číslo snímku 4"/>
          <p:cNvSpPr>
            <a:spLocks noGrp="1"/>
          </p:cNvSpPr>
          <p:nvPr>
            <p:ph type="sldNum" sz="quarter" idx="12"/>
          </p:nvPr>
        </p:nvSpPr>
        <p:spPr/>
        <p:txBody>
          <a:bodyPr/>
          <a:lstStyle/>
          <a:p>
            <a:fld id="{177AD5F7-9A70-43A8-B2E8-1F114AD105DD}" type="slidenum">
              <a:rPr lang="cs-CZ" smtClean="0"/>
              <a:pPr/>
              <a:t>‹#›</a:t>
            </a:fld>
            <a:endParaRPr lang="cs-CZ"/>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209" y="3499331"/>
            <a:ext cx="6575963" cy="66983"/>
          </a:xfrm>
          <a:prstGeom prst="rect">
            <a:avLst/>
          </a:prstGeom>
        </p:spPr>
      </p:pic>
      <p:pic>
        <p:nvPicPr>
          <p:cNvPr id="9" name="Obrázek 8" descr="OPTP_CZ_RO_B_C-RGB.png"/>
          <p:cNvPicPr>
            <a:picLocks noChangeAspect="1"/>
          </p:cNvPicPr>
          <p:nvPr userDrawn="1"/>
        </p:nvPicPr>
        <p:blipFill>
          <a:blip r:embed="rId3" cstate="print"/>
          <a:stretch>
            <a:fillRect/>
          </a:stretch>
        </p:blipFill>
        <p:spPr>
          <a:xfrm>
            <a:off x="96328" y="6166210"/>
            <a:ext cx="3238977" cy="671810"/>
          </a:xfrm>
          <a:prstGeom prst="rect">
            <a:avLst/>
          </a:prstGeom>
        </p:spPr>
      </p:pic>
      <p:pic>
        <p:nvPicPr>
          <p:cNvPr id="10"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66210"/>
            <a:ext cx="6532882" cy="684777"/>
          </a:xfrm>
          <a:prstGeom prst="rect">
            <a:avLst/>
          </a:prstGeom>
        </p:spPr>
      </p:pic>
    </p:spTree>
    <p:extLst>
      <p:ext uri="{BB962C8B-B14F-4D97-AF65-F5344CB8AC3E}">
        <p14:creationId xmlns:p14="http://schemas.microsoft.com/office/powerpoint/2010/main" val="16519194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Úvodní list">
    <p:spTree>
      <p:nvGrpSpPr>
        <p:cNvPr id="1" name=""/>
        <p:cNvGrpSpPr/>
        <p:nvPr/>
      </p:nvGrpSpPr>
      <p:grpSpPr>
        <a:xfrm>
          <a:off x="0" y="0"/>
          <a:ext cx="0" cy="0"/>
          <a:chOff x="0" y="0"/>
          <a:chExt cx="0" cy="0"/>
        </a:xfrm>
      </p:grpSpPr>
      <p:pic>
        <p:nvPicPr>
          <p:cNvPr id="15" name="Obrázek 14" descr="roh-01.png"/>
          <p:cNvPicPr>
            <a:picLocks noChangeAspect="1"/>
          </p:cNvPicPr>
          <p:nvPr userDrawn="1"/>
        </p:nvPicPr>
        <p:blipFill>
          <a:blip r:embed="rId2" cstate="print"/>
          <a:stretch>
            <a:fillRect/>
          </a:stretch>
        </p:blipFill>
        <p:spPr>
          <a:xfrm>
            <a:off x="6175433" y="1"/>
            <a:ext cx="3730572" cy="3362975"/>
          </a:xfrm>
          <a:prstGeom prst="rect">
            <a:avLst/>
          </a:prstGeom>
        </p:spPr>
      </p:pic>
      <p:sp>
        <p:nvSpPr>
          <p:cNvPr id="10" name="Podnadpis 2"/>
          <p:cNvSpPr>
            <a:spLocks noGrp="1"/>
          </p:cNvSpPr>
          <p:nvPr>
            <p:ph type="subTitle" idx="1" hasCustomPrompt="1"/>
          </p:nvPr>
        </p:nvSpPr>
        <p:spPr>
          <a:xfrm>
            <a:off x="731345" y="4821408"/>
            <a:ext cx="6934200" cy="369238"/>
          </a:xfrm>
          <a:prstGeom prst="rect">
            <a:avLst/>
          </a:prstGeom>
        </p:spPr>
        <p:txBody>
          <a:bodyPr lIns="74961">
            <a:normAutofit/>
          </a:bodyPr>
          <a:lstStyle>
            <a:lvl1pPr marL="0" indent="0" algn="l">
              <a:buNone/>
              <a:defRPr sz="2300" baseline="0">
                <a:solidFill>
                  <a:srgbClr val="000099"/>
                </a:solidFill>
                <a:latin typeface="Arial" panose="020B0604020202020204" pitchFamily="34" charset="0"/>
                <a:cs typeface="Arial" panose="020B0604020202020204" pitchFamily="34" charset="0"/>
              </a:defRPr>
            </a:lvl1pPr>
            <a:lvl2pPr marL="512026" indent="0" algn="ctr">
              <a:buNone/>
              <a:defRPr>
                <a:solidFill>
                  <a:schemeClr val="tx1">
                    <a:tint val="75000"/>
                  </a:schemeClr>
                </a:solidFill>
              </a:defRPr>
            </a:lvl2pPr>
            <a:lvl3pPr marL="1024052" indent="0" algn="ctr">
              <a:buNone/>
              <a:defRPr>
                <a:solidFill>
                  <a:schemeClr val="tx1">
                    <a:tint val="75000"/>
                  </a:schemeClr>
                </a:solidFill>
              </a:defRPr>
            </a:lvl3pPr>
            <a:lvl4pPr marL="1536078" indent="0" algn="ctr">
              <a:buNone/>
              <a:defRPr>
                <a:solidFill>
                  <a:schemeClr val="tx1">
                    <a:tint val="75000"/>
                  </a:schemeClr>
                </a:solidFill>
              </a:defRPr>
            </a:lvl4pPr>
            <a:lvl5pPr marL="2048104" indent="0" algn="ctr">
              <a:buNone/>
              <a:defRPr>
                <a:solidFill>
                  <a:schemeClr val="tx1">
                    <a:tint val="75000"/>
                  </a:schemeClr>
                </a:solidFill>
              </a:defRPr>
            </a:lvl5pPr>
            <a:lvl6pPr marL="2560131" indent="0" algn="ctr">
              <a:buNone/>
              <a:defRPr>
                <a:solidFill>
                  <a:schemeClr val="tx1">
                    <a:tint val="75000"/>
                  </a:schemeClr>
                </a:solidFill>
              </a:defRPr>
            </a:lvl6pPr>
            <a:lvl7pPr marL="3072157" indent="0" algn="ctr">
              <a:buNone/>
              <a:defRPr>
                <a:solidFill>
                  <a:schemeClr val="tx1">
                    <a:tint val="75000"/>
                  </a:schemeClr>
                </a:solidFill>
              </a:defRPr>
            </a:lvl7pPr>
            <a:lvl8pPr marL="3584184" indent="0" algn="ctr">
              <a:buNone/>
              <a:defRPr>
                <a:solidFill>
                  <a:schemeClr val="tx1">
                    <a:tint val="75000"/>
                  </a:schemeClr>
                </a:solidFill>
              </a:defRPr>
            </a:lvl8pPr>
            <a:lvl9pPr marL="4096210" indent="0" algn="ctr">
              <a:buNone/>
              <a:defRPr>
                <a:solidFill>
                  <a:schemeClr val="tx1">
                    <a:tint val="75000"/>
                  </a:schemeClr>
                </a:solidFill>
              </a:defRPr>
            </a:lvl9pPr>
          </a:lstStyle>
          <a:p>
            <a:r>
              <a:rPr lang="cs-CZ"/>
              <a:t>Jméno autora/autorů</a:t>
            </a:r>
          </a:p>
        </p:txBody>
      </p:sp>
      <p:sp>
        <p:nvSpPr>
          <p:cNvPr id="11" name="TextovéPole 10"/>
          <p:cNvSpPr txBox="1"/>
          <p:nvPr userDrawn="1"/>
        </p:nvSpPr>
        <p:spPr>
          <a:xfrm>
            <a:off x="848374" y="625311"/>
            <a:ext cx="3627875" cy="261570"/>
          </a:xfrm>
          <a:prstGeom prst="rect">
            <a:avLst/>
          </a:prstGeom>
          <a:noFill/>
        </p:spPr>
        <p:txBody>
          <a:bodyPr wrap="square" lIns="76160" tIns="38080" rIns="76160" bIns="38080" rtlCol="0">
            <a:spAutoFit/>
          </a:bodyPr>
          <a:lstStyle/>
          <a:p>
            <a:r>
              <a:rPr lang="cs-CZ" sz="1200" b="1"/>
              <a:t>Výbor pro regionální politiku</a:t>
            </a:r>
          </a:p>
        </p:txBody>
      </p:sp>
      <p:sp>
        <p:nvSpPr>
          <p:cNvPr id="12" name="Nadpis 18"/>
          <p:cNvSpPr>
            <a:spLocks noGrp="1"/>
          </p:cNvSpPr>
          <p:nvPr>
            <p:ph type="title" hasCustomPrompt="1"/>
          </p:nvPr>
        </p:nvSpPr>
        <p:spPr>
          <a:xfrm>
            <a:off x="584515" y="2138813"/>
            <a:ext cx="8044079" cy="857250"/>
          </a:xfrm>
          <a:prstGeom prst="rect">
            <a:avLst/>
          </a:prstGeom>
        </p:spPr>
        <p:txBody>
          <a:bodyPr lIns="74961">
            <a:normAutofit/>
          </a:bodyPr>
          <a:lstStyle>
            <a:lvl1pPr algn="l">
              <a:defRPr sz="4500" b="1" baseline="0">
                <a:solidFill>
                  <a:srgbClr val="000099"/>
                </a:solidFill>
                <a:latin typeface="Arial" panose="020B0604020202020204" pitchFamily="34" charset="0"/>
                <a:cs typeface="Arial" panose="020B0604020202020204" pitchFamily="34" charset="0"/>
              </a:defRPr>
            </a:lvl1pPr>
          </a:lstStyle>
          <a:p>
            <a:r>
              <a:rPr lang="cs-CZ"/>
              <a:t>Název prezentace</a:t>
            </a:r>
          </a:p>
        </p:txBody>
      </p:sp>
      <p:sp>
        <p:nvSpPr>
          <p:cNvPr id="13" name="Zástupný symbol pro text 23"/>
          <p:cNvSpPr>
            <a:spLocks noGrp="1"/>
          </p:cNvSpPr>
          <p:nvPr>
            <p:ph type="body" sz="quarter" idx="17" hasCustomPrompt="1"/>
          </p:nvPr>
        </p:nvSpPr>
        <p:spPr>
          <a:xfrm>
            <a:off x="731345" y="5348655"/>
            <a:ext cx="3744904" cy="263978"/>
          </a:xfrm>
          <a:prstGeom prst="rect">
            <a:avLst/>
          </a:prstGeom>
        </p:spPr>
        <p:txBody>
          <a:bodyPr lIns="74961" rIns="119938">
            <a:noAutofit/>
          </a:bodyPr>
          <a:lstStyle>
            <a:lvl1pPr>
              <a:buNone/>
              <a:defRPr sz="1700">
                <a:solidFill>
                  <a:srgbClr val="000099"/>
                </a:solidFill>
                <a:latin typeface="Arial" panose="020B0604020202020204" pitchFamily="34" charset="0"/>
                <a:cs typeface="Arial" panose="020B0604020202020204" pitchFamily="34" charset="0"/>
              </a:defRPr>
            </a:lvl1pPr>
          </a:lstStyle>
          <a:p>
            <a:pPr lvl="0"/>
            <a:r>
              <a:rPr lang="cs-CZ"/>
              <a:t>Datum a místo</a:t>
            </a:r>
          </a:p>
        </p:txBody>
      </p:sp>
    </p:spTree>
    <p:extLst>
      <p:ext uri="{BB962C8B-B14F-4D97-AF65-F5344CB8AC3E}">
        <p14:creationId xmlns:p14="http://schemas.microsoft.com/office/powerpoint/2010/main" val="37715587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9" name="Obrázek 8">
            <a:extLst>
              <a:ext uri="{FF2B5EF4-FFF2-40B4-BE49-F238E27FC236}">
                <a16:creationId xmlns:a16="http://schemas.microsoft.com/office/drawing/2014/main" id="{012608DD-A10F-9341-B07D-2ABEBF137D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2" name="Nadpis 1">
            <a:extLst>
              <a:ext uri="{FF2B5EF4-FFF2-40B4-BE49-F238E27FC236}">
                <a16:creationId xmlns:a16="http://schemas.microsoft.com/office/drawing/2014/main" id="{E4004641-2C47-CD45-9A0F-053D76126F8C}"/>
              </a:ext>
            </a:extLst>
          </p:cNvPr>
          <p:cNvSpPr>
            <a:spLocks noGrp="1"/>
          </p:cNvSpPr>
          <p:nvPr>
            <p:ph type="ctrTitle" hasCustomPrompt="1"/>
          </p:nvPr>
        </p:nvSpPr>
        <p:spPr>
          <a:xfrm>
            <a:off x="630837" y="3404286"/>
            <a:ext cx="5757863" cy="802136"/>
          </a:xfrm>
        </p:spPr>
        <p:txBody>
          <a:bodyPr anchor="b">
            <a:normAutofit/>
          </a:bodyPr>
          <a:lstStyle>
            <a:lvl1pPr algn="l">
              <a:defRPr sz="3900" b="1">
                <a:solidFill>
                  <a:schemeClr val="bg1"/>
                </a:solidFill>
              </a:defRPr>
            </a:lvl1pPr>
          </a:lstStyle>
          <a:p>
            <a:r>
              <a:rPr lang="cs-CZ"/>
              <a:t>NÁZEV PREZENTACE</a:t>
            </a:r>
          </a:p>
        </p:txBody>
      </p:sp>
      <p:sp>
        <p:nvSpPr>
          <p:cNvPr id="3" name="Podnadpis 2">
            <a:extLst>
              <a:ext uri="{FF2B5EF4-FFF2-40B4-BE49-F238E27FC236}">
                <a16:creationId xmlns:a16="http://schemas.microsoft.com/office/drawing/2014/main" id="{538C5AB9-CB21-1A48-BC38-3E0D745A9A8F}"/>
              </a:ext>
            </a:extLst>
          </p:cNvPr>
          <p:cNvSpPr>
            <a:spLocks noGrp="1"/>
          </p:cNvSpPr>
          <p:nvPr>
            <p:ph type="subTitle" idx="1" hasCustomPrompt="1"/>
          </p:nvPr>
        </p:nvSpPr>
        <p:spPr>
          <a:xfrm>
            <a:off x="630837" y="4206423"/>
            <a:ext cx="5757863" cy="365125"/>
          </a:xfrm>
        </p:spPr>
        <p:txBody>
          <a:bodyPr/>
          <a:lstStyle>
            <a:lvl1pPr marL="0" indent="0" algn="l">
              <a:buNone/>
              <a:defRPr sz="1950">
                <a:solidFill>
                  <a:schemeClr val="bg1"/>
                </a:solidFill>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cs-CZ"/>
              <a:t>Podnadpis prezentace</a:t>
            </a:r>
          </a:p>
        </p:txBody>
      </p:sp>
      <p:sp>
        <p:nvSpPr>
          <p:cNvPr id="14" name="Zástupný text 13">
            <a:extLst>
              <a:ext uri="{FF2B5EF4-FFF2-40B4-BE49-F238E27FC236}">
                <a16:creationId xmlns:a16="http://schemas.microsoft.com/office/drawing/2014/main" id="{C25FB5CD-2165-0E44-AA3F-BBFF3CEA7DDE}"/>
              </a:ext>
            </a:extLst>
          </p:cNvPr>
          <p:cNvSpPr>
            <a:spLocks noGrp="1"/>
          </p:cNvSpPr>
          <p:nvPr>
            <p:ph type="body" sz="quarter" idx="13" hasCustomPrompt="1"/>
          </p:nvPr>
        </p:nvSpPr>
        <p:spPr>
          <a:xfrm>
            <a:off x="631061" y="4601364"/>
            <a:ext cx="5757863" cy="365126"/>
          </a:xfrm>
        </p:spPr>
        <p:txBody>
          <a:bodyPr>
            <a:normAutofit/>
          </a:bodyPr>
          <a:lstStyle>
            <a:lvl1pPr marL="0" marR="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sz="1950">
                <a:solidFill>
                  <a:schemeClr val="bg1"/>
                </a:solidFill>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cs-CZ"/>
              <a:t>Datum</a:t>
            </a:r>
          </a:p>
        </p:txBody>
      </p:sp>
    </p:spTree>
    <p:extLst>
      <p:ext uri="{BB962C8B-B14F-4D97-AF65-F5344CB8AC3E}">
        <p14:creationId xmlns:p14="http://schemas.microsoft.com/office/powerpoint/2010/main" val="11916121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lastní rozložení">
    <p:spTree>
      <p:nvGrpSpPr>
        <p:cNvPr id="1" name=""/>
        <p:cNvGrpSpPr/>
        <p:nvPr/>
      </p:nvGrpSpPr>
      <p:grpSpPr>
        <a:xfrm>
          <a:off x="0" y="0"/>
          <a:ext cx="0" cy="0"/>
          <a:chOff x="0" y="0"/>
          <a:chExt cx="0" cy="0"/>
        </a:xfrm>
      </p:grpSpPr>
      <p:sp>
        <p:nvSpPr>
          <p:cNvPr id="3" name="Zástupný symbol pro text 7">
            <a:extLst>
              <a:ext uri="{FF2B5EF4-FFF2-40B4-BE49-F238E27FC236}">
                <a16:creationId xmlns:a16="http://schemas.microsoft.com/office/drawing/2014/main" id="{8048A536-9DD8-C247-8463-801A1A07AC8B}"/>
              </a:ext>
            </a:extLst>
          </p:cNvPr>
          <p:cNvSpPr>
            <a:spLocks noGrp="1"/>
          </p:cNvSpPr>
          <p:nvPr>
            <p:ph type="body" sz="quarter" idx="11" hasCustomPrompt="1"/>
          </p:nvPr>
        </p:nvSpPr>
        <p:spPr>
          <a:xfrm>
            <a:off x="572781" y="2282998"/>
            <a:ext cx="5477967" cy="627063"/>
          </a:xfrm>
          <a:prstGeom prst="rect">
            <a:avLst/>
          </a:prstGeom>
        </p:spPr>
        <p:txBody>
          <a:bodyPr/>
          <a:lstStyle>
            <a:lvl1pPr marL="0" indent="0">
              <a:buNone/>
              <a:defRPr sz="3575" b="1" i="0" baseline="0">
                <a:solidFill>
                  <a:srgbClr val="FB5271"/>
                </a:solidFill>
                <a:latin typeface="Arial" panose="020B0604020202020204" pitchFamily="34" charset="0"/>
              </a:defRPr>
            </a:lvl1pPr>
          </a:lstStyle>
          <a:p>
            <a:r>
              <a:rPr lang="cs-CZ"/>
              <a:t>Nadpis </a:t>
            </a:r>
            <a:r>
              <a:rPr lang="cs-CZ" err="1"/>
              <a:t>powerpointové</a:t>
            </a:r>
            <a:endParaRPr lang="cs-CZ"/>
          </a:p>
        </p:txBody>
      </p:sp>
      <p:sp>
        <p:nvSpPr>
          <p:cNvPr id="4" name="Zástupný symbol pro text 9">
            <a:extLst>
              <a:ext uri="{FF2B5EF4-FFF2-40B4-BE49-F238E27FC236}">
                <a16:creationId xmlns:a16="http://schemas.microsoft.com/office/drawing/2014/main" id="{61F771AA-E39D-1B4D-AA9A-F5C641369F94}"/>
              </a:ext>
            </a:extLst>
          </p:cNvPr>
          <p:cNvSpPr>
            <a:spLocks noGrp="1"/>
          </p:cNvSpPr>
          <p:nvPr>
            <p:ph type="body" sz="quarter" idx="15" hasCustomPrompt="1"/>
          </p:nvPr>
        </p:nvSpPr>
        <p:spPr>
          <a:xfrm>
            <a:off x="559792" y="2854742"/>
            <a:ext cx="5516662" cy="1162050"/>
          </a:xfrm>
          <a:prstGeom prst="rect">
            <a:avLst/>
          </a:prstGeom>
        </p:spPr>
        <p:txBody>
          <a:bodyPr/>
          <a:lstStyle>
            <a:lvl1pPr marL="0" indent="0">
              <a:lnSpc>
                <a:spcPct val="90000"/>
              </a:lnSpc>
              <a:buNone/>
              <a:defRPr sz="3575" b="1" i="0" baseline="0">
                <a:solidFill>
                  <a:schemeClr val="bg1"/>
                </a:solidFill>
                <a:latin typeface="Arial" panose="020B0604020202020204" pitchFamily="34" charset="0"/>
              </a:defRPr>
            </a:lvl1pPr>
          </a:lstStyle>
          <a:p>
            <a:r>
              <a:rPr lang="cs-CZ"/>
              <a:t>prezentace ve třech řádcích</a:t>
            </a:r>
          </a:p>
        </p:txBody>
      </p:sp>
    </p:spTree>
    <p:extLst>
      <p:ext uri="{BB962C8B-B14F-4D97-AF65-F5344CB8AC3E}">
        <p14:creationId xmlns:p14="http://schemas.microsoft.com/office/powerpoint/2010/main" val="13060212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lastní rozložení">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4188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4" name="Obrázek 6">
            <a:extLst>
              <a:ext uri="{FF2B5EF4-FFF2-40B4-BE49-F238E27FC236}">
                <a16:creationId xmlns:a16="http://schemas.microsoft.com/office/drawing/2014/main" id="{A528A3CB-3CD1-4DCF-92D5-CB71E8E9D8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80" y="0"/>
            <a:ext cx="9900841"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Obrázek 7">
            <a:extLst>
              <a:ext uri="{FF2B5EF4-FFF2-40B4-BE49-F238E27FC236}">
                <a16:creationId xmlns:a16="http://schemas.microsoft.com/office/drawing/2014/main" id="{15FF70DD-E960-4969-AAB9-BF42AE93528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2704" y="519116"/>
            <a:ext cx="2003127"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3">
            <a:extLst>
              <a:ext uri="{FF2B5EF4-FFF2-40B4-BE49-F238E27FC236}">
                <a16:creationId xmlns:a16="http://schemas.microsoft.com/office/drawing/2014/main" id="{E766330B-0A94-4F14-A83C-23A5806E25C1}"/>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170" y="714375"/>
            <a:ext cx="1533625"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Nadpis 1"/>
          <p:cNvSpPr>
            <a:spLocks noGrp="1"/>
          </p:cNvSpPr>
          <p:nvPr>
            <p:ph type="ctrTitle"/>
          </p:nvPr>
        </p:nvSpPr>
        <p:spPr>
          <a:xfrm>
            <a:off x="1238250" y="2943227"/>
            <a:ext cx="7429500" cy="1681160"/>
          </a:xfrm>
        </p:spPr>
        <p:txBody>
          <a:bodyPr>
            <a:noAutofit/>
          </a:bodyPr>
          <a:lstStyle>
            <a:lvl1pPr algn="ctr">
              <a:defRPr b="1" baseline="0">
                <a:solidFill>
                  <a:schemeClr val="accent5">
                    <a:lumMod val="75000"/>
                  </a:schemeClr>
                </a:solidFill>
                <a:latin typeface="Arial" panose="020B0604020202020204" pitchFamily="34" charset="0"/>
                <a:cs typeface="Arial" panose="020B0604020202020204" pitchFamily="34" charset="0"/>
              </a:defRPr>
            </a:lvl1pPr>
          </a:lstStyle>
          <a:p>
            <a:r>
              <a:rPr lang="cs-CZ"/>
              <a:t>Kliknutím lze upravit styl.</a:t>
            </a:r>
          </a:p>
        </p:txBody>
      </p:sp>
      <p:sp>
        <p:nvSpPr>
          <p:cNvPr id="10" name="Podnadpis 2"/>
          <p:cNvSpPr>
            <a:spLocks noGrp="1"/>
          </p:cNvSpPr>
          <p:nvPr>
            <p:ph type="subTitle" idx="1"/>
          </p:nvPr>
        </p:nvSpPr>
        <p:spPr>
          <a:xfrm>
            <a:off x="1238250" y="5014921"/>
            <a:ext cx="7429500" cy="968641"/>
          </a:xfrm>
        </p:spPr>
        <p:txBody>
          <a:bodyPr>
            <a:noAutofit/>
          </a:bodyPr>
          <a:lstStyle>
            <a:lvl1pPr marL="0" indent="0" algn="ctr">
              <a:buNone/>
              <a:defRPr sz="2438" baseline="0">
                <a:solidFill>
                  <a:schemeClr val="accent5">
                    <a:lumMod val="75000"/>
                  </a:schemeClr>
                </a:solidFill>
                <a:latin typeface="Arial" panose="020B0604020202020204" pitchFamily="34" charset="0"/>
                <a:cs typeface="Arial" panose="020B0604020202020204" pitchFamily="34" charset="0"/>
              </a:defRPr>
            </a:lvl1pPr>
          </a:lstStyle>
          <a:p>
            <a:r>
              <a:rPr lang="cs-CZ"/>
              <a:t>Kliknutím můžete upravit styl předlohy.</a:t>
            </a:r>
          </a:p>
        </p:txBody>
      </p:sp>
    </p:spTree>
    <p:extLst>
      <p:ext uri="{BB962C8B-B14F-4D97-AF65-F5344CB8AC3E}">
        <p14:creationId xmlns:p14="http://schemas.microsoft.com/office/powerpoint/2010/main" val="1167187071"/>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Úvodní snímek">
    <p:spTree>
      <p:nvGrpSpPr>
        <p:cNvPr id="1" name=""/>
        <p:cNvGrpSpPr/>
        <p:nvPr/>
      </p:nvGrpSpPr>
      <p:grpSpPr>
        <a:xfrm>
          <a:off x="0" y="0"/>
          <a:ext cx="0" cy="0"/>
          <a:chOff x="0" y="0"/>
          <a:chExt cx="0" cy="0"/>
        </a:xfrm>
      </p:grpSpPr>
      <p:pic>
        <p:nvPicPr>
          <p:cNvPr id="4" name="Obrázek 6">
            <a:extLst>
              <a:ext uri="{FF2B5EF4-FFF2-40B4-BE49-F238E27FC236}">
                <a16:creationId xmlns:a16="http://schemas.microsoft.com/office/drawing/2014/main" id="{E8972AEE-2B1C-4453-88F7-C133133452F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80" y="0"/>
            <a:ext cx="9900841"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Nadpis 1"/>
          <p:cNvSpPr>
            <a:spLocks noGrp="1"/>
          </p:cNvSpPr>
          <p:nvPr>
            <p:ph type="ctrTitle"/>
          </p:nvPr>
        </p:nvSpPr>
        <p:spPr>
          <a:xfrm>
            <a:off x="1238250" y="2943227"/>
            <a:ext cx="7429500" cy="1681160"/>
          </a:xfrm>
        </p:spPr>
        <p:txBody>
          <a:bodyPr>
            <a:noAutofit/>
          </a:bodyPr>
          <a:lstStyle>
            <a:lvl1pPr algn="ctr">
              <a:defRPr b="1" baseline="0">
                <a:solidFill>
                  <a:schemeClr val="accent5">
                    <a:lumMod val="75000"/>
                  </a:schemeClr>
                </a:solidFill>
                <a:latin typeface="Arial" panose="020B0604020202020204" pitchFamily="34" charset="0"/>
                <a:cs typeface="Arial" panose="020B0604020202020204" pitchFamily="34" charset="0"/>
              </a:defRPr>
            </a:lvl1pPr>
          </a:lstStyle>
          <a:p>
            <a:r>
              <a:rPr lang="cs-CZ"/>
              <a:t>Kliknutím lze upravit styl.</a:t>
            </a:r>
          </a:p>
        </p:txBody>
      </p:sp>
      <p:sp>
        <p:nvSpPr>
          <p:cNvPr id="10" name="Podnadpis 2"/>
          <p:cNvSpPr>
            <a:spLocks noGrp="1"/>
          </p:cNvSpPr>
          <p:nvPr>
            <p:ph type="subTitle" idx="1"/>
          </p:nvPr>
        </p:nvSpPr>
        <p:spPr>
          <a:xfrm>
            <a:off x="1238250" y="5014921"/>
            <a:ext cx="7429500" cy="968641"/>
          </a:xfrm>
        </p:spPr>
        <p:txBody>
          <a:bodyPr>
            <a:noAutofit/>
          </a:bodyPr>
          <a:lstStyle>
            <a:lvl1pPr marL="0" indent="0" algn="ctr">
              <a:buNone/>
              <a:defRPr sz="2438" baseline="0">
                <a:solidFill>
                  <a:schemeClr val="accent5">
                    <a:lumMod val="75000"/>
                  </a:schemeClr>
                </a:solidFill>
                <a:latin typeface="Arial" panose="020B0604020202020204" pitchFamily="34" charset="0"/>
                <a:cs typeface="Arial" panose="020B0604020202020204" pitchFamily="34" charset="0"/>
              </a:defRPr>
            </a:lvl1pPr>
          </a:lstStyle>
          <a:p>
            <a:r>
              <a:rPr lang="cs-CZ"/>
              <a:t>Kliknutím můžete upravit styl předlohy.</a:t>
            </a:r>
          </a:p>
        </p:txBody>
      </p:sp>
    </p:spTree>
    <p:extLst>
      <p:ext uri="{BB962C8B-B14F-4D97-AF65-F5344CB8AC3E}">
        <p14:creationId xmlns:p14="http://schemas.microsoft.com/office/powerpoint/2010/main" val="256315968"/>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Úvodní snímek">
    <p:spTree>
      <p:nvGrpSpPr>
        <p:cNvPr id="1" name=""/>
        <p:cNvGrpSpPr/>
        <p:nvPr/>
      </p:nvGrpSpPr>
      <p:grpSpPr>
        <a:xfrm>
          <a:off x="0" y="0"/>
          <a:ext cx="0" cy="0"/>
          <a:chOff x="0" y="0"/>
          <a:chExt cx="0" cy="0"/>
        </a:xfrm>
      </p:grpSpPr>
      <p:pic>
        <p:nvPicPr>
          <p:cNvPr id="4" name="Obrázek 6">
            <a:extLst>
              <a:ext uri="{FF2B5EF4-FFF2-40B4-BE49-F238E27FC236}">
                <a16:creationId xmlns:a16="http://schemas.microsoft.com/office/drawing/2014/main" id="{B79C5215-44E4-4D89-90FF-66371D52818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1631" y="912813"/>
            <a:ext cx="1302742" cy="601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Obrázek 7">
            <a:extLst>
              <a:ext uri="{FF2B5EF4-FFF2-40B4-BE49-F238E27FC236}">
                <a16:creationId xmlns:a16="http://schemas.microsoft.com/office/drawing/2014/main" id="{AFCE296A-5A45-4E3D-9510-7D7BF42DDCC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530851" y="3328988"/>
            <a:ext cx="900311" cy="1109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Obrázek 8">
            <a:extLst>
              <a:ext uri="{FF2B5EF4-FFF2-40B4-BE49-F238E27FC236}">
                <a16:creationId xmlns:a16="http://schemas.microsoft.com/office/drawing/2014/main" id="{3A44A718-7536-4DF9-A58B-553B4F0E730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498058" y="3328988"/>
            <a:ext cx="900311" cy="1109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Obrázek 9">
            <a:extLst>
              <a:ext uri="{FF2B5EF4-FFF2-40B4-BE49-F238E27FC236}">
                <a16:creationId xmlns:a16="http://schemas.microsoft.com/office/drawing/2014/main" id="{5C1750E5-5432-49FF-9891-86EAFEE8DF8A}"/>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14455" y="3328988"/>
            <a:ext cx="900311" cy="1109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Nadpis 1"/>
          <p:cNvSpPr>
            <a:spLocks noGrp="1"/>
          </p:cNvSpPr>
          <p:nvPr>
            <p:ph type="ctrTitle"/>
          </p:nvPr>
        </p:nvSpPr>
        <p:spPr>
          <a:xfrm>
            <a:off x="1250025" y="1647829"/>
            <a:ext cx="7429500" cy="1681160"/>
          </a:xfrm>
        </p:spPr>
        <p:txBody>
          <a:bodyPr>
            <a:noAutofit/>
          </a:bodyPr>
          <a:lstStyle>
            <a:lvl1pPr algn="ctr">
              <a:defRPr b="1" baseline="0">
                <a:solidFill>
                  <a:schemeClr val="accent5">
                    <a:lumMod val="75000"/>
                  </a:schemeClr>
                </a:solidFill>
                <a:latin typeface="Arial" panose="020B0604020202020204" pitchFamily="34" charset="0"/>
                <a:cs typeface="Arial" panose="020B0604020202020204" pitchFamily="34" charset="0"/>
              </a:defRPr>
            </a:lvl1pPr>
          </a:lstStyle>
          <a:p>
            <a:r>
              <a:rPr lang="cs-CZ"/>
              <a:t>Kliknutím lze upravit styl.</a:t>
            </a:r>
          </a:p>
        </p:txBody>
      </p:sp>
      <p:sp>
        <p:nvSpPr>
          <p:cNvPr id="10" name="Podnadpis 2"/>
          <p:cNvSpPr>
            <a:spLocks noGrp="1"/>
          </p:cNvSpPr>
          <p:nvPr>
            <p:ph type="subTitle" idx="1"/>
          </p:nvPr>
        </p:nvSpPr>
        <p:spPr>
          <a:xfrm>
            <a:off x="1238250" y="5014921"/>
            <a:ext cx="7429500" cy="968641"/>
          </a:xfrm>
        </p:spPr>
        <p:txBody>
          <a:bodyPr>
            <a:noAutofit/>
          </a:bodyPr>
          <a:lstStyle>
            <a:lvl1pPr marL="0" indent="0" algn="ctr">
              <a:buNone/>
              <a:defRPr sz="2438" baseline="0">
                <a:solidFill>
                  <a:schemeClr val="accent5">
                    <a:lumMod val="75000"/>
                  </a:schemeClr>
                </a:solidFill>
                <a:latin typeface="Arial" panose="020B0604020202020204" pitchFamily="34" charset="0"/>
                <a:cs typeface="Arial" panose="020B0604020202020204" pitchFamily="34" charset="0"/>
              </a:defRPr>
            </a:lvl1pPr>
          </a:lstStyle>
          <a:p>
            <a:r>
              <a:rPr lang="cs-CZ"/>
              <a:t>Kliknutím můžete upravit styl předlohy.</a:t>
            </a:r>
          </a:p>
        </p:txBody>
      </p:sp>
    </p:spTree>
    <p:extLst>
      <p:ext uri="{BB962C8B-B14F-4D97-AF65-F5344CB8AC3E}">
        <p14:creationId xmlns:p14="http://schemas.microsoft.com/office/powerpoint/2010/main" val="340181501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ředělový slide">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47413" y="2152784"/>
            <a:ext cx="8915400" cy="1143000"/>
          </a:xfrm>
          <a:prstGeom prst="rect">
            <a:avLst/>
          </a:prstGeom>
        </p:spPr>
        <p:txBody>
          <a:bodyPr>
            <a:normAutofit/>
          </a:bodyPr>
          <a:lstStyle>
            <a:lvl1pPr>
              <a:defRPr sz="4876" baseline="0">
                <a:solidFill>
                  <a:srgbClr val="034EA2"/>
                </a:solidFill>
              </a:defRPr>
            </a:lvl1pPr>
          </a:lstStyle>
          <a:p>
            <a:r>
              <a:rPr lang="cs-CZ"/>
              <a:t>Název tématu/předělu</a:t>
            </a:r>
          </a:p>
        </p:txBody>
      </p:sp>
      <p:sp>
        <p:nvSpPr>
          <p:cNvPr id="5" name="Zástupný symbol pro číslo snímku 4"/>
          <p:cNvSpPr>
            <a:spLocks noGrp="1"/>
          </p:cNvSpPr>
          <p:nvPr>
            <p:ph type="sldNum" sz="quarter" idx="12"/>
          </p:nvPr>
        </p:nvSpPr>
        <p:spPr/>
        <p:txBody>
          <a:bodyPr/>
          <a:lstStyle/>
          <a:p>
            <a:fld id="{177AD5F7-9A70-43A8-B2E8-1F114AD105DD}" type="slidenum">
              <a:rPr lang="cs-CZ" smtClean="0"/>
              <a:pPr/>
              <a:t>‹#›</a:t>
            </a:fld>
            <a:endParaRPr lang="cs-CZ"/>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211" y="3499335"/>
            <a:ext cx="6575963" cy="66983"/>
          </a:xfrm>
          <a:prstGeom prst="rect">
            <a:avLst/>
          </a:prstGeom>
        </p:spPr>
      </p:pic>
      <p:pic>
        <p:nvPicPr>
          <p:cNvPr id="9" name="Obrázek 8" descr="OPTP_CZ_RO_B_C-RGB.png"/>
          <p:cNvPicPr>
            <a:picLocks noChangeAspect="1"/>
          </p:cNvPicPr>
          <p:nvPr userDrawn="1"/>
        </p:nvPicPr>
        <p:blipFill>
          <a:blip r:embed="rId3" cstate="print"/>
          <a:stretch>
            <a:fillRect/>
          </a:stretch>
        </p:blipFill>
        <p:spPr>
          <a:xfrm>
            <a:off x="96330" y="6166210"/>
            <a:ext cx="3238977" cy="671810"/>
          </a:xfrm>
          <a:prstGeom prst="rect">
            <a:avLst/>
          </a:prstGeom>
        </p:spPr>
      </p:pic>
      <p:pic>
        <p:nvPicPr>
          <p:cNvPr id="10"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7"/>
            <a:ext cx="6532882" cy="684777"/>
          </a:xfrm>
          <a:prstGeom prst="rect">
            <a:avLst/>
          </a:prstGeom>
        </p:spPr>
      </p:pic>
      <p:pic>
        <p:nvPicPr>
          <p:cNvPr id="3" name="Obrázek 2">
            <a:extLst>
              <a:ext uri="{FF2B5EF4-FFF2-40B4-BE49-F238E27FC236}">
                <a16:creationId xmlns:a16="http://schemas.microsoft.com/office/drawing/2014/main" id="{43B18FC4-48DD-6B6E-BA97-25A36E07805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6329" y="6265562"/>
            <a:ext cx="3276790" cy="530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Úvodní snímek">
    <p:spTree>
      <p:nvGrpSpPr>
        <p:cNvPr id="1" name=""/>
        <p:cNvGrpSpPr/>
        <p:nvPr/>
      </p:nvGrpSpPr>
      <p:grpSpPr>
        <a:xfrm>
          <a:off x="0" y="0"/>
          <a:ext cx="0" cy="0"/>
          <a:chOff x="0" y="0"/>
          <a:chExt cx="0" cy="0"/>
        </a:xfrm>
      </p:grpSpPr>
      <p:pic>
        <p:nvPicPr>
          <p:cNvPr id="3" name="Obrázek 6">
            <a:extLst>
              <a:ext uri="{FF2B5EF4-FFF2-40B4-BE49-F238E27FC236}">
                <a16:creationId xmlns:a16="http://schemas.microsoft.com/office/drawing/2014/main" id="{77EDBA7F-5906-48B7-95BC-2212CD8B1D7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32884" y="557216"/>
            <a:ext cx="2840236" cy="3500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Obrázek 7">
            <a:extLst>
              <a:ext uri="{FF2B5EF4-FFF2-40B4-BE49-F238E27FC236}">
                <a16:creationId xmlns:a16="http://schemas.microsoft.com/office/drawing/2014/main" id="{74096A7C-06EF-4F24-98F5-77A5CE5AE76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70674" y="5762625"/>
            <a:ext cx="136465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Podnadpis 2"/>
          <p:cNvSpPr>
            <a:spLocks noGrp="1"/>
          </p:cNvSpPr>
          <p:nvPr>
            <p:ph type="subTitle" idx="1"/>
          </p:nvPr>
        </p:nvSpPr>
        <p:spPr>
          <a:xfrm>
            <a:off x="1238250" y="4438145"/>
            <a:ext cx="7429500" cy="968641"/>
          </a:xfrm>
        </p:spPr>
        <p:txBody>
          <a:bodyPr>
            <a:noAutofit/>
          </a:bodyPr>
          <a:lstStyle>
            <a:lvl1pPr marL="0" indent="0" algn="ctr">
              <a:buNone/>
              <a:defRPr sz="2600" b="0" baseline="0">
                <a:solidFill>
                  <a:schemeClr val="accent5">
                    <a:lumMod val="75000"/>
                  </a:schemeClr>
                </a:solidFill>
                <a:latin typeface="Arial" panose="020B0604020202020204" pitchFamily="34" charset="0"/>
                <a:cs typeface="Arial" panose="020B0604020202020204" pitchFamily="34" charset="0"/>
              </a:defRPr>
            </a:lvl1pPr>
          </a:lstStyle>
          <a:p>
            <a:r>
              <a:rPr lang="cs-CZ"/>
              <a:t>Kliknutím můžete upravit styl předlohy.</a:t>
            </a:r>
          </a:p>
        </p:txBody>
      </p:sp>
    </p:spTree>
    <p:extLst>
      <p:ext uri="{BB962C8B-B14F-4D97-AF65-F5344CB8AC3E}">
        <p14:creationId xmlns:p14="http://schemas.microsoft.com/office/powerpoint/2010/main" val="2734860605"/>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1_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normAutofit/>
          </a:bodyPr>
          <a:lstStyle>
            <a:lvl1pPr>
              <a:defRPr sz="3250" b="1">
                <a:latin typeface="Arial" panose="020B0604020202020204" pitchFamily="34" charset="0"/>
                <a:cs typeface="Arial" panose="020B0604020202020204" pitchFamily="34" charset="0"/>
              </a:defRPr>
            </a:lvl1pPr>
          </a:lstStyle>
          <a:p>
            <a:r>
              <a:rPr lang="cs-CZ"/>
              <a:t>Kliknutím lze upravit styl.</a:t>
            </a:r>
          </a:p>
        </p:txBody>
      </p:sp>
      <p:sp>
        <p:nvSpPr>
          <p:cNvPr id="3" name="Zástupný symbol pro obsah 2"/>
          <p:cNvSpPr>
            <a:spLocks noGrp="1"/>
          </p:cNvSpPr>
          <p:nvPr>
            <p:ph sz="half" idx="1"/>
          </p:nvPr>
        </p:nvSpPr>
        <p:spPr>
          <a:xfrm>
            <a:off x="681038" y="1825625"/>
            <a:ext cx="4210050" cy="4351338"/>
          </a:xfrm>
        </p:spPr>
        <p:txBody>
          <a:bodyPr>
            <a:noAutofit/>
          </a:bodyPr>
          <a:lstStyle>
            <a:lvl1pPr marL="366316" indent="-366316">
              <a:buFontTx/>
              <a:buBlip>
                <a:blip r:embed="rId2"/>
              </a:buBlip>
              <a:defRPr sz="1625" b="1">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5014913" y="1825625"/>
            <a:ext cx="4210050" cy="4351338"/>
          </a:xfrm>
        </p:spPr>
        <p:txBody>
          <a:bodyPr>
            <a:noAutofit/>
          </a:bodyPr>
          <a:lstStyle>
            <a:lvl1pPr marL="366316" indent="-366316">
              <a:buFontTx/>
              <a:buBlip>
                <a:blip r:embed="rId3"/>
              </a:buBlip>
              <a:defRPr sz="1625" b="1">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3159594140"/>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2_Dva obsahy">
    <p:spTree>
      <p:nvGrpSpPr>
        <p:cNvPr id="1" name=""/>
        <p:cNvGrpSpPr/>
        <p:nvPr/>
      </p:nvGrpSpPr>
      <p:grpSpPr>
        <a:xfrm>
          <a:off x="0" y="0"/>
          <a:ext cx="0" cy="0"/>
          <a:chOff x="0" y="0"/>
          <a:chExt cx="0" cy="0"/>
        </a:xfrm>
      </p:grpSpPr>
      <p:pic>
        <p:nvPicPr>
          <p:cNvPr id="5" name="Obrázek 6">
            <a:extLst>
              <a:ext uri="{FF2B5EF4-FFF2-40B4-BE49-F238E27FC236}">
                <a16:creationId xmlns:a16="http://schemas.microsoft.com/office/drawing/2014/main" id="{4159A5C8-B0D9-42AF-9CD2-E8D47B39FD2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747173" y="214313"/>
            <a:ext cx="2841525" cy="3500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Obrázek 7">
            <a:extLst>
              <a:ext uri="{FF2B5EF4-FFF2-40B4-BE49-F238E27FC236}">
                <a16:creationId xmlns:a16="http://schemas.microsoft.com/office/drawing/2014/main" id="{46207354-92D8-41EE-A4BF-33C787B467D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4722" y="6297613"/>
            <a:ext cx="9515178"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Nadpis 1"/>
          <p:cNvSpPr>
            <a:spLocks noGrp="1"/>
          </p:cNvSpPr>
          <p:nvPr>
            <p:ph type="title"/>
          </p:nvPr>
        </p:nvSpPr>
        <p:spPr/>
        <p:txBody>
          <a:bodyPr>
            <a:normAutofit/>
          </a:bodyPr>
          <a:lstStyle>
            <a:lvl1pPr>
              <a:defRPr sz="3250" b="1">
                <a:latin typeface="Arial" panose="020B0604020202020204" pitchFamily="34" charset="0"/>
                <a:cs typeface="Arial" panose="020B0604020202020204" pitchFamily="34" charset="0"/>
              </a:defRPr>
            </a:lvl1pPr>
          </a:lstStyle>
          <a:p>
            <a:r>
              <a:rPr lang="cs-CZ"/>
              <a:t>Kliknutím lze upravit styl.</a:t>
            </a:r>
          </a:p>
        </p:txBody>
      </p:sp>
      <p:sp>
        <p:nvSpPr>
          <p:cNvPr id="3" name="Zástupný symbol pro obsah 2"/>
          <p:cNvSpPr>
            <a:spLocks noGrp="1"/>
          </p:cNvSpPr>
          <p:nvPr>
            <p:ph sz="half" idx="1"/>
          </p:nvPr>
        </p:nvSpPr>
        <p:spPr>
          <a:xfrm>
            <a:off x="681038" y="2363375"/>
            <a:ext cx="4210050" cy="3813591"/>
          </a:xfrm>
        </p:spPr>
        <p:txBody>
          <a:bodyPr>
            <a:noAutofit/>
          </a:bodyPr>
          <a:lstStyle>
            <a:lvl1pPr marL="366316" indent="-366316">
              <a:buFontTx/>
              <a:buBlip>
                <a:blip r:embed="rId4"/>
              </a:buBlip>
              <a:defRPr sz="1625" b="1">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5014913" y="3601329"/>
            <a:ext cx="4210050" cy="2575634"/>
          </a:xfrm>
        </p:spPr>
        <p:txBody>
          <a:bodyPr>
            <a:noAutofit/>
          </a:bodyPr>
          <a:lstStyle>
            <a:lvl1pPr marL="366316" indent="-366316">
              <a:buFontTx/>
              <a:buBlip>
                <a:blip r:embed="rId5"/>
              </a:buBlip>
              <a:defRPr sz="1625" b="1">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3505634170"/>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6" name="Nadpis 1"/>
          <p:cNvSpPr>
            <a:spLocks noGrp="1"/>
          </p:cNvSpPr>
          <p:nvPr>
            <p:ph type="title"/>
          </p:nvPr>
        </p:nvSpPr>
        <p:spPr>
          <a:xfrm>
            <a:off x="681038" y="365128"/>
            <a:ext cx="8543925" cy="1325563"/>
          </a:xfrm>
        </p:spPr>
        <p:txBody>
          <a:bodyPr>
            <a:normAutofit/>
          </a:bodyPr>
          <a:lstStyle>
            <a:lvl1pPr>
              <a:defRPr sz="3250" b="1">
                <a:latin typeface="Arial" panose="020B0604020202020204" pitchFamily="34" charset="0"/>
                <a:cs typeface="Arial" panose="020B0604020202020204" pitchFamily="34" charset="0"/>
              </a:defRPr>
            </a:lvl1pPr>
          </a:lstStyle>
          <a:p>
            <a:r>
              <a:rPr lang="cs-CZ"/>
              <a:t>Kliknutím lze upravit styl.</a:t>
            </a:r>
          </a:p>
        </p:txBody>
      </p:sp>
      <p:sp>
        <p:nvSpPr>
          <p:cNvPr id="7" name="Zástupný symbol pro obsah 2"/>
          <p:cNvSpPr>
            <a:spLocks noGrp="1"/>
          </p:cNvSpPr>
          <p:nvPr>
            <p:ph sz="half" idx="1"/>
          </p:nvPr>
        </p:nvSpPr>
        <p:spPr>
          <a:xfrm>
            <a:off x="681038" y="1825625"/>
            <a:ext cx="8543925" cy="4351338"/>
          </a:xfrm>
        </p:spPr>
        <p:txBody>
          <a:bodyPr>
            <a:noAutofit/>
          </a:bodyPr>
          <a:lstStyle>
            <a:lvl1pPr marL="366316" indent="-366316">
              <a:buFontTx/>
              <a:buBlip>
                <a:blip r:embed="rId2"/>
              </a:buBlip>
              <a:defRPr sz="1625" b="1">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1742248736"/>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pic>
        <p:nvPicPr>
          <p:cNvPr id="4" name="Obrázek 6">
            <a:extLst>
              <a:ext uri="{FF2B5EF4-FFF2-40B4-BE49-F238E27FC236}">
                <a16:creationId xmlns:a16="http://schemas.microsoft.com/office/drawing/2014/main" id="{4ED78934-566B-49B6-A8EA-0C1313787C1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722" y="6297613"/>
            <a:ext cx="9515178"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Obrázek 7">
            <a:extLst>
              <a:ext uri="{FF2B5EF4-FFF2-40B4-BE49-F238E27FC236}">
                <a16:creationId xmlns:a16="http://schemas.microsoft.com/office/drawing/2014/main" id="{63EE74C9-3B36-49A6-A2C1-0940343FD2D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89609" y="215900"/>
            <a:ext cx="2840236" cy="3500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Obrázek 8">
            <a:extLst>
              <a:ext uri="{FF2B5EF4-FFF2-40B4-BE49-F238E27FC236}">
                <a16:creationId xmlns:a16="http://schemas.microsoft.com/office/drawing/2014/main" id="{F24786E4-4948-4D50-AB43-D5621558A2B4}"/>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8655" y="396875"/>
            <a:ext cx="1585218" cy="731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Nadpis 1"/>
          <p:cNvSpPr>
            <a:spLocks noGrp="1"/>
          </p:cNvSpPr>
          <p:nvPr>
            <p:ph type="title"/>
          </p:nvPr>
        </p:nvSpPr>
        <p:spPr>
          <a:xfrm>
            <a:off x="3509010" y="1518676"/>
            <a:ext cx="5715952" cy="1325563"/>
          </a:xfrm>
        </p:spPr>
        <p:txBody>
          <a:bodyPr>
            <a:normAutofit/>
          </a:bodyPr>
          <a:lstStyle>
            <a:lvl1pPr>
              <a:defRPr sz="2925" b="1">
                <a:solidFill>
                  <a:schemeClr val="accent5">
                    <a:lumMod val="75000"/>
                  </a:schemeClr>
                </a:solidFill>
                <a:latin typeface="Arial" panose="020B0604020202020204" pitchFamily="34" charset="0"/>
                <a:cs typeface="Arial" panose="020B0604020202020204" pitchFamily="34" charset="0"/>
              </a:defRPr>
            </a:lvl1pPr>
          </a:lstStyle>
          <a:p>
            <a:r>
              <a:rPr lang="cs-CZ"/>
              <a:t>Kliknutím lze upravit styl.</a:t>
            </a:r>
          </a:p>
        </p:txBody>
      </p:sp>
      <p:sp>
        <p:nvSpPr>
          <p:cNvPr id="9" name="Zástupný symbol pro obsah 2"/>
          <p:cNvSpPr>
            <a:spLocks noGrp="1"/>
          </p:cNvSpPr>
          <p:nvPr>
            <p:ph sz="half" idx="1"/>
          </p:nvPr>
        </p:nvSpPr>
        <p:spPr>
          <a:xfrm>
            <a:off x="3509012" y="3376246"/>
            <a:ext cx="5715951" cy="2800718"/>
          </a:xfrm>
        </p:spPr>
        <p:txBody>
          <a:bodyPr>
            <a:noAutofit/>
          </a:bodyPr>
          <a:lstStyle>
            <a:lvl1pPr marL="366316" indent="-366316">
              <a:buFontTx/>
              <a:buBlip>
                <a:blip r:embed="rId5"/>
              </a:buBlip>
              <a:defRPr sz="1625" b="1">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874653755"/>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va obsahy">
    <p:spTree>
      <p:nvGrpSpPr>
        <p:cNvPr id="1" name=""/>
        <p:cNvGrpSpPr/>
        <p:nvPr/>
      </p:nvGrpSpPr>
      <p:grpSpPr>
        <a:xfrm>
          <a:off x="0" y="0"/>
          <a:ext cx="0" cy="0"/>
          <a:chOff x="0" y="0"/>
          <a:chExt cx="0" cy="0"/>
        </a:xfrm>
      </p:grpSpPr>
      <p:pic>
        <p:nvPicPr>
          <p:cNvPr id="5" name="Obrázek 6">
            <a:extLst>
              <a:ext uri="{FF2B5EF4-FFF2-40B4-BE49-F238E27FC236}">
                <a16:creationId xmlns:a16="http://schemas.microsoft.com/office/drawing/2014/main" id="{D292A716-B2C3-4F6B-B910-0BDD2E1A00E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722" y="6297613"/>
            <a:ext cx="9515178"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Obrázek 7">
            <a:extLst>
              <a:ext uri="{FF2B5EF4-FFF2-40B4-BE49-F238E27FC236}">
                <a16:creationId xmlns:a16="http://schemas.microsoft.com/office/drawing/2014/main" id="{427BDD12-3DF9-4C5A-B3F5-F701000B087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68655" y="396875"/>
            <a:ext cx="1585218" cy="731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Obrázek 8">
            <a:extLst>
              <a:ext uri="{FF2B5EF4-FFF2-40B4-BE49-F238E27FC236}">
                <a16:creationId xmlns:a16="http://schemas.microsoft.com/office/drawing/2014/main" id="{89452BCD-D717-4ACE-A258-E0858C177AD2}"/>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08806" y="1138238"/>
            <a:ext cx="2463602" cy="303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Obrázek 9">
            <a:extLst>
              <a:ext uri="{FF2B5EF4-FFF2-40B4-BE49-F238E27FC236}">
                <a16:creationId xmlns:a16="http://schemas.microsoft.com/office/drawing/2014/main" id="{C630978F-4F1E-4A9B-9E5A-63192762EC00}"/>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707011" y="1143000"/>
            <a:ext cx="2461022" cy="3030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Obrázek 10">
            <a:extLst>
              <a:ext uri="{FF2B5EF4-FFF2-40B4-BE49-F238E27FC236}">
                <a16:creationId xmlns:a16="http://schemas.microsoft.com/office/drawing/2014/main" id="{A7FB0808-74B4-4F75-8527-5837CC8BF13E}"/>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725245" y="1143000"/>
            <a:ext cx="2461022" cy="3030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Zástupný symbol pro obsah 2"/>
          <p:cNvSpPr>
            <a:spLocks noGrp="1"/>
          </p:cNvSpPr>
          <p:nvPr>
            <p:ph sz="half" idx="1"/>
          </p:nvPr>
        </p:nvSpPr>
        <p:spPr>
          <a:xfrm>
            <a:off x="608970" y="4267241"/>
            <a:ext cx="2728590" cy="2003705"/>
          </a:xfrm>
        </p:spPr>
        <p:txBody>
          <a:bodyPr>
            <a:noAutofit/>
          </a:bodyPr>
          <a:lstStyle>
            <a:lvl1pPr marL="148332" indent="-148332">
              <a:buFontTx/>
              <a:buBlip>
                <a:blip r:embed="rId7"/>
              </a:buBlip>
              <a:defRPr sz="1463" b="0">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3" name="Zástupný symbol pro obsah 2"/>
          <p:cNvSpPr>
            <a:spLocks noGrp="1"/>
          </p:cNvSpPr>
          <p:nvPr>
            <p:ph sz="half" idx="10"/>
          </p:nvPr>
        </p:nvSpPr>
        <p:spPr>
          <a:xfrm>
            <a:off x="3708281" y="4294129"/>
            <a:ext cx="2728590" cy="2003705"/>
          </a:xfrm>
        </p:spPr>
        <p:txBody>
          <a:bodyPr>
            <a:noAutofit/>
          </a:bodyPr>
          <a:lstStyle>
            <a:lvl1pPr marL="148332" indent="-148332">
              <a:buFontTx/>
              <a:buBlip>
                <a:blip r:embed="rId7"/>
              </a:buBlip>
              <a:defRPr sz="1463" b="0">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4" name="Zástupný symbol pro obsah 2"/>
          <p:cNvSpPr>
            <a:spLocks noGrp="1"/>
          </p:cNvSpPr>
          <p:nvPr>
            <p:ph sz="half" idx="11"/>
          </p:nvPr>
        </p:nvSpPr>
        <p:spPr>
          <a:xfrm>
            <a:off x="6725244" y="4267240"/>
            <a:ext cx="2728590" cy="2003705"/>
          </a:xfrm>
        </p:spPr>
        <p:txBody>
          <a:bodyPr>
            <a:noAutofit/>
          </a:bodyPr>
          <a:lstStyle>
            <a:lvl1pPr marL="148332" indent="-148332">
              <a:buFontTx/>
              <a:buBlip>
                <a:blip r:embed="rId7"/>
              </a:buBlip>
              <a:defRPr sz="1463" b="0">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3504612001"/>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va obsahy">
    <p:spTree>
      <p:nvGrpSpPr>
        <p:cNvPr id="1" name=""/>
        <p:cNvGrpSpPr/>
        <p:nvPr/>
      </p:nvGrpSpPr>
      <p:grpSpPr>
        <a:xfrm>
          <a:off x="0" y="0"/>
          <a:ext cx="0" cy="0"/>
          <a:chOff x="0" y="0"/>
          <a:chExt cx="0" cy="0"/>
        </a:xfrm>
      </p:grpSpPr>
      <p:pic>
        <p:nvPicPr>
          <p:cNvPr id="8" name="Obrázek 6">
            <a:extLst>
              <a:ext uri="{FF2B5EF4-FFF2-40B4-BE49-F238E27FC236}">
                <a16:creationId xmlns:a16="http://schemas.microsoft.com/office/drawing/2014/main" id="{92FE02AC-B71E-4414-B23F-4C7E9806E80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722" y="6297613"/>
            <a:ext cx="9515178"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Obrázek 7">
            <a:extLst>
              <a:ext uri="{FF2B5EF4-FFF2-40B4-BE49-F238E27FC236}">
                <a16:creationId xmlns:a16="http://schemas.microsoft.com/office/drawing/2014/main" id="{939F6228-9C4F-40FD-B5B5-3019CB58AE0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2677" y="1128716"/>
            <a:ext cx="2471341" cy="304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Obrázek 8">
            <a:extLst>
              <a:ext uri="{FF2B5EF4-FFF2-40B4-BE49-F238E27FC236}">
                <a16:creationId xmlns:a16="http://schemas.microsoft.com/office/drawing/2014/main" id="{9C896DE3-6630-400A-9EF6-4CE11697E642}"/>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821984" y="1128716"/>
            <a:ext cx="2470050" cy="304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Obrázek 9">
            <a:extLst>
              <a:ext uri="{FF2B5EF4-FFF2-40B4-BE49-F238E27FC236}">
                <a16:creationId xmlns:a16="http://schemas.microsoft.com/office/drawing/2014/main" id="{C667388F-B6EA-402D-8582-489AB8BB050D}"/>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717330" y="1128716"/>
            <a:ext cx="2471341" cy="304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Zástupný symbol pro obsah 2"/>
          <p:cNvSpPr>
            <a:spLocks noGrp="1"/>
          </p:cNvSpPr>
          <p:nvPr>
            <p:ph sz="half" idx="1"/>
          </p:nvPr>
        </p:nvSpPr>
        <p:spPr>
          <a:xfrm>
            <a:off x="608970" y="4267241"/>
            <a:ext cx="2728590" cy="2003705"/>
          </a:xfrm>
        </p:spPr>
        <p:txBody>
          <a:bodyPr>
            <a:noAutofit/>
          </a:bodyPr>
          <a:lstStyle>
            <a:lvl1pPr marL="148332" indent="-148332">
              <a:buFontTx/>
              <a:buBlip>
                <a:blip r:embed="rId6"/>
              </a:buBlip>
              <a:defRPr sz="1463" b="0">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3" name="Zástupný symbol pro obsah 2"/>
          <p:cNvSpPr>
            <a:spLocks noGrp="1"/>
          </p:cNvSpPr>
          <p:nvPr>
            <p:ph sz="half" idx="10"/>
          </p:nvPr>
        </p:nvSpPr>
        <p:spPr>
          <a:xfrm>
            <a:off x="3708281" y="4294129"/>
            <a:ext cx="2728590" cy="2003705"/>
          </a:xfrm>
        </p:spPr>
        <p:txBody>
          <a:bodyPr>
            <a:noAutofit/>
          </a:bodyPr>
          <a:lstStyle>
            <a:lvl1pPr marL="148332" indent="-148332">
              <a:buFontTx/>
              <a:buBlip>
                <a:blip r:embed="rId6"/>
              </a:buBlip>
              <a:defRPr sz="1463" b="0">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4" name="Zástupný symbol pro obsah 2"/>
          <p:cNvSpPr>
            <a:spLocks noGrp="1"/>
          </p:cNvSpPr>
          <p:nvPr>
            <p:ph sz="half" idx="11"/>
          </p:nvPr>
        </p:nvSpPr>
        <p:spPr>
          <a:xfrm>
            <a:off x="6725244" y="4267240"/>
            <a:ext cx="2728590" cy="2003705"/>
          </a:xfrm>
        </p:spPr>
        <p:txBody>
          <a:bodyPr>
            <a:noAutofit/>
          </a:bodyPr>
          <a:lstStyle>
            <a:lvl1pPr marL="148332" indent="-148332">
              <a:buFontTx/>
              <a:buBlip>
                <a:blip r:embed="rId6"/>
              </a:buBlip>
              <a:defRPr sz="1463" b="0">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28" name="Zástupný symbol pro obsah 2"/>
          <p:cNvSpPr>
            <a:spLocks noGrp="1"/>
          </p:cNvSpPr>
          <p:nvPr>
            <p:ph sz="half" idx="12"/>
          </p:nvPr>
        </p:nvSpPr>
        <p:spPr>
          <a:xfrm>
            <a:off x="1120443" y="2131332"/>
            <a:ext cx="1395852" cy="1435834"/>
          </a:xfrm>
        </p:spPr>
        <p:txBody>
          <a:bodyPr>
            <a:noAutofit/>
          </a:bodyPr>
          <a:lstStyle>
            <a:lvl1pPr marL="0" indent="0" algn="ctr">
              <a:buFontTx/>
              <a:buNone/>
              <a:defRPr sz="1463" b="0">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p:txBody>
      </p:sp>
      <p:sp>
        <p:nvSpPr>
          <p:cNvPr id="29" name="Zástupný symbol pro obsah 2"/>
          <p:cNvSpPr>
            <a:spLocks noGrp="1"/>
          </p:cNvSpPr>
          <p:nvPr>
            <p:ph sz="half" idx="13"/>
          </p:nvPr>
        </p:nvSpPr>
        <p:spPr>
          <a:xfrm>
            <a:off x="4255073" y="2126931"/>
            <a:ext cx="1395852" cy="1435834"/>
          </a:xfrm>
        </p:spPr>
        <p:txBody>
          <a:bodyPr>
            <a:noAutofit/>
          </a:bodyPr>
          <a:lstStyle>
            <a:lvl1pPr marL="0" indent="0" algn="ctr">
              <a:buFontTx/>
              <a:buNone/>
              <a:defRPr sz="1463" b="0">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p:txBody>
      </p:sp>
      <p:sp>
        <p:nvSpPr>
          <p:cNvPr id="30" name="Zástupný symbol pro obsah 2"/>
          <p:cNvSpPr>
            <a:spLocks noGrp="1"/>
          </p:cNvSpPr>
          <p:nvPr>
            <p:ph sz="half" idx="14"/>
          </p:nvPr>
        </p:nvSpPr>
        <p:spPr>
          <a:xfrm>
            <a:off x="7359602" y="2126931"/>
            <a:ext cx="1395852" cy="1435834"/>
          </a:xfrm>
        </p:spPr>
        <p:txBody>
          <a:bodyPr>
            <a:noAutofit/>
          </a:bodyPr>
          <a:lstStyle>
            <a:lvl1pPr marL="0" indent="0" algn="ctr">
              <a:buFontTx/>
              <a:buNone/>
              <a:defRPr sz="1463" b="0">
                <a:solidFill>
                  <a:schemeClr val="tx1"/>
                </a:solidFill>
                <a:latin typeface="Arial" panose="020B0604020202020204" pitchFamily="34" charset="0"/>
                <a:cs typeface="Arial" panose="020B0604020202020204" pitchFamily="34" charset="0"/>
              </a:defRPr>
            </a:lvl1pPr>
            <a:lvl2pPr>
              <a:defRPr sz="1463">
                <a:solidFill>
                  <a:schemeClr val="tx1"/>
                </a:solidFill>
                <a:latin typeface="Arial" panose="020B0604020202020204" pitchFamily="34" charset="0"/>
                <a:cs typeface="Arial" panose="020B0604020202020204" pitchFamily="34" charset="0"/>
              </a:defRPr>
            </a:lvl2pPr>
            <a:lvl3pPr>
              <a:defRPr sz="1300">
                <a:solidFill>
                  <a:schemeClr val="tx1"/>
                </a:solidFill>
                <a:latin typeface="Arial" panose="020B0604020202020204" pitchFamily="34" charset="0"/>
                <a:cs typeface="Arial" panose="020B0604020202020204" pitchFamily="34" charset="0"/>
              </a:defRPr>
            </a:lvl3pPr>
            <a:lvl4pPr>
              <a:defRPr sz="1138">
                <a:solidFill>
                  <a:schemeClr val="tx1"/>
                </a:solidFill>
                <a:latin typeface="Arial" panose="020B0604020202020204" pitchFamily="34" charset="0"/>
                <a:cs typeface="Arial" panose="020B0604020202020204" pitchFamily="34" charset="0"/>
              </a:defRPr>
            </a:lvl4pPr>
            <a:lvl5pPr>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p:txBody>
      </p:sp>
    </p:spTree>
    <p:extLst>
      <p:ext uri="{BB962C8B-B14F-4D97-AF65-F5344CB8AC3E}">
        <p14:creationId xmlns:p14="http://schemas.microsoft.com/office/powerpoint/2010/main" val="1135451686"/>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Prázdný">
    <p:spTree>
      <p:nvGrpSpPr>
        <p:cNvPr id="1" name=""/>
        <p:cNvGrpSpPr/>
        <p:nvPr/>
      </p:nvGrpSpPr>
      <p:grpSpPr>
        <a:xfrm>
          <a:off x="0" y="0"/>
          <a:ext cx="0" cy="0"/>
          <a:chOff x="0" y="0"/>
          <a:chExt cx="0" cy="0"/>
        </a:xfrm>
      </p:grpSpPr>
      <p:pic>
        <p:nvPicPr>
          <p:cNvPr id="2" name="Obrázek 6">
            <a:extLst>
              <a:ext uri="{FF2B5EF4-FFF2-40B4-BE49-F238E27FC236}">
                <a16:creationId xmlns:a16="http://schemas.microsoft.com/office/drawing/2014/main" id="{9CB173D7-D3F5-4023-AEFF-7829D323DC9E}"/>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97625" y="2757491"/>
            <a:ext cx="1078309" cy="1328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Obrázek 7">
            <a:extLst>
              <a:ext uri="{FF2B5EF4-FFF2-40B4-BE49-F238E27FC236}">
                <a16:creationId xmlns:a16="http://schemas.microsoft.com/office/drawing/2014/main" id="{D1220E50-5BC7-415C-ABA2-F7075782F31E}"/>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488109" y="2720975"/>
            <a:ext cx="1078309" cy="1328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Obrázek 8">
            <a:extLst>
              <a:ext uri="{FF2B5EF4-FFF2-40B4-BE49-F238E27FC236}">
                <a16:creationId xmlns:a16="http://schemas.microsoft.com/office/drawing/2014/main" id="{434E12F9-23FE-417F-A06F-11BD6091AF3A}"/>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17715" y="2757491"/>
            <a:ext cx="1078309" cy="1328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624130299"/>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brázek s titulkem">
    <p:spTree>
      <p:nvGrpSpPr>
        <p:cNvPr id="1" name=""/>
        <p:cNvGrpSpPr/>
        <p:nvPr/>
      </p:nvGrpSpPr>
      <p:grpSpPr>
        <a:xfrm>
          <a:off x="0" y="0"/>
          <a:ext cx="0" cy="0"/>
          <a:chOff x="0" y="0"/>
          <a:chExt cx="0" cy="0"/>
        </a:xfrm>
      </p:grpSpPr>
      <p:pic>
        <p:nvPicPr>
          <p:cNvPr id="4" name="Obrázek 6">
            <a:extLst>
              <a:ext uri="{FF2B5EF4-FFF2-40B4-BE49-F238E27FC236}">
                <a16:creationId xmlns:a16="http://schemas.microsoft.com/office/drawing/2014/main" id="{871ABA5D-D46D-4232-843A-BEFFF2E22C2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722" y="6297613"/>
            <a:ext cx="9515178"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Obrázek 7">
            <a:extLst>
              <a:ext uri="{FF2B5EF4-FFF2-40B4-BE49-F238E27FC236}">
                <a16:creationId xmlns:a16="http://schemas.microsoft.com/office/drawing/2014/main" id="{00331042-2D1B-48B9-9FD8-4E35815D0BA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68655" y="396875"/>
            <a:ext cx="1585218" cy="731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Zástupný symbol pro obrázek 2"/>
          <p:cNvSpPr>
            <a:spLocks noGrp="1"/>
          </p:cNvSpPr>
          <p:nvPr>
            <p:ph type="pic" idx="1"/>
          </p:nvPr>
        </p:nvSpPr>
        <p:spPr>
          <a:xfrm>
            <a:off x="610890" y="1350498"/>
            <a:ext cx="5252700" cy="4566823"/>
          </a:xfrm>
        </p:spPr>
        <p:txBody>
          <a:bodyPr rtlCol="0">
            <a:normAutofit/>
          </a:bodyPr>
          <a:lstStyle>
            <a:lvl1pPr marL="0" indent="0">
              <a:buNone/>
              <a:defRPr sz="2600">
                <a:latin typeface="Arial" panose="020B0604020202020204" pitchFamily="34" charset="0"/>
                <a:cs typeface="Arial" panose="020B0604020202020204" pitchFamily="34" charset="0"/>
              </a:defRPr>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pPr lvl="0"/>
            <a:endParaRPr lang="cs-CZ" noProof="0"/>
          </a:p>
        </p:txBody>
      </p:sp>
      <p:sp>
        <p:nvSpPr>
          <p:cNvPr id="10" name="Zástupný symbol pro obsah 2"/>
          <p:cNvSpPr>
            <a:spLocks noGrp="1"/>
          </p:cNvSpPr>
          <p:nvPr>
            <p:ph sz="half" idx="10"/>
          </p:nvPr>
        </p:nvSpPr>
        <p:spPr>
          <a:xfrm>
            <a:off x="6252212" y="1350498"/>
            <a:ext cx="2972751" cy="4559180"/>
          </a:xfrm>
        </p:spPr>
        <p:txBody>
          <a:bodyPr>
            <a:noAutofit/>
          </a:bodyPr>
          <a:lstStyle>
            <a:lvl1pPr marL="0" indent="0">
              <a:buFontTx/>
              <a:buNone/>
              <a:defRPr sz="1625" b="1">
                <a:solidFill>
                  <a:schemeClr val="tx1"/>
                </a:solidFill>
                <a:latin typeface="Arial" panose="020B0604020202020204" pitchFamily="34" charset="0"/>
                <a:cs typeface="Arial" panose="020B0604020202020204" pitchFamily="34" charset="0"/>
              </a:defRPr>
            </a:lvl1pPr>
            <a:lvl2pPr marL="371475" indent="0">
              <a:buFontTx/>
              <a:buNone/>
              <a:defRPr sz="1463">
                <a:solidFill>
                  <a:schemeClr val="tx1"/>
                </a:solidFill>
                <a:latin typeface="Arial" panose="020B0604020202020204" pitchFamily="34" charset="0"/>
                <a:cs typeface="Arial" panose="020B0604020202020204" pitchFamily="34" charset="0"/>
              </a:defRPr>
            </a:lvl2pPr>
            <a:lvl3pPr marL="742950" indent="0">
              <a:buFontTx/>
              <a:buNone/>
              <a:defRPr sz="1300">
                <a:solidFill>
                  <a:schemeClr val="tx1"/>
                </a:solidFill>
                <a:latin typeface="Arial" panose="020B0604020202020204" pitchFamily="34" charset="0"/>
                <a:cs typeface="Arial" panose="020B0604020202020204" pitchFamily="34" charset="0"/>
              </a:defRPr>
            </a:lvl3pPr>
            <a:lvl4pPr marL="1114425" indent="0">
              <a:buFontTx/>
              <a:buNone/>
              <a:defRPr sz="1138">
                <a:solidFill>
                  <a:schemeClr val="tx1"/>
                </a:solidFill>
                <a:latin typeface="Arial" panose="020B0604020202020204" pitchFamily="34" charset="0"/>
                <a:cs typeface="Arial" panose="020B0604020202020204" pitchFamily="34" charset="0"/>
              </a:defRPr>
            </a:lvl4pPr>
            <a:lvl5pPr marL="1485900" indent="0">
              <a:buFontTx/>
              <a:buNone/>
              <a:defRPr sz="975">
                <a:solidFill>
                  <a:schemeClr val="tx1"/>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3298741056"/>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pic>
        <p:nvPicPr>
          <p:cNvPr id="3" name="Obrázek 6">
            <a:extLst>
              <a:ext uri="{FF2B5EF4-FFF2-40B4-BE49-F238E27FC236}">
                <a16:creationId xmlns:a16="http://schemas.microsoft.com/office/drawing/2014/main" id="{AA052764-CDE1-44C6-ADBB-000E2586C03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80" y="0"/>
            <a:ext cx="9900841"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Nadpis 1"/>
          <p:cNvSpPr>
            <a:spLocks noGrp="1"/>
          </p:cNvSpPr>
          <p:nvPr>
            <p:ph type="ctrTitle"/>
          </p:nvPr>
        </p:nvSpPr>
        <p:spPr>
          <a:xfrm>
            <a:off x="1238250" y="2183572"/>
            <a:ext cx="7429500" cy="1681160"/>
          </a:xfrm>
        </p:spPr>
        <p:txBody>
          <a:bodyPr>
            <a:noAutofit/>
          </a:bodyPr>
          <a:lstStyle>
            <a:lvl1pPr algn="ctr">
              <a:defRPr b="1" baseline="0">
                <a:solidFill>
                  <a:schemeClr val="bg1"/>
                </a:solidFill>
                <a:latin typeface="Arial" panose="020B0604020202020204" pitchFamily="34" charset="0"/>
                <a:cs typeface="Arial" panose="020B0604020202020204" pitchFamily="34" charset="0"/>
              </a:defRPr>
            </a:lvl1pPr>
          </a:lstStyle>
          <a:p>
            <a:r>
              <a:rPr lang="cs-CZ"/>
              <a:t>Kliknutím lze upravit styl.</a:t>
            </a:r>
          </a:p>
        </p:txBody>
      </p:sp>
    </p:spTree>
    <p:extLst>
      <p:ext uri="{BB962C8B-B14F-4D97-AF65-F5344CB8AC3E}">
        <p14:creationId xmlns:p14="http://schemas.microsoft.com/office/powerpoint/2010/main" val="117821975"/>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ředělový slide">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47413" y="2152784"/>
            <a:ext cx="8915400" cy="1143000"/>
          </a:xfrm>
          <a:prstGeom prst="rect">
            <a:avLst/>
          </a:prstGeom>
        </p:spPr>
        <p:txBody>
          <a:bodyPr>
            <a:normAutofit/>
          </a:bodyPr>
          <a:lstStyle>
            <a:lvl1pPr>
              <a:defRPr sz="4876" baseline="0">
                <a:solidFill>
                  <a:srgbClr val="034EA2"/>
                </a:solidFill>
              </a:defRPr>
            </a:lvl1pPr>
          </a:lstStyle>
          <a:p>
            <a:r>
              <a:rPr lang="cs-CZ"/>
              <a:t>Název tématu/předělu</a:t>
            </a:r>
          </a:p>
        </p:txBody>
      </p:sp>
      <p:sp>
        <p:nvSpPr>
          <p:cNvPr id="5" name="Zástupný symbol pro číslo snímku 4"/>
          <p:cNvSpPr>
            <a:spLocks noGrp="1"/>
          </p:cNvSpPr>
          <p:nvPr>
            <p:ph type="sldNum" sz="quarter" idx="12"/>
          </p:nvPr>
        </p:nvSpPr>
        <p:spPr/>
        <p:txBody>
          <a:bodyPr/>
          <a:lstStyle/>
          <a:p>
            <a:fld id="{177AD5F7-9A70-43A8-B2E8-1F114AD105DD}" type="slidenum">
              <a:rPr lang="cs-CZ" smtClean="0"/>
              <a:pPr/>
              <a:t>‹#›</a:t>
            </a:fld>
            <a:endParaRPr lang="cs-CZ"/>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210" y="3499333"/>
            <a:ext cx="6575963" cy="66983"/>
          </a:xfrm>
          <a:prstGeom prst="rect">
            <a:avLst/>
          </a:prstGeom>
        </p:spPr>
      </p:pic>
      <p:pic>
        <p:nvPicPr>
          <p:cNvPr id="9" name="Obrázek 8" descr="OPTP_CZ_RO_B_C-RGB.png"/>
          <p:cNvPicPr>
            <a:picLocks noChangeAspect="1"/>
          </p:cNvPicPr>
          <p:nvPr userDrawn="1"/>
        </p:nvPicPr>
        <p:blipFill>
          <a:blip r:embed="rId3" cstate="print"/>
          <a:stretch>
            <a:fillRect/>
          </a:stretch>
        </p:blipFill>
        <p:spPr>
          <a:xfrm>
            <a:off x="96329" y="6166210"/>
            <a:ext cx="3238977" cy="671810"/>
          </a:xfrm>
          <a:prstGeom prst="rect">
            <a:avLst/>
          </a:prstGeom>
        </p:spPr>
      </p:pic>
      <p:pic>
        <p:nvPicPr>
          <p:cNvPr id="10"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66212"/>
            <a:ext cx="6532882" cy="684777"/>
          </a:xfrm>
          <a:prstGeom prst="rect">
            <a:avLst/>
          </a:prstGeom>
        </p:spPr>
      </p:pic>
      <p:pic>
        <p:nvPicPr>
          <p:cNvPr id="3" name="Obrázek 2">
            <a:extLst>
              <a:ext uri="{FF2B5EF4-FFF2-40B4-BE49-F238E27FC236}">
                <a16:creationId xmlns:a16="http://schemas.microsoft.com/office/drawing/2014/main" id="{01148DE9-34EA-3447-C16F-DF55AA0BB710}"/>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6329" y="6265562"/>
            <a:ext cx="3276790" cy="530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Jenom nadpis">
    <p:spTree>
      <p:nvGrpSpPr>
        <p:cNvPr id="1" name=""/>
        <p:cNvGrpSpPr/>
        <p:nvPr/>
      </p:nvGrpSpPr>
      <p:grpSpPr>
        <a:xfrm>
          <a:off x="0" y="0"/>
          <a:ext cx="0" cy="0"/>
          <a:chOff x="0" y="0"/>
          <a:chExt cx="0" cy="0"/>
        </a:xfrm>
      </p:grpSpPr>
      <p:pic>
        <p:nvPicPr>
          <p:cNvPr id="3" name="Obrázek 6">
            <a:extLst>
              <a:ext uri="{FF2B5EF4-FFF2-40B4-BE49-F238E27FC236}">
                <a16:creationId xmlns:a16="http://schemas.microsoft.com/office/drawing/2014/main" id="{491F640C-E690-445A-A6A0-06D9BC0145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80" y="0"/>
            <a:ext cx="9900841"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Nadpis 1"/>
          <p:cNvSpPr>
            <a:spLocks noGrp="1"/>
          </p:cNvSpPr>
          <p:nvPr>
            <p:ph type="ctrTitle"/>
          </p:nvPr>
        </p:nvSpPr>
        <p:spPr>
          <a:xfrm>
            <a:off x="1238250" y="2183572"/>
            <a:ext cx="7429500" cy="1681160"/>
          </a:xfrm>
        </p:spPr>
        <p:txBody>
          <a:bodyPr>
            <a:noAutofit/>
          </a:bodyPr>
          <a:lstStyle>
            <a:lvl1pPr algn="ctr">
              <a:defRPr b="1" baseline="0">
                <a:solidFill>
                  <a:schemeClr val="bg1"/>
                </a:solidFill>
                <a:latin typeface="Arial" panose="020B0604020202020204" pitchFamily="34" charset="0"/>
                <a:cs typeface="Arial" panose="020B0604020202020204" pitchFamily="34" charset="0"/>
              </a:defRPr>
            </a:lvl1pPr>
          </a:lstStyle>
          <a:p>
            <a:r>
              <a:rPr lang="cs-CZ"/>
              <a:t>Kliknutím lze upravit styl.</a:t>
            </a:r>
          </a:p>
        </p:txBody>
      </p:sp>
    </p:spTree>
    <p:extLst>
      <p:ext uri="{BB962C8B-B14F-4D97-AF65-F5344CB8AC3E}">
        <p14:creationId xmlns:p14="http://schemas.microsoft.com/office/powerpoint/2010/main" val="2409669063"/>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Jenom nadpis">
    <p:spTree>
      <p:nvGrpSpPr>
        <p:cNvPr id="1" name=""/>
        <p:cNvGrpSpPr/>
        <p:nvPr/>
      </p:nvGrpSpPr>
      <p:grpSpPr>
        <a:xfrm>
          <a:off x="0" y="0"/>
          <a:ext cx="0" cy="0"/>
          <a:chOff x="0" y="0"/>
          <a:chExt cx="0" cy="0"/>
        </a:xfrm>
      </p:grpSpPr>
      <p:pic>
        <p:nvPicPr>
          <p:cNvPr id="3" name="Obrázek 6">
            <a:extLst>
              <a:ext uri="{FF2B5EF4-FFF2-40B4-BE49-F238E27FC236}">
                <a16:creationId xmlns:a16="http://schemas.microsoft.com/office/drawing/2014/main" id="{170619AF-5628-419D-93FA-03E330F5B33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80" y="0"/>
            <a:ext cx="9900841"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Nadpis 1"/>
          <p:cNvSpPr>
            <a:spLocks noGrp="1"/>
          </p:cNvSpPr>
          <p:nvPr>
            <p:ph type="ctrTitle"/>
          </p:nvPr>
        </p:nvSpPr>
        <p:spPr>
          <a:xfrm>
            <a:off x="1238250" y="2183572"/>
            <a:ext cx="7429500" cy="1681160"/>
          </a:xfrm>
        </p:spPr>
        <p:txBody>
          <a:bodyPr>
            <a:noAutofit/>
          </a:bodyPr>
          <a:lstStyle>
            <a:lvl1pPr algn="ctr">
              <a:defRPr b="1" baseline="0">
                <a:solidFill>
                  <a:schemeClr val="bg1"/>
                </a:solidFill>
                <a:latin typeface="Arial" panose="020B0604020202020204" pitchFamily="34" charset="0"/>
                <a:cs typeface="Arial" panose="020B0604020202020204" pitchFamily="34" charset="0"/>
              </a:defRPr>
            </a:lvl1pPr>
          </a:lstStyle>
          <a:p>
            <a:r>
              <a:rPr lang="cs-CZ"/>
              <a:t>Kliknutím lze upravit styl.</a:t>
            </a:r>
          </a:p>
        </p:txBody>
      </p:sp>
    </p:spTree>
    <p:extLst>
      <p:ext uri="{BB962C8B-B14F-4D97-AF65-F5344CB8AC3E}">
        <p14:creationId xmlns:p14="http://schemas.microsoft.com/office/powerpoint/2010/main" val="3006327227"/>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Nadpis 1"/>
          <p:cNvSpPr>
            <a:spLocks noGrp="1"/>
          </p:cNvSpPr>
          <p:nvPr>
            <p:ph type="title"/>
          </p:nvPr>
        </p:nvSpPr>
        <p:spPr>
          <a:xfrm>
            <a:off x="681038" y="365128"/>
            <a:ext cx="8543925" cy="1325563"/>
          </a:xfrm>
        </p:spPr>
        <p:txBody>
          <a:bodyPr>
            <a:normAutofit/>
          </a:bodyPr>
          <a:lstStyle>
            <a:lvl1pPr>
              <a:defRPr sz="3250" b="1">
                <a:latin typeface="Arial" panose="020B0604020202020204" pitchFamily="34" charset="0"/>
                <a:cs typeface="Arial" panose="020B0604020202020204" pitchFamily="34" charset="0"/>
              </a:defRPr>
            </a:lvl1pPr>
          </a:lstStyle>
          <a:p>
            <a:r>
              <a:rPr lang="cs-CZ"/>
              <a:t>Kliknutím lze upravit styl.</a:t>
            </a:r>
          </a:p>
        </p:txBody>
      </p:sp>
      <p:sp>
        <p:nvSpPr>
          <p:cNvPr id="7" name="Zástupný symbol pro obsah 2"/>
          <p:cNvSpPr>
            <a:spLocks noGrp="1"/>
          </p:cNvSpPr>
          <p:nvPr>
            <p:ph sz="half" idx="1"/>
          </p:nvPr>
        </p:nvSpPr>
        <p:spPr>
          <a:xfrm>
            <a:off x="681038" y="1825625"/>
            <a:ext cx="8543925" cy="4351338"/>
          </a:xfrm>
        </p:spPr>
        <p:txBody>
          <a:bodyPr>
            <a:noAutofit/>
          </a:bodyPr>
          <a:lstStyle>
            <a:lvl1pPr marL="366316" indent="-366316">
              <a:buFontTx/>
              <a:buBlip>
                <a:blip r:embed="rId2"/>
              </a:buBlip>
              <a:defRPr sz="1625" b="1">
                <a:solidFill>
                  <a:schemeClr val="accent5">
                    <a:lumMod val="75000"/>
                  </a:schemeClr>
                </a:solidFill>
                <a:latin typeface="Arial" panose="020B0604020202020204" pitchFamily="34" charset="0"/>
                <a:cs typeface="Arial" panose="020B0604020202020204" pitchFamily="34" charset="0"/>
              </a:defRPr>
            </a:lvl1pPr>
            <a:lvl2pPr>
              <a:defRPr sz="1463">
                <a:solidFill>
                  <a:schemeClr val="accent5">
                    <a:lumMod val="75000"/>
                  </a:schemeClr>
                </a:solidFill>
                <a:latin typeface="Arial" panose="020B0604020202020204" pitchFamily="34" charset="0"/>
                <a:cs typeface="Arial" panose="020B0604020202020204" pitchFamily="34" charset="0"/>
              </a:defRPr>
            </a:lvl2pPr>
            <a:lvl3pPr>
              <a:defRPr sz="1300">
                <a:solidFill>
                  <a:schemeClr val="accent5">
                    <a:lumMod val="75000"/>
                  </a:schemeClr>
                </a:solidFill>
                <a:latin typeface="Arial" panose="020B0604020202020204" pitchFamily="34" charset="0"/>
                <a:cs typeface="Arial" panose="020B0604020202020204" pitchFamily="34" charset="0"/>
              </a:defRPr>
            </a:lvl3pPr>
            <a:lvl4pPr>
              <a:defRPr sz="1138">
                <a:solidFill>
                  <a:schemeClr val="accent5">
                    <a:lumMod val="75000"/>
                  </a:schemeClr>
                </a:solidFill>
                <a:latin typeface="Arial" panose="020B0604020202020204" pitchFamily="34" charset="0"/>
                <a:cs typeface="Arial" panose="020B0604020202020204" pitchFamily="34" charset="0"/>
              </a:defRPr>
            </a:lvl4pPr>
            <a:lvl5pPr>
              <a:defRPr sz="975">
                <a:solidFill>
                  <a:schemeClr val="accent5">
                    <a:lumMod val="75000"/>
                  </a:schemeClr>
                </a:solidFill>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3029078850"/>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1_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1238250" y="1122363"/>
            <a:ext cx="7429500" cy="2387600"/>
          </a:xfrm>
        </p:spPr>
        <p:txBody>
          <a:bodyPr anchor="b">
            <a:normAutofit/>
          </a:bodyPr>
          <a:lstStyle>
            <a:lvl1pPr algn="ctr">
              <a:defRPr sz="3250" b="1">
                <a:solidFill>
                  <a:schemeClr val="bg1"/>
                </a:solidFill>
                <a:latin typeface="Arial" panose="020B0604020202020204" pitchFamily="34" charset="0"/>
                <a:cs typeface="Arial" panose="020B0604020202020204" pitchFamily="34" charset="0"/>
              </a:defRPr>
            </a:lvl1pPr>
          </a:lstStyle>
          <a:p>
            <a:r>
              <a:rPr lang="cs-CZ"/>
              <a:t>Kliknutím lze upravit styl.</a:t>
            </a:r>
          </a:p>
        </p:txBody>
      </p:sp>
      <p:sp>
        <p:nvSpPr>
          <p:cNvPr id="3" name="Podnadpis 2"/>
          <p:cNvSpPr>
            <a:spLocks noGrp="1"/>
          </p:cNvSpPr>
          <p:nvPr>
            <p:ph type="subTitle" idx="1"/>
          </p:nvPr>
        </p:nvSpPr>
        <p:spPr>
          <a:xfrm>
            <a:off x="1238250" y="3602038"/>
            <a:ext cx="7429500" cy="1655762"/>
          </a:xfrm>
        </p:spPr>
        <p:txBody>
          <a:bodyPr>
            <a:normAutofit/>
          </a:bodyPr>
          <a:lstStyle>
            <a:lvl1pPr marL="0" indent="0" algn="ctr">
              <a:buNone/>
              <a:defRPr sz="2438">
                <a:solidFill>
                  <a:schemeClr val="bg1"/>
                </a:solidFill>
                <a:latin typeface="Arial" panose="020B0604020202020204" pitchFamily="34" charset="0"/>
                <a:cs typeface="Arial" panose="020B0604020202020204" pitchFamily="34"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96E9D1C6-F710-4FDE-93CC-C0D7AB23E338}"/>
              </a:ext>
            </a:extLst>
          </p:cNvPr>
          <p:cNvSpPr>
            <a:spLocks noGrp="1"/>
          </p:cNvSpPr>
          <p:nvPr>
            <p:ph type="dt" sz="half" idx="10"/>
          </p:nvPr>
        </p:nvSpPr>
        <p:spPr/>
        <p:txBody>
          <a:bodyPr/>
          <a:lstStyle>
            <a:lvl1pPr>
              <a:defRPr>
                <a:solidFill>
                  <a:schemeClr val="bg1"/>
                </a:solidFill>
                <a:latin typeface="Arial" panose="020B0604020202020204" pitchFamily="34" charset="0"/>
                <a:cs typeface="Arial" panose="020B0604020202020204" pitchFamily="34" charset="0"/>
              </a:defRPr>
            </a:lvl1pPr>
          </a:lstStyle>
          <a:p>
            <a:pPr>
              <a:defRPr/>
            </a:pPr>
            <a:fld id="{DD9BE036-FB0F-409C-B957-21B4F1F873D1}" type="datetimeFigureOut">
              <a:rPr lang="cs-CZ"/>
              <a:pPr>
                <a:defRPr/>
              </a:pPr>
              <a:t>15.09.2025</a:t>
            </a:fld>
            <a:endParaRPr lang="cs-CZ"/>
          </a:p>
        </p:txBody>
      </p:sp>
      <p:sp>
        <p:nvSpPr>
          <p:cNvPr id="5" name="Zástupný symbol pro zápatí 4">
            <a:extLst>
              <a:ext uri="{FF2B5EF4-FFF2-40B4-BE49-F238E27FC236}">
                <a16:creationId xmlns:a16="http://schemas.microsoft.com/office/drawing/2014/main" id="{5CF27A66-7034-4F22-82FF-2F810FC8FDF8}"/>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pPr>
              <a:defRPr/>
            </a:pPr>
            <a:endParaRPr lang="cs-CZ"/>
          </a:p>
        </p:txBody>
      </p:sp>
      <p:sp>
        <p:nvSpPr>
          <p:cNvPr id="6" name="Zástupný symbol pro číslo snímku 5">
            <a:extLst>
              <a:ext uri="{FF2B5EF4-FFF2-40B4-BE49-F238E27FC236}">
                <a16:creationId xmlns:a16="http://schemas.microsoft.com/office/drawing/2014/main" id="{C5C32349-868A-4349-9DAA-41DCBBD3B6E6}"/>
              </a:ext>
            </a:extLst>
          </p:cNvPr>
          <p:cNvSpPr>
            <a:spLocks noGrp="1"/>
          </p:cNvSpPr>
          <p:nvPr>
            <p:ph type="sldNum" sz="quarter" idx="12"/>
          </p:nvPr>
        </p:nvSpPr>
        <p:spPr/>
        <p:txBody>
          <a:bodyPr/>
          <a:lstStyle>
            <a:lvl1pPr>
              <a:defRPr>
                <a:solidFill>
                  <a:schemeClr val="bg1"/>
                </a:solidFill>
                <a:latin typeface="Arial" panose="020B0604020202020204" pitchFamily="34" charset="0"/>
                <a:cs typeface="Arial" panose="020B0604020202020204" pitchFamily="34" charset="0"/>
              </a:defRPr>
            </a:lvl1pPr>
          </a:lstStyle>
          <a:p>
            <a:pPr>
              <a:defRPr/>
            </a:pPr>
            <a:fld id="{BD2C07C8-C011-4F7E-BC96-CED764457AD7}" type="slidenum">
              <a:rPr lang="cs-CZ"/>
              <a:pPr>
                <a:defRPr/>
              </a:pPr>
              <a:t>‹#›</a:t>
            </a:fld>
            <a:endParaRPr lang="cs-CZ"/>
          </a:p>
        </p:txBody>
      </p:sp>
    </p:spTree>
    <p:extLst>
      <p:ext uri="{BB962C8B-B14F-4D97-AF65-F5344CB8AC3E}">
        <p14:creationId xmlns:p14="http://schemas.microsoft.com/office/powerpoint/2010/main" val="2685844447"/>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3">
            <a:extLst>
              <a:ext uri="{FF2B5EF4-FFF2-40B4-BE49-F238E27FC236}">
                <a16:creationId xmlns:a16="http://schemas.microsoft.com/office/drawing/2014/main" id="{CAD0581C-1699-453D-9CD7-8999EC494A66}"/>
              </a:ext>
            </a:extLst>
          </p:cNvPr>
          <p:cNvSpPr>
            <a:spLocks noGrp="1"/>
          </p:cNvSpPr>
          <p:nvPr>
            <p:ph type="dt" sz="half" idx="10"/>
          </p:nvPr>
        </p:nvSpPr>
        <p:spPr/>
        <p:txBody>
          <a:bodyPr/>
          <a:lstStyle>
            <a:lvl1pPr>
              <a:defRPr/>
            </a:lvl1pPr>
          </a:lstStyle>
          <a:p>
            <a:pPr>
              <a:defRPr/>
            </a:pPr>
            <a:fld id="{E1B47E2D-F515-4878-A0AF-98F9429BC851}" type="datetimeFigureOut">
              <a:rPr lang="cs-CZ"/>
              <a:pPr>
                <a:defRPr/>
              </a:pPr>
              <a:t>15.09.2025</a:t>
            </a:fld>
            <a:endParaRPr lang="cs-CZ"/>
          </a:p>
        </p:txBody>
      </p:sp>
      <p:sp>
        <p:nvSpPr>
          <p:cNvPr id="3" name="Zástupný symbol pro zápatí 4">
            <a:extLst>
              <a:ext uri="{FF2B5EF4-FFF2-40B4-BE49-F238E27FC236}">
                <a16:creationId xmlns:a16="http://schemas.microsoft.com/office/drawing/2014/main" id="{EC264D43-4152-467D-B4CA-A14BFE815918}"/>
              </a:ext>
            </a:extLst>
          </p:cNvPr>
          <p:cNvSpPr>
            <a:spLocks noGrp="1"/>
          </p:cNvSpPr>
          <p:nvPr>
            <p:ph type="ftr" sz="quarter" idx="11"/>
          </p:nvPr>
        </p:nvSpPr>
        <p:spPr/>
        <p:txBody>
          <a:bodyPr/>
          <a:lstStyle>
            <a:lvl1pPr>
              <a:defRPr/>
            </a:lvl1pPr>
          </a:lstStyle>
          <a:p>
            <a:pPr>
              <a:defRPr/>
            </a:pPr>
            <a:endParaRPr lang="cs-CZ"/>
          </a:p>
        </p:txBody>
      </p:sp>
      <p:sp>
        <p:nvSpPr>
          <p:cNvPr id="4" name="Zástupný symbol pro číslo snímku 5">
            <a:extLst>
              <a:ext uri="{FF2B5EF4-FFF2-40B4-BE49-F238E27FC236}">
                <a16:creationId xmlns:a16="http://schemas.microsoft.com/office/drawing/2014/main" id="{E4B7CEE4-A361-444A-8586-20FCD5CCCB45}"/>
              </a:ext>
            </a:extLst>
          </p:cNvPr>
          <p:cNvSpPr>
            <a:spLocks noGrp="1"/>
          </p:cNvSpPr>
          <p:nvPr>
            <p:ph type="sldNum" sz="quarter" idx="12"/>
          </p:nvPr>
        </p:nvSpPr>
        <p:spPr/>
        <p:txBody>
          <a:bodyPr/>
          <a:lstStyle>
            <a:lvl1pPr>
              <a:defRPr/>
            </a:lvl1pPr>
          </a:lstStyle>
          <a:p>
            <a:pPr>
              <a:defRPr/>
            </a:pPr>
            <a:fld id="{3D0B7962-1385-4FBB-8D41-9F93E9199422}" type="slidenum">
              <a:rPr lang="cs-CZ"/>
              <a:pPr>
                <a:defRPr/>
              </a:pPr>
              <a:t>‹#›</a:t>
            </a:fld>
            <a:endParaRPr lang="cs-CZ"/>
          </a:p>
        </p:txBody>
      </p:sp>
    </p:spTree>
    <p:extLst>
      <p:ext uri="{BB962C8B-B14F-4D97-AF65-F5344CB8AC3E}">
        <p14:creationId xmlns:p14="http://schemas.microsoft.com/office/powerpoint/2010/main" val="1659055047"/>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682329" y="457200"/>
            <a:ext cx="3194943" cy="1600200"/>
          </a:xfrm>
        </p:spPr>
        <p:txBody>
          <a:bodyPr anchor="b"/>
          <a:lstStyle>
            <a:lvl1pPr>
              <a:defRPr sz="2600"/>
            </a:lvl1pPr>
          </a:lstStyle>
          <a:p>
            <a:r>
              <a:rPr lang="cs-CZ"/>
              <a:t>Kliknutím lze upravit styl.</a:t>
            </a:r>
          </a:p>
        </p:txBody>
      </p:sp>
      <p:sp>
        <p:nvSpPr>
          <p:cNvPr id="3" name="Zástupný symbol pro obsah 2"/>
          <p:cNvSpPr>
            <a:spLocks noGrp="1"/>
          </p:cNvSpPr>
          <p:nvPr>
            <p:ph idx="1"/>
          </p:nvPr>
        </p:nvSpPr>
        <p:spPr>
          <a:xfrm>
            <a:off x="4211341" y="987428"/>
            <a:ext cx="5014913"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682329"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cs-CZ"/>
              <a:t>Upravte styly předlohy textu.</a:t>
            </a:r>
          </a:p>
        </p:txBody>
      </p:sp>
      <p:sp>
        <p:nvSpPr>
          <p:cNvPr id="5" name="Zástupný symbol pro datum 3">
            <a:extLst>
              <a:ext uri="{FF2B5EF4-FFF2-40B4-BE49-F238E27FC236}">
                <a16:creationId xmlns:a16="http://schemas.microsoft.com/office/drawing/2014/main" id="{AB9E0958-B75A-4EE4-9F6A-87DDA20728FF}"/>
              </a:ext>
            </a:extLst>
          </p:cNvPr>
          <p:cNvSpPr>
            <a:spLocks noGrp="1"/>
          </p:cNvSpPr>
          <p:nvPr>
            <p:ph type="dt" sz="half" idx="10"/>
          </p:nvPr>
        </p:nvSpPr>
        <p:spPr/>
        <p:txBody>
          <a:bodyPr/>
          <a:lstStyle>
            <a:lvl1pPr>
              <a:defRPr/>
            </a:lvl1pPr>
          </a:lstStyle>
          <a:p>
            <a:pPr>
              <a:defRPr/>
            </a:pPr>
            <a:fld id="{DBAFBBC1-692F-4703-9990-A509FFB880E2}" type="datetimeFigureOut">
              <a:rPr lang="cs-CZ"/>
              <a:pPr>
                <a:defRPr/>
              </a:pPr>
              <a:t>15.09.2025</a:t>
            </a:fld>
            <a:endParaRPr lang="cs-CZ"/>
          </a:p>
        </p:txBody>
      </p:sp>
      <p:sp>
        <p:nvSpPr>
          <p:cNvPr id="6" name="Zástupný symbol pro zápatí 4">
            <a:extLst>
              <a:ext uri="{FF2B5EF4-FFF2-40B4-BE49-F238E27FC236}">
                <a16:creationId xmlns:a16="http://schemas.microsoft.com/office/drawing/2014/main" id="{A5A43945-C90E-4FC0-A181-540A0D64157F}"/>
              </a:ext>
            </a:extLst>
          </p:cNvPr>
          <p:cNvSpPr>
            <a:spLocks noGrp="1"/>
          </p:cNvSpPr>
          <p:nvPr>
            <p:ph type="ftr" sz="quarter" idx="11"/>
          </p:nvPr>
        </p:nvSpPr>
        <p:spPr/>
        <p:txBody>
          <a:bodyPr/>
          <a:lstStyle>
            <a:lvl1pPr>
              <a:defRPr/>
            </a:lvl1pPr>
          </a:lstStyle>
          <a:p>
            <a:pPr>
              <a:defRPr/>
            </a:pPr>
            <a:endParaRPr lang="cs-CZ"/>
          </a:p>
        </p:txBody>
      </p:sp>
      <p:sp>
        <p:nvSpPr>
          <p:cNvPr id="7" name="Zástupný symbol pro číslo snímku 5">
            <a:extLst>
              <a:ext uri="{FF2B5EF4-FFF2-40B4-BE49-F238E27FC236}">
                <a16:creationId xmlns:a16="http://schemas.microsoft.com/office/drawing/2014/main" id="{BF80A537-9428-46A5-9531-FEE444589098}"/>
              </a:ext>
            </a:extLst>
          </p:cNvPr>
          <p:cNvSpPr>
            <a:spLocks noGrp="1"/>
          </p:cNvSpPr>
          <p:nvPr>
            <p:ph type="sldNum" sz="quarter" idx="12"/>
          </p:nvPr>
        </p:nvSpPr>
        <p:spPr/>
        <p:txBody>
          <a:bodyPr/>
          <a:lstStyle>
            <a:lvl1pPr>
              <a:defRPr/>
            </a:lvl1pPr>
          </a:lstStyle>
          <a:p>
            <a:pPr>
              <a:defRPr/>
            </a:pPr>
            <a:fld id="{FCF8F28C-D11E-4A31-8C9F-8D736C126A18}" type="slidenum">
              <a:rPr lang="cs-CZ"/>
              <a:pPr>
                <a:defRPr/>
              </a:pPr>
              <a:t>‹#›</a:t>
            </a:fld>
            <a:endParaRPr lang="cs-CZ"/>
          </a:p>
        </p:txBody>
      </p:sp>
    </p:spTree>
    <p:extLst>
      <p:ext uri="{BB962C8B-B14F-4D97-AF65-F5344CB8AC3E}">
        <p14:creationId xmlns:p14="http://schemas.microsoft.com/office/powerpoint/2010/main" val="2312103013"/>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544CAB5-AC21-43DA-ABB4-EB3E0B029924}"/>
              </a:ext>
            </a:extLst>
          </p:cNvPr>
          <p:cNvSpPr>
            <a:spLocks noGrp="1"/>
          </p:cNvSpPr>
          <p:nvPr>
            <p:ph type="dt" sz="half" idx="10"/>
          </p:nvPr>
        </p:nvSpPr>
        <p:spPr/>
        <p:txBody>
          <a:bodyPr/>
          <a:lstStyle>
            <a:lvl1pPr>
              <a:defRPr/>
            </a:lvl1pPr>
          </a:lstStyle>
          <a:p>
            <a:pPr>
              <a:defRPr/>
            </a:pPr>
            <a:fld id="{1465FC37-E213-42F2-B507-0523E9E6B4BA}" type="datetimeFigureOut">
              <a:rPr lang="cs-CZ"/>
              <a:pPr>
                <a:defRPr/>
              </a:pPr>
              <a:t>15.09.2025</a:t>
            </a:fld>
            <a:endParaRPr lang="cs-CZ"/>
          </a:p>
        </p:txBody>
      </p:sp>
      <p:sp>
        <p:nvSpPr>
          <p:cNvPr id="5" name="Zástupný symbol pro zápatí 4">
            <a:extLst>
              <a:ext uri="{FF2B5EF4-FFF2-40B4-BE49-F238E27FC236}">
                <a16:creationId xmlns:a16="http://schemas.microsoft.com/office/drawing/2014/main" id="{05CB9408-702F-4E85-9C9C-66DAC561F12B}"/>
              </a:ext>
            </a:extLst>
          </p:cNvPr>
          <p:cNvSpPr>
            <a:spLocks noGrp="1"/>
          </p:cNvSpPr>
          <p:nvPr>
            <p:ph type="ftr" sz="quarter" idx="11"/>
          </p:nvPr>
        </p:nvSpPr>
        <p:spPr/>
        <p:txBody>
          <a:bodyPr/>
          <a:lstStyle>
            <a:lvl1pPr>
              <a:defRPr/>
            </a:lvl1pPr>
          </a:lstStyle>
          <a:p>
            <a:pPr>
              <a:defRPr/>
            </a:pPr>
            <a:endParaRPr lang="cs-CZ"/>
          </a:p>
        </p:txBody>
      </p:sp>
      <p:sp>
        <p:nvSpPr>
          <p:cNvPr id="6" name="Zástupný symbol pro číslo snímku 5">
            <a:extLst>
              <a:ext uri="{FF2B5EF4-FFF2-40B4-BE49-F238E27FC236}">
                <a16:creationId xmlns:a16="http://schemas.microsoft.com/office/drawing/2014/main" id="{A85BE2E0-6538-4E50-A84F-D6C3B31BAE76}"/>
              </a:ext>
            </a:extLst>
          </p:cNvPr>
          <p:cNvSpPr>
            <a:spLocks noGrp="1"/>
          </p:cNvSpPr>
          <p:nvPr>
            <p:ph type="sldNum" sz="quarter" idx="12"/>
          </p:nvPr>
        </p:nvSpPr>
        <p:spPr/>
        <p:txBody>
          <a:bodyPr/>
          <a:lstStyle>
            <a:lvl1pPr>
              <a:defRPr/>
            </a:lvl1pPr>
          </a:lstStyle>
          <a:p>
            <a:pPr>
              <a:defRPr/>
            </a:pPr>
            <a:fld id="{3CD5DDB8-8049-4889-A97B-4A93ED2F36D7}" type="slidenum">
              <a:rPr lang="cs-CZ"/>
              <a:pPr>
                <a:defRPr/>
              </a:pPr>
              <a:t>‹#›</a:t>
            </a:fld>
            <a:endParaRPr lang="cs-CZ"/>
          </a:p>
        </p:txBody>
      </p:sp>
    </p:spTree>
    <p:extLst>
      <p:ext uri="{BB962C8B-B14F-4D97-AF65-F5344CB8AC3E}">
        <p14:creationId xmlns:p14="http://schemas.microsoft.com/office/powerpoint/2010/main" val="2511900754"/>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7088981" y="365125"/>
            <a:ext cx="2135981" cy="5811838"/>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681037" y="365125"/>
            <a:ext cx="6284119" cy="5811838"/>
          </a:xfrm>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CD021579-B6AE-43A6-A2DD-2E74BD9D3A80}"/>
              </a:ext>
            </a:extLst>
          </p:cNvPr>
          <p:cNvSpPr>
            <a:spLocks noGrp="1"/>
          </p:cNvSpPr>
          <p:nvPr>
            <p:ph type="dt" sz="half" idx="10"/>
          </p:nvPr>
        </p:nvSpPr>
        <p:spPr/>
        <p:txBody>
          <a:bodyPr/>
          <a:lstStyle>
            <a:lvl1pPr>
              <a:defRPr/>
            </a:lvl1pPr>
          </a:lstStyle>
          <a:p>
            <a:pPr>
              <a:defRPr/>
            </a:pPr>
            <a:fld id="{CDB4C803-DB36-495F-A0CE-19FB0885D474}" type="datetimeFigureOut">
              <a:rPr lang="cs-CZ"/>
              <a:pPr>
                <a:defRPr/>
              </a:pPr>
              <a:t>15.09.2025</a:t>
            </a:fld>
            <a:endParaRPr lang="cs-CZ"/>
          </a:p>
        </p:txBody>
      </p:sp>
      <p:sp>
        <p:nvSpPr>
          <p:cNvPr id="5" name="Zástupný symbol pro zápatí 4">
            <a:extLst>
              <a:ext uri="{FF2B5EF4-FFF2-40B4-BE49-F238E27FC236}">
                <a16:creationId xmlns:a16="http://schemas.microsoft.com/office/drawing/2014/main" id="{AE604C18-6E89-48E3-B0D0-BF83B11EA122}"/>
              </a:ext>
            </a:extLst>
          </p:cNvPr>
          <p:cNvSpPr>
            <a:spLocks noGrp="1"/>
          </p:cNvSpPr>
          <p:nvPr>
            <p:ph type="ftr" sz="quarter" idx="11"/>
          </p:nvPr>
        </p:nvSpPr>
        <p:spPr/>
        <p:txBody>
          <a:bodyPr/>
          <a:lstStyle>
            <a:lvl1pPr>
              <a:defRPr/>
            </a:lvl1pPr>
          </a:lstStyle>
          <a:p>
            <a:pPr>
              <a:defRPr/>
            </a:pPr>
            <a:endParaRPr lang="cs-CZ"/>
          </a:p>
        </p:txBody>
      </p:sp>
      <p:sp>
        <p:nvSpPr>
          <p:cNvPr id="6" name="Zástupný symbol pro číslo snímku 5">
            <a:extLst>
              <a:ext uri="{FF2B5EF4-FFF2-40B4-BE49-F238E27FC236}">
                <a16:creationId xmlns:a16="http://schemas.microsoft.com/office/drawing/2014/main" id="{56EB05AD-E264-4CF4-9909-284C8A6EE909}"/>
              </a:ext>
            </a:extLst>
          </p:cNvPr>
          <p:cNvSpPr>
            <a:spLocks noGrp="1"/>
          </p:cNvSpPr>
          <p:nvPr>
            <p:ph type="sldNum" sz="quarter" idx="12"/>
          </p:nvPr>
        </p:nvSpPr>
        <p:spPr/>
        <p:txBody>
          <a:bodyPr/>
          <a:lstStyle>
            <a:lvl1pPr>
              <a:defRPr/>
            </a:lvl1pPr>
          </a:lstStyle>
          <a:p>
            <a:pPr>
              <a:defRPr/>
            </a:pPr>
            <a:fld id="{9245846F-1C6A-4D61-B7E3-F6BA98E5DA17}" type="slidenum">
              <a:rPr lang="cs-CZ"/>
              <a:pPr>
                <a:defRPr/>
              </a:pPr>
              <a:t>‹#›</a:t>
            </a:fld>
            <a:endParaRPr lang="cs-CZ"/>
          </a:p>
        </p:txBody>
      </p:sp>
    </p:spTree>
    <p:extLst>
      <p:ext uri="{BB962C8B-B14F-4D97-AF65-F5344CB8AC3E}">
        <p14:creationId xmlns:p14="http://schemas.microsoft.com/office/powerpoint/2010/main" val="663810472"/>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9" name="Obrázek 8">
            <a:extLst>
              <a:ext uri="{FF2B5EF4-FFF2-40B4-BE49-F238E27FC236}">
                <a16:creationId xmlns:a16="http://schemas.microsoft.com/office/drawing/2014/main" id="{012608DD-A10F-9341-B07D-2ABEBF137D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2" name="Nadpis 1">
            <a:extLst>
              <a:ext uri="{FF2B5EF4-FFF2-40B4-BE49-F238E27FC236}">
                <a16:creationId xmlns:a16="http://schemas.microsoft.com/office/drawing/2014/main" id="{E4004641-2C47-CD45-9A0F-053D76126F8C}"/>
              </a:ext>
            </a:extLst>
          </p:cNvPr>
          <p:cNvSpPr>
            <a:spLocks noGrp="1"/>
          </p:cNvSpPr>
          <p:nvPr>
            <p:ph type="ctrTitle" hasCustomPrompt="1"/>
          </p:nvPr>
        </p:nvSpPr>
        <p:spPr>
          <a:xfrm>
            <a:off x="630837" y="3404286"/>
            <a:ext cx="5757863" cy="802136"/>
          </a:xfrm>
        </p:spPr>
        <p:txBody>
          <a:bodyPr anchor="b">
            <a:normAutofit/>
          </a:bodyPr>
          <a:lstStyle>
            <a:lvl1pPr algn="l">
              <a:defRPr sz="3900" b="1">
                <a:solidFill>
                  <a:schemeClr val="bg1"/>
                </a:solidFill>
              </a:defRPr>
            </a:lvl1pPr>
          </a:lstStyle>
          <a:p>
            <a:r>
              <a:rPr lang="cs-CZ"/>
              <a:t>NÁZEV PREZENTACE</a:t>
            </a:r>
          </a:p>
        </p:txBody>
      </p:sp>
      <p:sp>
        <p:nvSpPr>
          <p:cNvPr id="3" name="Podnadpis 2">
            <a:extLst>
              <a:ext uri="{FF2B5EF4-FFF2-40B4-BE49-F238E27FC236}">
                <a16:creationId xmlns:a16="http://schemas.microsoft.com/office/drawing/2014/main" id="{538C5AB9-CB21-1A48-BC38-3E0D745A9A8F}"/>
              </a:ext>
            </a:extLst>
          </p:cNvPr>
          <p:cNvSpPr>
            <a:spLocks noGrp="1"/>
          </p:cNvSpPr>
          <p:nvPr>
            <p:ph type="subTitle" idx="1" hasCustomPrompt="1"/>
          </p:nvPr>
        </p:nvSpPr>
        <p:spPr>
          <a:xfrm>
            <a:off x="630837" y="4206423"/>
            <a:ext cx="5757863" cy="365125"/>
          </a:xfrm>
        </p:spPr>
        <p:txBody>
          <a:bodyPr/>
          <a:lstStyle>
            <a:lvl1pPr marL="0" indent="0" algn="l">
              <a:buNone/>
              <a:defRPr sz="1950">
                <a:solidFill>
                  <a:schemeClr val="bg1"/>
                </a:solidFill>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cs-CZ"/>
              <a:t>Podnadpis prezentace</a:t>
            </a:r>
          </a:p>
        </p:txBody>
      </p:sp>
      <p:sp>
        <p:nvSpPr>
          <p:cNvPr id="14" name="Zástupný text 13">
            <a:extLst>
              <a:ext uri="{FF2B5EF4-FFF2-40B4-BE49-F238E27FC236}">
                <a16:creationId xmlns:a16="http://schemas.microsoft.com/office/drawing/2014/main" id="{C25FB5CD-2165-0E44-AA3F-BBFF3CEA7DDE}"/>
              </a:ext>
            </a:extLst>
          </p:cNvPr>
          <p:cNvSpPr>
            <a:spLocks noGrp="1"/>
          </p:cNvSpPr>
          <p:nvPr>
            <p:ph type="body" sz="quarter" idx="13" hasCustomPrompt="1"/>
          </p:nvPr>
        </p:nvSpPr>
        <p:spPr>
          <a:xfrm>
            <a:off x="631061" y="4601364"/>
            <a:ext cx="5757863" cy="365126"/>
          </a:xfrm>
        </p:spPr>
        <p:txBody>
          <a:bodyPr>
            <a:normAutofit/>
          </a:bodyPr>
          <a:lstStyle>
            <a:lvl1pPr marL="0" marR="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sz="1950">
                <a:solidFill>
                  <a:schemeClr val="bg1"/>
                </a:solidFill>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cs-CZ"/>
              <a:t>Datum</a:t>
            </a:r>
          </a:p>
        </p:txBody>
      </p:sp>
      <p:pic>
        <p:nvPicPr>
          <p:cNvPr id="1026" name="Picture 2" descr="IROP - Ministerstvo pro místní rozvoj ČR - IROP TOUR - Centrum představuje  IROP 2021-2027">
            <a:extLst>
              <a:ext uri="{FF2B5EF4-FFF2-40B4-BE49-F238E27FC236}">
                <a16:creationId xmlns:a16="http://schemas.microsoft.com/office/drawing/2014/main" id="{35B152C4-1498-2AE2-6774-A46E8E30D10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1272" t="61538" r="10355" b="13255"/>
          <a:stretch/>
        </p:blipFill>
        <p:spPr bwMode="auto">
          <a:xfrm>
            <a:off x="3789485" y="110801"/>
            <a:ext cx="5477607" cy="880884"/>
          </a:xfrm>
          <a:prstGeom prst="rect">
            <a:avLst/>
          </a:prstGeom>
          <a:noFill/>
          <a:extLst>
            <a:ext uri="{909E8E84-426E-40DD-AFC4-6F175D3DCCD1}">
              <a14:hiddenFill xmlns:a14="http://schemas.microsoft.com/office/drawing/2010/main">
                <a:solidFill>
                  <a:srgbClr val="FFFFFF"/>
                </a:solidFill>
              </a14:hiddenFill>
            </a:ext>
          </a:extLst>
        </p:spPr>
      </p:pic>
      <p:pic>
        <p:nvPicPr>
          <p:cNvPr id="4" name="Obrázek 3">
            <a:extLst>
              <a:ext uri="{FF2B5EF4-FFF2-40B4-BE49-F238E27FC236}">
                <a16:creationId xmlns:a16="http://schemas.microsoft.com/office/drawing/2014/main" id="{56B6BF92-C6DD-C0F8-3FF1-C7C9EED7B40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139062" y="5995014"/>
            <a:ext cx="3627875" cy="526052"/>
          </a:xfrm>
          <a:prstGeom prst="rect">
            <a:avLst/>
          </a:prstGeom>
        </p:spPr>
      </p:pic>
    </p:spTree>
    <p:extLst>
      <p:ext uri="{BB962C8B-B14F-4D97-AF65-F5344CB8AC3E}">
        <p14:creationId xmlns:p14="http://schemas.microsoft.com/office/powerpoint/2010/main" val="18563345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pic>
        <p:nvPicPr>
          <p:cNvPr id="10" name="Obrázek 9">
            <a:extLst>
              <a:ext uri="{FF2B5EF4-FFF2-40B4-BE49-F238E27FC236}">
                <a16:creationId xmlns:a16="http://schemas.microsoft.com/office/drawing/2014/main" id="{A78F95B8-082F-354F-8BEF-F80FE8064A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54976"/>
            <a:ext cx="9906000" cy="6603023"/>
          </a:xfrm>
          <a:prstGeom prst="rect">
            <a:avLst/>
          </a:prstGeom>
        </p:spPr>
      </p:pic>
      <p:sp>
        <p:nvSpPr>
          <p:cNvPr id="2" name="Nadpis 1">
            <a:extLst>
              <a:ext uri="{FF2B5EF4-FFF2-40B4-BE49-F238E27FC236}">
                <a16:creationId xmlns:a16="http://schemas.microsoft.com/office/drawing/2014/main" id="{DD37E5AC-DCEC-324C-9C12-A2F400702F28}"/>
              </a:ext>
            </a:extLst>
          </p:cNvPr>
          <p:cNvSpPr>
            <a:spLocks noGrp="1"/>
          </p:cNvSpPr>
          <p:nvPr>
            <p:ph type="title" hasCustomPrompt="1"/>
          </p:nvPr>
        </p:nvSpPr>
        <p:spPr/>
        <p:txBody>
          <a:bodyPr/>
          <a:lstStyle>
            <a:lvl1pPr>
              <a:defRPr b="1">
                <a:solidFill>
                  <a:srgbClr val="80377C"/>
                </a:solidFill>
              </a:defRPr>
            </a:lvl1pPr>
          </a:lstStyle>
          <a:p>
            <a:r>
              <a:rPr lang="cs-CZ"/>
              <a:t>Název kapitoly</a:t>
            </a:r>
          </a:p>
        </p:txBody>
      </p:sp>
      <p:sp>
        <p:nvSpPr>
          <p:cNvPr id="3" name="Zástupný obsah 2">
            <a:extLst>
              <a:ext uri="{FF2B5EF4-FFF2-40B4-BE49-F238E27FC236}">
                <a16:creationId xmlns:a16="http://schemas.microsoft.com/office/drawing/2014/main" id="{70BDDD44-591B-3547-9D45-EC404FB30A21}"/>
              </a:ext>
            </a:extLst>
          </p:cNvPr>
          <p:cNvSpPr>
            <a:spLocks noGrp="1"/>
          </p:cNvSpPr>
          <p:nvPr>
            <p:ph idx="1"/>
          </p:nvPr>
        </p:nvSpPr>
        <p:spPr/>
        <p:txBody>
          <a:bodyPr/>
          <a:lstStyle>
            <a:lvl1pPr marL="185738" indent="-185738">
              <a:buFontTx/>
              <a:buBlip>
                <a:blip r:embed="rId3"/>
              </a:buBlip>
              <a:defRPr>
                <a:solidFill>
                  <a:srgbClr val="878787"/>
                </a:solidFill>
              </a:defRPr>
            </a:lvl1pPr>
            <a:lvl2pPr marL="557213" indent="-185738">
              <a:buFontTx/>
              <a:buBlip>
                <a:blip r:embed="rId4"/>
              </a:buBlip>
              <a:defRPr>
                <a:solidFill>
                  <a:srgbClr val="878787"/>
                </a:solidFill>
              </a:defRPr>
            </a:lvl2pPr>
            <a:lvl3pPr marL="928688" indent="-185738">
              <a:buFontTx/>
              <a:buBlip>
                <a:blip r:embed="rId5"/>
              </a:buBlip>
              <a:defRPr>
                <a:solidFill>
                  <a:srgbClr val="878787"/>
                </a:solidFill>
              </a:defRPr>
            </a:lvl3pPr>
            <a:lvl4pPr marL="1300163" indent="-185738">
              <a:buFontTx/>
              <a:buBlip>
                <a:blip r:embed="rId4"/>
              </a:buBlip>
              <a:defRPr>
                <a:solidFill>
                  <a:srgbClr val="878787"/>
                </a:solidFill>
              </a:defRPr>
            </a:lvl4pPr>
            <a:lvl5pPr marL="1671638" indent="-185738">
              <a:buFontTx/>
              <a:buBlip>
                <a:blip r:embed="rId4"/>
              </a:buBlip>
              <a:defRPr>
                <a:solidFill>
                  <a:srgbClr val="878787"/>
                </a:solidFill>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15" name="Zástupný symbol pro zápatí 14">
            <a:extLst>
              <a:ext uri="{FF2B5EF4-FFF2-40B4-BE49-F238E27FC236}">
                <a16:creationId xmlns:a16="http://schemas.microsoft.com/office/drawing/2014/main" id="{9C295819-CECC-1044-B09F-6B22C7FB2E3D}"/>
              </a:ext>
            </a:extLst>
          </p:cNvPr>
          <p:cNvSpPr>
            <a:spLocks noGrp="1"/>
          </p:cNvSpPr>
          <p:nvPr>
            <p:ph type="ftr" sz="quarter" idx="12"/>
          </p:nvPr>
        </p:nvSpPr>
        <p:spPr>
          <a:xfrm>
            <a:off x="681038" y="6102626"/>
            <a:ext cx="3343275" cy="755374"/>
          </a:xfrm>
        </p:spPr>
        <p:txBody>
          <a:bodyPr anchor="ctr"/>
          <a:lstStyle>
            <a:lvl1pPr algn="l">
              <a:defRPr sz="1138" spc="81" baseline="0">
                <a:solidFill>
                  <a:schemeClr val="bg1"/>
                </a:solidFill>
              </a:defRPr>
            </a:lvl1pPr>
          </a:lstStyle>
          <a:p>
            <a:r>
              <a:rPr lang="cs-CZ" b="1"/>
              <a:t>NÁZEV PREZENTACE | Název kapitoly</a:t>
            </a:r>
            <a:endParaRPr lang="cs-CZ"/>
          </a:p>
        </p:txBody>
      </p:sp>
      <p:sp>
        <p:nvSpPr>
          <p:cNvPr id="16" name="Zástupný symbol pro číslo snímku 15">
            <a:extLst>
              <a:ext uri="{FF2B5EF4-FFF2-40B4-BE49-F238E27FC236}">
                <a16:creationId xmlns:a16="http://schemas.microsoft.com/office/drawing/2014/main" id="{A98DAF98-FBE4-7344-BA1F-7FD69DC277C8}"/>
              </a:ext>
            </a:extLst>
          </p:cNvPr>
          <p:cNvSpPr>
            <a:spLocks noGrp="1"/>
          </p:cNvSpPr>
          <p:nvPr>
            <p:ph type="sldNum" sz="quarter" idx="13"/>
          </p:nvPr>
        </p:nvSpPr>
        <p:spPr/>
        <p:txBody>
          <a:bodyPr/>
          <a:lstStyle/>
          <a:p>
            <a:fld id="{30D0A111-AE48-3F4A-8BD7-909FEF7F3D06}" type="slidenum">
              <a:rPr lang="cs-CZ" smtClean="0"/>
              <a:t>‹#›</a:t>
            </a:fld>
            <a:endParaRPr lang="cs-CZ"/>
          </a:p>
        </p:txBody>
      </p:sp>
    </p:spTree>
    <p:extLst>
      <p:ext uri="{BB962C8B-B14F-4D97-AF65-F5344CB8AC3E}">
        <p14:creationId xmlns:p14="http://schemas.microsoft.com/office/powerpoint/2010/main" val="3112064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43"/>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sp>
        <p:nvSpPr>
          <p:cNvPr id="10" name="Zástupný symbol pro graf 9"/>
          <p:cNvSpPr>
            <a:spLocks noGrp="1"/>
          </p:cNvSpPr>
          <p:nvPr>
            <p:ph type="chart" sz="quarter" idx="13"/>
          </p:nvPr>
        </p:nvSpPr>
        <p:spPr>
          <a:xfrm>
            <a:off x="505685" y="1530379"/>
            <a:ext cx="8894631" cy="4290319"/>
          </a:xfrm>
          <a:prstGeom prst="rect">
            <a:avLst/>
          </a:prstGeom>
        </p:spPr>
        <p:txBody>
          <a:bodyPr/>
          <a:lstStyle/>
          <a:p>
            <a:r>
              <a:rPr lang="cs-CZ"/>
              <a:t>Kliknutím na ikonu přidáte graf.</a:t>
            </a:r>
          </a:p>
        </p:txBody>
      </p:sp>
      <p:sp>
        <p:nvSpPr>
          <p:cNvPr id="9" name="Zástupný symbol pro číslo snímku 8"/>
          <p:cNvSpPr>
            <a:spLocks noGrp="1"/>
          </p:cNvSpPr>
          <p:nvPr>
            <p:ph type="sldNum" sz="quarter" idx="14"/>
          </p:nvPr>
        </p:nvSpPr>
        <p:spPr/>
        <p:txBody>
          <a:bodyPr/>
          <a:lstStyle/>
          <a:p>
            <a:fld id="{177AD5F7-9A70-43A8-B2E8-1F114AD105DD}" type="slidenum">
              <a:rPr lang="cs-CZ" smtClean="0"/>
              <a:pPr/>
              <a:t>‹#›</a:t>
            </a:fld>
            <a:endParaRPr lang="cs-CZ"/>
          </a:p>
        </p:txBody>
      </p:sp>
      <p:pic>
        <p:nvPicPr>
          <p:cNvPr id="11" name="Obrázek 10" descr="OPTP_CZ_RO_B_C-RGB.png"/>
          <p:cNvPicPr>
            <a:picLocks noChangeAspect="1"/>
          </p:cNvPicPr>
          <p:nvPr userDrawn="1"/>
        </p:nvPicPr>
        <p:blipFill>
          <a:blip r:embed="rId3" cstate="print"/>
          <a:stretch>
            <a:fillRect/>
          </a:stretch>
        </p:blipFill>
        <p:spPr>
          <a:xfrm>
            <a:off x="96330" y="6166210"/>
            <a:ext cx="3238977" cy="671810"/>
          </a:xfrm>
          <a:prstGeom prst="rect">
            <a:avLst/>
          </a:prstGeom>
        </p:spPr>
      </p:pic>
      <p:pic>
        <p:nvPicPr>
          <p:cNvPr id="12"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7"/>
            <a:ext cx="6532882" cy="684777"/>
          </a:xfrm>
          <a:prstGeom prst="rect">
            <a:avLst/>
          </a:prstGeom>
        </p:spPr>
      </p:pic>
      <p:pic>
        <p:nvPicPr>
          <p:cNvPr id="3" name="Obrázek 2">
            <a:extLst>
              <a:ext uri="{FF2B5EF4-FFF2-40B4-BE49-F238E27FC236}">
                <a16:creationId xmlns:a16="http://schemas.microsoft.com/office/drawing/2014/main" id="{0841DBC0-392C-3EBB-E2E2-BFB962C5BCB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6329" y="6265562"/>
            <a:ext cx="3276790" cy="530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Záhlaví oddílu">
    <p:spTree>
      <p:nvGrpSpPr>
        <p:cNvPr id="1" name=""/>
        <p:cNvGrpSpPr/>
        <p:nvPr/>
      </p:nvGrpSpPr>
      <p:grpSpPr>
        <a:xfrm>
          <a:off x="0" y="0"/>
          <a:ext cx="0" cy="0"/>
          <a:chOff x="0" y="0"/>
          <a:chExt cx="0" cy="0"/>
        </a:xfrm>
      </p:grpSpPr>
      <p:pic>
        <p:nvPicPr>
          <p:cNvPr id="8" name="Obrázek 7" descr="Obsah obrázku text&#10;&#10;Popis byl vytvořen automaticky">
            <a:extLst>
              <a:ext uri="{FF2B5EF4-FFF2-40B4-BE49-F238E27FC236}">
                <a16:creationId xmlns:a16="http://schemas.microsoft.com/office/drawing/2014/main" id="{5DEDA154-34FD-184B-A456-F21EBBE1F6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906000" cy="6858000"/>
          </a:xfrm>
          <a:prstGeom prst="rect">
            <a:avLst/>
          </a:prstGeom>
        </p:spPr>
      </p:pic>
      <p:sp>
        <p:nvSpPr>
          <p:cNvPr id="2" name="Nadpis 1">
            <a:extLst>
              <a:ext uri="{FF2B5EF4-FFF2-40B4-BE49-F238E27FC236}">
                <a16:creationId xmlns:a16="http://schemas.microsoft.com/office/drawing/2014/main" id="{337AECBB-9E2C-AC4F-9802-BE5331D20811}"/>
              </a:ext>
            </a:extLst>
          </p:cNvPr>
          <p:cNvSpPr>
            <a:spLocks noGrp="1"/>
          </p:cNvSpPr>
          <p:nvPr>
            <p:ph type="title" hasCustomPrompt="1"/>
          </p:nvPr>
        </p:nvSpPr>
        <p:spPr>
          <a:xfrm>
            <a:off x="729490" y="3200402"/>
            <a:ext cx="8543925" cy="1928605"/>
          </a:xfrm>
        </p:spPr>
        <p:txBody>
          <a:bodyPr anchor="b"/>
          <a:lstStyle>
            <a:lvl1pPr>
              <a:defRPr sz="4875" b="1">
                <a:solidFill>
                  <a:schemeClr val="bg1"/>
                </a:solidFill>
              </a:defRPr>
            </a:lvl1pPr>
          </a:lstStyle>
          <a:p>
            <a:r>
              <a:rPr lang="cs-CZ"/>
              <a:t>PŘEDĚLOVACÍ</a:t>
            </a:r>
            <a:br>
              <a:rPr lang="cs-CZ"/>
            </a:br>
            <a:r>
              <a:rPr lang="cs-CZ"/>
              <a:t>SLIDE</a:t>
            </a:r>
          </a:p>
        </p:txBody>
      </p:sp>
    </p:spTree>
    <p:extLst>
      <p:ext uri="{BB962C8B-B14F-4D97-AF65-F5344CB8AC3E}">
        <p14:creationId xmlns:p14="http://schemas.microsoft.com/office/powerpoint/2010/main" val="7777593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pic>
        <p:nvPicPr>
          <p:cNvPr id="10" name="Obrázek 9">
            <a:extLst>
              <a:ext uri="{FF2B5EF4-FFF2-40B4-BE49-F238E27FC236}">
                <a16:creationId xmlns:a16="http://schemas.microsoft.com/office/drawing/2014/main" id="{A78F95B8-082F-354F-8BEF-F80FE8064A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906000" cy="6858000"/>
          </a:xfrm>
          <a:prstGeom prst="rect">
            <a:avLst/>
          </a:prstGeom>
        </p:spPr>
      </p:pic>
      <p:sp>
        <p:nvSpPr>
          <p:cNvPr id="2" name="Nadpis 1">
            <a:extLst>
              <a:ext uri="{FF2B5EF4-FFF2-40B4-BE49-F238E27FC236}">
                <a16:creationId xmlns:a16="http://schemas.microsoft.com/office/drawing/2014/main" id="{DD37E5AC-DCEC-324C-9C12-A2F400702F28}"/>
              </a:ext>
            </a:extLst>
          </p:cNvPr>
          <p:cNvSpPr>
            <a:spLocks noGrp="1"/>
          </p:cNvSpPr>
          <p:nvPr>
            <p:ph type="title" hasCustomPrompt="1"/>
          </p:nvPr>
        </p:nvSpPr>
        <p:spPr/>
        <p:txBody>
          <a:bodyPr/>
          <a:lstStyle>
            <a:lvl1pPr>
              <a:defRPr b="1">
                <a:solidFill>
                  <a:srgbClr val="80377C"/>
                </a:solidFill>
              </a:defRPr>
            </a:lvl1pPr>
          </a:lstStyle>
          <a:p>
            <a:r>
              <a:rPr lang="cs-CZ"/>
              <a:t>Název kapitoly</a:t>
            </a:r>
          </a:p>
        </p:txBody>
      </p:sp>
      <p:sp>
        <p:nvSpPr>
          <p:cNvPr id="6" name="Zástupný symbol pro číslo snímku 5">
            <a:extLst>
              <a:ext uri="{FF2B5EF4-FFF2-40B4-BE49-F238E27FC236}">
                <a16:creationId xmlns:a16="http://schemas.microsoft.com/office/drawing/2014/main" id="{AEA906C2-275E-1848-BD0B-1D2DA08A7234}"/>
              </a:ext>
            </a:extLst>
          </p:cNvPr>
          <p:cNvSpPr>
            <a:spLocks noGrp="1"/>
          </p:cNvSpPr>
          <p:nvPr>
            <p:ph type="sldNum" sz="quarter" idx="12"/>
          </p:nvPr>
        </p:nvSpPr>
        <p:spPr/>
        <p:txBody>
          <a:bodyPr/>
          <a:lstStyle/>
          <a:p>
            <a:fld id="{30D0A111-AE48-3F4A-8BD7-909FEF7F3D06}" type="slidenum">
              <a:rPr lang="cs-CZ" smtClean="0"/>
              <a:t>‹#›</a:t>
            </a:fld>
            <a:endParaRPr lang="cs-CZ"/>
          </a:p>
        </p:txBody>
      </p:sp>
      <p:graphicFrame>
        <p:nvGraphicFramePr>
          <p:cNvPr id="7" name="Tabulka 7">
            <a:extLst>
              <a:ext uri="{FF2B5EF4-FFF2-40B4-BE49-F238E27FC236}">
                <a16:creationId xmlns:a16="http://schemas.microsoft.com/office/drawing/2014/main" id="{7B2F4ABA-848A-DD4E-8E99-8B963E0D6575}"/>
              </a:ext>
            </a:extLst>
          </p:cNvPr>
          <p:cNvGraphicFramePr>
            <a:graphicFrameLocks noGrp="1"/>
          </p:cNvGraphicFramePr>
          <p:nvPr userDrawn="1">
            <p:extLst>
              <p:ext uri="{D42A27DB-BD31-4B8C-83A1-F6EECF244321}">
                <p14:modId xmlns:p14="http://schemas.microsoft.com/office/powerpoint/2010/main" val="1599130100"/>
              </p:ext>
            </p:extLst>
          </p:nvPr>
        </p:nvGraphicFramePr>
        <p:xfrm>
          <a:off x="681038" y="1893944"/>
          <a:ext cx="6604000" cy="1640881"/>
        </p:xfrm>
        <a:graphic>
          <a:graphicData uri="http://schemas.openxmlformats.org/drawingml/2006/table">
            <a:tbl>
              <a:tblPr firstRow="1" bandRow="1">
                <a:tableStyleId>{5C22544A-7EE6-4342-B048-85BDC9FD1C3A}</a:tableStyleId>
              </a:tblPr>
              <a:tblGrid>
                <a:gridCol w="1651000">
                  <a:extLst>
                    <a:ext uri="{9D8B030D-6E8A-4147-A177-3AD203B41FA5}">
                      <a16:colId xmlns:a16="http://schemas.microsoft.com/office/drawing/2014/main" val="1047663955"/>
                    </a:ext>
                  </a:extLst>
                </a:gridCol>
                <a:gridCol w="1651000">
                  <a:extLst>
                    <a:ext uri="{9D8B030D-6E8A-4147-A177-3AD203B41FA5}">
                      <a16:colId xmlns:a16="http://schemas.microsoft.com/office/drawing/2014/main" val="164525267"/>
                    </a:ext>
                  </a:extLst>
                </a:gridCol>
                <a:gridCol w="1651000">
                  <a:extLst>
                    <a:ext uri="{9D8B030D-6E8A-4147-A177-3AD203B41FA5}">
                      <a16:colId xmlns:a16="http://schemas.microsoft.com/office/drawing/2014/main" val="151288338"/>
                    </a:ext>
                  </a:extLst>
                </a:gridCol>
                <a:gridCol w="1651000">
                  <a:extLst>
                    <a:ext uri="{9D8B030D-6E8A-4147-A177-3AD203B41FA5}">
                      <a16:colId xmlns:a16="http://schemas.microsoft.com/office/drawing/2014/main" val="3012895244"/>
                    </a:ext>
                  </a:extLst>
                </a:gridCol>
              </a:tblGrid>
              <a:tr h="528361">
                <a:tc>
                  <a:txBody>
                    <a:bodyPr/>
                    <a:lstStyle/>
                    <a:p>
                      <a:r>
                        <a:rPr lang="cs-CZ" sz="1400" err="1">
                          <a:solidFill>
                            <a:schemeClr val="bg1"/>
                          </a:solidFill>
                        </a:rPr>
                        <a:t>Lorem</a:t>
                      </a:r>
                      <a:r>
                        <a:rPr lang="cs-CZ" sz="1400">
                          <a:solidFill>
                            <a:schemeClr val="bg1"/>
                          </a:solidFill>
                        </a:rPr>
                        <a:t> </a:t>
                      </a:r>
                      <a:r>
                        <a:rPr lang="cs-CZ" sz="1400" err="1">
                          <a:solidFill>
                            <a:schemeClr val="bg1"/>
                          </a:solidFill>
                        </a:rPr>
                        <a:t>ipsum</a:t>
                      </a:r>
                      <a:r>
                        <a:rPr lang="cs-CZ" sz="1400">
                          <a:solidFill>
                            <a:schemeClr val="bg1"/>
                          </a:solidFill>
                        </a:rPr>
                        <a:t> </a:t>
                      </a:r>
                      <a:r>
                        <a:rPr lang="cs-CZ" sz="1400" err="1">
                          <a:solidFill>
                            <a:schemeClr val="bg1"/>
                          </a:solidFill>
                        </a:rPr>
                        <a:t>dolor</a:t>
                      </a:r>
                      <a:endParaRPr lang="cs-CZ" sz="1400">
                        <a:solidFill>
                          <a:schemeClr val="bg1"/>
                        </a:solidFill>
                      </a:endParaRPr>
                    </a:p>
                  </a:txBody>
                  <a:tcPr marL="74295" marR="74295" anchor="ctr">
                    <a:solidFill>
                      <a:srgbClr val="80377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err="1">
                          <a:solidFill>
                            <a:schemeClr val="bg1"/>
                          </a:solidFill>
                        </a:rPr>
                        <a:t>Lorem</a:t>
                      </a:r>
                      <a:r>
                        <a:rPr lang="cs-CZ" sz="1400">
                          <a:solidFill>
                            <a:schemeClr val="bg1"/>
                          </a:solidFill>
                        </a:rPr>
                        <a:t> </a:t>
                      </a:r>
                      <a:r>
                        <a:rPr lang="cs-CZ" sz="1400" err="1">
                          <a:solidFill>
                            <a:schemeClr val="bg1"/>
                          </a:solidFill>
                        </a:rPr>
                        <a:t>ipsum</a:t>
                      </a:r>
                      <a:endParaRPr lang="cs-CZ" sz="1400">
                        <a:solidFill>
                          <a:schemeClr val="bg1"/>
                        </a:solidFill>
                      </a:endParaRPr>
                    </a:p>
                  </a:txBody>
                  <a:tcPr marL="74295" marR="74295" anchor="ctr">
                    <a:solidFill>
                      <a:srgbClr val="80377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err="1">
                          <a:solidFill>
                            <a:schemeClr val="bg1"/>
                          </a:solidFill>
                        </a:rPr>
                        <a:t>Lorem</a:t>
                      </a:r>
                      <a:r>
                        <a:rPr lang="cs-CZ" sz="1400">
                          <a:solidFill>
                            <a:schemeClr val="bg1"/>
                          </a:solidFill>
                        </a:rPr>
                        <a:t> </a:t>
                      </a:r>
                      <a:r>
                        <a:rPr lang="cs-CZ" sz="1400" err="1">
                          <a:solidFill>
                            <a:schemeClr val="bg1"/>
                          </a:solidFill>
                        </a:rPr>
                        <a:t>ipsum</a:t>
                      </a:r>
                      <a:endParaRPr lang="cs-CZ" sz="1400">
                        <a:solidFill>
                          <a:schemeClr val="bg1"/>
                        </a:solidFill>
                      </a:endParaRPr>
                    </a:p>
                  </a:txBody>
                  <a:tcPr marL="74295" marR="74295" anchor="ctr">
                    <a:solidFill>
                      <a:srgbClr val="80377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err="1">
                          <a:solidFill>
                            <a:schemeClr val="bg1"/>
                          </a:solidFill>
                        </a:rPr>
                        <a:t>Lorem</a:t>
                      </a:r>
                      <a:r>
                        <a:rPr lang="cs-CZ" sz="1400">
                          <a:solidFill>
                            <a:schemeClr val="bg1"/>
                          </a:solidFill>
                        </a:rPr>
                        <a:t> </a:t>
                      </a:r>
                      <a:r>
                        <a:rPr lang="cs-CZ" sz="1400" err="1">
                          <a:solidFill>
                            <a:schemeClr val="bg1"/>
                          </a:solidFill>
                        </a:rPr>
                        <a:t>ipsum</a:t>
                      </a:r>
                      <a:endParaRPr lang="cs-CZ" sz="1400">
                        <a:solidFill>
                          <a:schemeClr val="bg1"/>
                        </a:solidFill>
                      </a:endParaRPr>
                    </a:p>
                  </a:txBody>
                  <a:tcPr marL="74295" marR="74295" anchor="ctr">
                    <a:solidFill>
                      <a:srgbClr val="80377C"/>
                    </a:solidFill>
                  </a:tcPr>
                </a:tc>
                <a:extLst>
                  <a:ext uri="{0D108BD9-81ED-4DB2-BD59-A6C34878D82A}">
                    <a16:rowId xmlns:a16="http://schemas.microsoft.com/office/drawing/2014/main" val="17190440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400" err="1">
                          <a:solidFill>
                            <a:srgbClr val="80377C"/>
                          </a:solidFill>
                        </a:rPr>
                        <a:t>Lorem</a:t>
                      </a:r>
                      <a:r>
                        <a:rPr lang="cs-CZ" sz="1400">
                          <a:solidFill>
                            <a:srgbClr val="80377C"/>
                          </a:solidFill>
                        </a:rPr>
                        <a:t> </a:t>
                      </a:r>
                      <a:r>
                        <a:rPr lang="cs-CZ" sz="1400" err="1">
                          <a:solidFill>
                            <a:srgbClr val="80377C"/>
                          </a:solidFill>
                        </a:rPr>
                        <a:t>ipsum</a:t>
                      </a:r>
                      <a:r>
                        <a:rPr lang="cs-CZ" sz="1400">
                          <a:solidFill>
                            <a:srgbClr val="80377C"/>
                          </a:solidFill>
                        </a:rPr>
                        <a:t> </a:t>
                      </a:r>
                      <a:r>
                        <a:rPr lang="cs-CZ" sz="1400" err="1">
                          <a:solidFill>
                            <a:srgbClr val="80377C"/>
                          </a:solidFill>
                        </a:rPr>
                        <a:t>dolor</a:t>
                      </a:r>
                      <a:endParaRPr lang="cs-CZ" sz="1400">
                        <a:solidFill>
                          <a:srgbClr val="80377C"/>
                        </a:solidFill>
                      </a:endParaRPr>
                    </a:p>
                  </a:txBody>
                  <a:tcPr marL="74295" marR="74295" anchor="ctr">
                    <a:solidFill>
                      <a:srgbClr val="E6D8E5"/>
                    </a:solidFill>
                  </a:tcPr>
                </a:tc>
                <a:tc>
                  <a:txBody>
                    <a:bodyPr/>
                    <a:lstStyle/>
                    <a:p>
                      <a:r>
                        <a:rPr lang="cs-CZ" sz="1400">
                          <a:solidFill>
                            <a:srgbClr val="80377C"/>
                          </a:solidFill>
                        </a:rPr>
                        <a:t>54 231</a:t>
                      </a:r>
                    </a:p>
                  </a:txBody>
                  <a:tcPr marL="74295" marR="74295" anchor="ctr">
                    <a:solidFill>
                      <a:srgbClr val="E6D8E5"/>
                    </a:solidFill>
                  </a:tcPr>
                </a:tc>
                <a:tc>
                  <a:txBody>
                    <a:bodyPr/>
                    <a:lstStyle/>
                    <a:p>
                      <a:r>
                        <a:rPr lang="cs-CZ" sz="1400">
                          <a:solidFill>
                            <a:srgbClr val="80377C"/>
                          </a:solidFill>
                        </a:rPr>
                        <a:t>21 652</a:t>
                      </a:r>
                    </a:p>
                  </a:txBody>
                  <a:tcPr marL="74295" marR="74295" anchor="ctr">
                    <a:solidFill>
                      <a:srgbClr val="E6D8E5"/>
                    </a:solidFill>
                  </a:tcPr>
                </a:tc>
                <a:tc>
                  <a:txBody>
                    <a:bodyPr/>
                    <a:lstStyle/>
                    <a:p>
                      <a:r>
                        <a:rPr lang="cs-CZ" sz="1400">
                          <a:solidFill>
                            <a:srgbClr val="80377C"/>
                          </a:solidFill>
                        </a:rPr>
                        <a:t>6 326</a:t>
                      </a:r>
                    </a:p>
                  </a:txBody>
                  <a:tcPr marL="74295" marR="74295" anchor="ctr">
                    <a:solidFill>
                      <a:srgbClr val="E6D8E5"/>
                    </a:solidFill>
                  </a:tcPr>
                </a:tc>
                <a:extLst>
                  <a:ext uri="{0D108BD9-81ED-4DB2-BD59-A6C34878D82A}">
                    <a16:rowId xmlns:a16="http://schemas.microsoft.com/office/drawing/2014/main" val="420317051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400" err="1">
                          <a:solidFill>
                            <a:srgbClr val="80377C"/>
                          </a:solidFill>
                        </a:rPr>
                        <a:t>Lorem</a:t>
                      </a:r>
                      <a:r>
                        <a:rPr lang="cs-CZ" sz="1400">
                          <a:solidFill>
                            <a:srgbClr val="80377C"/>
                          </a:solidFill>
                        </a:rPr>
                        <a:t> </a:t>
                      </a:r>
                      <a:r>
                        <a:rPr lang="cs-CZ" sz="1400" err="1">
                          <a:solidFill>
                            <a:srgbClr val="80377C"/>
                          </a:solidFill>
                        </a:rPr>
                        <a:t>ipsum</a:t>
                      </a:r>
                      <a:r>
                        <a:rPr lang="cs-CZ" sz="1400">
                          <a:solidFill>
                            <a:srgbClr val="80377C"/>
                          </a:solidFill>
                        </a:rPr>
                        <a:t> </a:t>
                      </a:r>
                      <a:r>
                        <a:rPr lang="cs-CZ" sz="1400" err="1">
                          <a:solidFill>
                            <a:srgbClr val="80377C"/>
                          </a:solidFill>
                        </a:rPr>
                        <a:t>dolor</a:t>
                      </a:r>
                      <a:endParaRPr lang="cs-CZ" sz="1400">
                        <a:solidFill>
                          <a:srgbClr val="80377C"/>
                        </a:solidFill>
                      </a:endParaRPr>
                    </a:p>
                  </a:txBody>
                  <a:tcPr marL="74295" marR="74295" anchor="ctr">
                    <a:solidFill>
                      <a:srgbClr val="F2EBF2"/>
                    </a:solidFill>
                  </a:tcPr>
                </a:tc>
                <a:tc>
                  <a:txBody>
                    <a:bodyPr/>
                    <a:lstStyle/>
                    <a:p>
                      <a:r>
                        <a:rPr lang="cs-CZ" sz="1400">
                          <a:solidFill>
                            <a:srgbClr val="80377C"/>
                          </a:solidFill>
                        </a:rPr>
                        <a:t>1 321</a:t>
                      </a:r>
                    </a:p>
                  </a:txBody>
                  <a:tcPr marL="74295" marR="74295" anchor="ctr">
                    <a:solidFill>
                      <a:srgbClr val="F2EBF2"/>
                    </a:solidFill>
                  </a:tcPr>
                </a:tc>
                <a:tc>
                  <a:txBody>
                    <a:bodyPr/>
                    <a:lstStyle/>
                    <a:p>
                      <a:r>
                        <a:rPr lang="cs-CZ" sz="1400">
                          <a:solidFill>
                            <a:srgbClr val="80377C"/>
                          </a:solidFill>
                        </a:rPr>
                        <a:t>12 332</a:t>
                      </a:r>
                    </a:p>
                  </a:txBody>
                  <a:tcPr marL="74295" marR="74295" anchor="ctr">
                    <a:solidFill>
                      <a:srgbClr val="F2EBF2"/>
                    </a:solidFill>
                  </a:tcPr>
                </a:tc>
                <a:tc>
                  <a:txBody>
                    <a:bodyPr/>
                    <a:lstStyle/>
                    <a:p>
                      <a:r>
                        <a:rPr lang="cs-CZ" sz="1400">
                          <a:solidFill>
                            <a:srgbClr val="80377C"/>
                          </a:solidFill>
                        </a:rPr>
                        <a:t>4 568</a:t>
                      </a:r>
                    </a:p>
                  </a:txBody>
                  <a:tcPr marL="74295" marR="74295" anchor="ctr">
                    <a:solidFill>
                      <a:srgbClr val="F2EBF2"/>
                    </a:solidFill>
                  </a:tcPr>
                </a:tc>
                <a:extLst>
                  <a:ext uri="{0D108BD9-81ED-4DB2-BD59-A6C34878D82A}">
                    <a16:rowId xmlns:a16="http://schemas.microsoft.com/office/drawing/2014/main" val="388234917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400" err="1">
                          <a:solidFill>
                            <a:srgbClr val="80377C"/>
                          </a:solidFill>
                        </a:rPr>
                        <a:t>Lorem</a:t>
                      </a:r>
                      <a:r>
                        <a:rPr lang="cs-CZ" sz="1400">
                          <a:solidFill>
                            <a:srgbClr val="80377C"/>
                          </a:solidFill>
                        </a:rPr>
                        <a:t> </a:t>
                      </a:r>
                      <a:r>
                        <a:rPr lang="cs-CZ" sz="1400" err="1">
                          <a:solidFill>
                            <a:srgbClr val="80377C"/>
                          </a:solidFill>
                        </a:rPr>
                        <a:t>ipsum</a:t>
                      </a:r>
                      <a:r>
                        <a:rPr lang="cs-CZ" sz="1400">
                          <a:solidFill>
                            <a:srgbClr val="80377C"/>
                          </a:solidFill>
                        </a:rPr>
                        <a:t> </a:t>
                      </a:r>
                      <a:r>
                        <a:rPr lang="cs-CZ" sz="1400" err="1">
                          <a:solidFill>
                            <a:srgbClr val="80377C"/>
                          </a:solidFill>
                        </a:rPr>
                        <a:t>dolor</a:t>
                      </a:r>
                      <a:endParaRPr lang="cs-CZ" sz="1400">
                        <a:solidFill>
                          <a:srgbClr val="80377C"/>
                        </a:solidFill>
                      </a:endParaRPr>
                    </a:p>
                  </a:txBody>
                  <a:tcPr marL="74295" marR="74295" anchor="ctr">
                    <a:solidFill>
                      <a:srgbClr val="E6D8E5"/>
                    </a:solidFill>
                  </a:tcPr>
                </a:tc>
                <a:tc>
                  <a:txBody>
                    <a:bodyPr/>
                    <a:lstStyle/>
                    <a:p>
                      <a:r>
                        <a:rPr lang="cs-CZ" sz="1400">
                          <a:solidFill>
                            <a:srgbClr val="80377C"/>
                          </a:solidFill>
                        </a:rPr>
                        <a:t>12 654</a:t>
                      </a:r>
                    </a:p>
                  </a:txBody>
                  <a:tcPr marL="74295" marR="74295" anchor="ctr">
                    <a:solidFill>
                      <a:srgbClr val="E6D8E5"/>
                    </a:solidFill>
                  </a:tcPr>
                </a:tc>
                <a:tc>
                  <a:txBody>
                    <a:bodyPr/>
                    <a:lstStyle/>
                    <a:p>
                      <a:r>
                        <a:rPr lang="cs-CZ" sz="1400">
                          <a:solidFill>
                            <a:srgbClr val="80377C"/>
                          </a:solidFill>
                        </a:rPr>
                        <a:t>46 845</a:t>
                      </a:r>
                    </a:p>
                  </a:txBody>
                  <a:tcPr marL="74295" marR="74295" anchor="ctr">
                    <a:solidFill>
                      <a:srgbClr val="E6D8E5"/>
                    </a:solidFill>
                  </a:tcPr>
                </a:tc>
                <a:tc>
                  <a:txBody>
                    <a:bodyPr/>
                    <a:lstStyle/>
                    <a:p>
                      <a:r>
                        <a:rPr lang="cs-CZ" sz="1400">
                          <a:solidFill>
                            <a:srgbClr val="80377C"/>
                          </a:solidFill>
                        </a:rPr>
                        <a:t>13 654</a:t>
                      </a:r>
                    </a:p>
                  </a:txBody>
                  <a:tcPr marL="74295" marR="74295" anchor="ctr">
                    <a:solidFill>
                      <a:srgbClr val="E6D8E5"/>
                    </a:solidFill>
                  </a:tcPr>
                </a:tc>
                <a:extLst>
                  <a:ext uri="{0D108BD9-81ED-4DB2-BD59-A6C34878D82A}">
                    <a16:rowId xmlns:a16="http://schemas.microsoft.com/office/drawing/2014/main" val="3571999262"/>
                  </a:ext>
                </a:extLst>
              </a:tr>
            </a:tbl>
          </a:graphicData>
        </a:graphic>
      </p:graphicFrame>
      <p:graphicFrame>
        <p:nvGraphicFramePr>
          <p:cNvPr id="8" name="Graf 7">
            <a:extLst>
              <a:ext uri="{FF2B5EF4-FFF2-40B4-BE49-F238E27FC236}">
                <a16:creationId xmlns:a16="http://schemas.microsoft.com/office/drawing/2014/main" id="{ACB414DE-7490-AD4F-BEA0-776E6A6EFFE1}"/>
              </a:ext>
            </a:extLst>
          </p:cNvPr>
          <p:cNvGraphicFramePr/>
          <p:nvPr userDrawn="1">
            <p:extLst>
              <p:ext uri="{D42A27DB-BD31-4B8C-83A1-F6EECF244321}">
                <p14:modId xmlns:p14="http://schemas.microsoft.com/office/powerpoint/2010/main" val="3524784278"/>
              </p:ext>
            </p:extLst>
          </p:nvPr>
        </p:nvGraphicFramePr>
        <p:xfrm>
          <a:off x="681038" y="3863035"/>
          <a:ext cx="4429884" cy="19837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Graf 10">
            <a:extLst>
              <a:ext uri="{FF2B5EF4-FFF2-40B4-BE49-F238E27FC236}">
                <a16:creationId xmlns:a16="http://schemas.microsoft.com/office/drawing/2014/main" id="{FB9A51DE-7939-6D44-A7F0-674DD61B97BD}"/>
              </a:ext>
            </a:extLst>
          </p:cNvPr>
          <p:cNvGraphicFramePr/>
          <p:nvPr userDrawn="1">
            <p:extLst>
              <p:ext uri="{D42A27DB-BD31-4B8C-83A1-F6EECF244321}">
                <p14:modId xmlns:p14="http://schemas.microsoft.com/office/powerpoint/2010/main" val="3238186294"/>
              </p:ext>
            </p:extLst>
          </p:nvPr>
        </p:nvGraphicFramePr>
        <p:xfrm>
          <a:off x="5212363" y="3863035"/>
          <a:ext cx="4429884" cy="1983776"/>
        </p:xfrm>
        <a:graphic>
          <a:graphicData uri="http://schemas.openxmlformats.org/drawingml/2006/chart">
            <c:chart xmlns:c="http://schemas.openxmlformats.org/drawingml/2006/chart" xmlns:r="http://schemas.openxmlformats.org/officeDocument/2006/relationships" r:id="rId4"/>
          </a:graphicData>
        </a:graphic>
      </p:graphicFrame>
      <p:sp>
        <p:nvSpPr>
          <p:cNvPr id="12" name="Zástupný symbol pro zápatí 14">
            <a:extLst>
              <a:ext uri="{FF2B5EF4-FFF2-40B4-BE49-F238E27FC236}">
                <a16:creationId xmlns:a16="http://schemas.microsoft.com/office/drawing/2014/main" id="{BE318CB3-8FE6-F24C-BC76-29CA5D57E887}"/>
              </a:ext>
            </a:extLst>
          </p:cNvPr>
          <p:cNvSpPr>
            <a:spLocks noGrp="1"/>
          </p:cNvSpPr>
          <p:nvPr>
            <p:ph type="ftr" sz="quarter" idx="13"/>
          </p:nvPr>
        </p:nvSpPr>
        <p:spPr>
          <a:xfrm>
            <a:off x="681038" y="6102626"/>
            <a:ext cx="3343275" cy="755374"/>
          </a:xfrm>
        </p:spPr>
        <p:txBody>
          <a:bodyPr anchor="ctr"/>
          <a:lstStyle>
            <a:lvl1pPr algn="l">
              <a:defRPr sz="1138" spc="81" baseline="0">
                <a:solidFill>
                  <a:schemeClr val="bg1"/>
                </a:solidFill>
              </a:defRPr>
            </a:lvl1pPr>
          </a:lstStyle>
          <a:p>
            <a:r>
              <a:rPr lang="cs-CZ" b="1"/>
              <a:t>NÁZEV PREZENTACE | Název kapitoly</a:t>
            </a:r>
            <a:endParaRPr lang="cs-CZ"/>
          </a:p>
        </p:txBody>
      </p:sp>
    </p:spTree>
    <p:extLst>
      <p:ext uri="{BB962C8B-B14F-4D97-AF65-F5344CB8AC3E}">
        <p14:creationId xmlns:p14="http://schemas.microsoft.com/office/powerpoint/2010/main" val="30091570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41230622-4911-1D46-B13D-287B04EAD142}"/>
              </a:ext>
            </a:extLst>
          </p:cNvPr>
          <p:cNvSpPr>
            <a:spLocks noGrp="1"/>
          </p:cNvSpPr>
          <p:nvPr>
            <p:ph type="dt" sz="half" idx="10"/>
          </p:nvPr>
        </p:nvSpPr>
        <p:spPr/>
        <p:txBody>
          <a:bodyPr/>
          <a:lstStyle/>
          <a:p>
            <a:endParaRPr lang="cs-CZ"/>
          </a:p>
        </p:txBody>
      </p:sp>
      <p:sp>
        <p:nvSpPr>
          <p:cNvPr id="3" name="Zástupný symbol pro zápatí 2">
            <a:extLst>
              <a:ext uri="{FF2B5EF4-FFF2-40B4-BE49-F238E27FC236}">
                <a16:creationId xmlns:a16="http://schemas.microsoft.com/office/drawing/2014/main" id="{D33C5C7B-C4F1-8248-8068-75DE38616375}"/>
              </a:ext>
            </a:extLst>
          </p:cNvPr>
          <p:cNvSpPr>
            <a:spLocks noGrp="1"/>
          </p:cNvSpPr>
          <p:nvPr>
            <p:ph type="ftr" sz="quarter" idx="11"/>
          </p:nvPr>
        </p:nvSpPr>
        <p:spPr/>
        <p:txBody>
          <a:bodyPr/>
          <a:lstStyle/>
          <a:p>
            <a:r>
              <a:rPr lang="cs-CZ"/>
              <a:t>NÁZEV PREZENTACE | Název kapitoly</a:t>
            </a:r>
          </a:p>
        </p:txBody>
      </p:sp>
      <p:sp>
        <p:nvSpPr>
          <p:cNvPr id="4" name="Zástupný symbol pro číslo snímku 3">
            <a:extLst>
              <a:ext uri="{FF2B5EF4-FFF2-40B4-BE49-F238E27FC236}">
                <a16:creationId xmlns:a16="http://schemas.microsoft.com/office/drawing/2014/main" id="{94F5C943-9466-5644-A451-02A5BB52CD25}"/>
              </a:ext>
            </a:extLst>
          </p:cNvPr>
          <p:cNvSpPr>
            <a:spLocks noGrp="1"/>
          </p:cNvSpPr>
          <p:nvPr>
            <p:ph type="sldNum" sz="quarter" idx="12"/>
          </p:nvPr>
        </p:nvSpPr>
        <p:spPr/>
        <p:txBody>
          <a:bodyPr/>
          <a:lstStyle/>
          <a:p>
            <a:fld id="{30D0A111-AE48-3F4A-8BD7-909FEF7F3D06}" type="slidenum">
              <a:rPr lang="cs-CZ" smtClean="0"/>
              <a:t>‹#›</a:t>
            </a:fld>
            <a:endParaRPr lang="cs-CZ"/>
          </a:p>
        </p:txBody>
      </p:sp>
      <p:pic>
        <p:nvPicPr>
          <p:cNvPr id="6" name="Obrázek 5">
            <a:extLst>
              <a:ext uri="{FF2B5EF4-FFF2-40B4-BE49-F238E27FC236}">
                <a16:creationId xmlns:a16="http://schemas.microsoft.com/office/drawing/2014/main" id="{866AA573-44E1-B34A-98D8-659490DBDB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11" name="Zástupný text 9">
            <a:extLst>
              <a:ext uri="{FF2B5EF4-FFF2-40B4-BE49-F238E27FC236}">
                <a16:creationId xmlns:a16="http://schemas.microsoft.com/office/drawing/2014/main" id="{5AC1D35A-396D-4D44-A371-3828ECF6EDB0}"/>
              </a:ext>
            </a:extLst>
          </p:cNvPr>
          <p:cNvSpPr>
            <a:spLocks noGrp="1"/>
          </p:cNvSpPr>
          <p:nvPr>
            <p:ph type="body" sz="quarter" idx="15" hasCustomPrompt="1"/>
          </p:nvPr>
        </p:nvSpPr>
        <p:spPr>
          <a:xfrm>
            <a:off x="1736466" y="2992438"/>
            <a:ext cx="6509168" cy="436562"/>
          </a:xfrm>
        </p:spPr>
        <p:txBody>
          <a:bodyPr>
            <a:normAutofit/>
          </a:bodyPr>
          <a:lstStyle>
            <a:lvl1pPr marL="0" indent="0" algn="ctr">
              <a:buNone/>
              <a:defRPr sz="2113" b="1" spc="0" baseline="0">
                <a:solidFill>
                  <a:schemeClr val="bg1"/>
                </a:solidFill>
              </a:defRPr>
            </a:lvl1pPr>
            <a:lvl2pPr marL="371475" indent="0" algn="ctr">
              <a:buNone/>
              <a:defRPr/>
            </a:lvl2pPr>
            <a:lvl3pPr marL="742950" indent="0" algn="ctr">
              <a:buNone/>
              <a:defRPr/>
            </a:lvl3pPr>
            <a:lvl4pPr marL="1114425" indent="0" algn="ctr">
              <a:buNone/>
              <a:defRPr/>
            </a:lvl4pPr>
            <a:lvl5pPr marL="1485900" indent="0" algn="ctr">
              <a:buNone/>
              <a:defRPr/>
            </a:lvl5pPr>
          </a:lstStyle>
          <a:p>
            <a:pPr lvl="0"/>
            <a:r>
              <a:rPr lang="cs-CZ"/>
              <a:t>JMÉNO PŘÍJMENÍ</a:t>
            </a:r>
          </a:p>
        </p:txBody>
      </p:sp>
      <p:sp>
        <p:nvSpPr>
          <p:cNvPr id="12" name="Zástupný text 9">
            <a:extLst>
              <a:ext uri="{FF2B5EF4-FFF2-40B4-BE49-F238E27FC236}">
                <a16:creationId xmlns:a16="http://schemas.microsoft.com/office/drawing/2014/main" id="{C1E1B58E-DAED-8640-8476-CF280CF99308}"/>
              </a:ext>
            </a:extLst>
          </p:cNvPr>
          <p:cNvSpPr>
            <a:spLocks noGrp="1"/>
          </p:cNvSpPr>
          <p:nvPr>
            <p:ph type="body" sz="quarter" idx="16" hasCustomPrompt="1"/>
          </p:nvPr>
        </p:nvSpPr>
        <p:spPr>
          <a:xfrm>
            <a:off x="1736466" y="3476025"/>
            <a:ext cx="6509168" cy="300037"/>
          </a:xfrm>
        </p:spPr>
        <p:txBody>
          <a:bodyPr>
            <a:normAutofit/>
          </a:bodyPr>
          <a:lstStyle>
            <a:lvl1pPr marL="0" indent="0" algn="ctr">
              <a:buNone/>
              <a:defRPr sz="1625" b="0" spc="0" baseline="0">
                <a:solidFill>
                  <a:schemeClr val="bg1"/>
                </a:solidFill>
              </a:defRPr>
            </a:lvl1pPr>
            <a:lvl2pPr marL="371475" indent="0" algn="ctr">
              <a:buNone/>
              <a:defRPr/>
            </a:lvl2pPr>
            <a:lvl3pPr marL="742950" indent="0" algn="ctr">
              <a:buNone/>
              <a:defRPr/>
            </a:lvl3pPr>
            <a:lvl4pPr marL="1114425" indent="0" algn="ctr">
              <a:buNone/>
              <a:defRPr/>
            </a:lvl4pPr>
            <a:lvl5pPr marL="1485900" indent="0" algn="ctr">
              <a:buNone/>
              <a:defRPr/>
            </a:lvl5pPr>
          </a:lstStyle>
          <a:p>
            <a:pPr lvl="0"/>
            <a:r>
              <a:rPr lang="cs-CZ"/>
              <a:t>+420 000 000 000</a:t>
            </a:r>
          </a:p>
        </p:txBody>
      </p:sp>
      <p:sp>
        <p:nvSpPr>
          <p:cNvPr id="13" name="Zástupný text 9">
            <a:extLst>
              <a:ext uri="{FF2B5EF4-FFF2-40B4-BE49-F238E27FC236}">
                <a16:creationId xmlns:a16="http://schemas.microsoft.com/office/drawing/2014/main" id="{D252EFD5-7A51-484F-B3EB-2CA859896BA2}"/>
              </a:ext>
            </a:extLst>
          </p:cNvPr>
          <p:cNvSpPr>
            <a:spLocks noGrp="1"/>
          </p:cNvSpPr>
          <p:nvPr>
            <p:ph type="body" sz="quarter" idx="17" hasCustomPrompt="1"/>
          </p:nvPr>
        </p:nvSpPr>
        <p:spPr>
          <a:xfrm>
            <a:off x="1736466" y="3823086"/>
            <a:ext cx="6509168" cy="365125"/>
          </a:xfrm>
        </p:spPr>
        <p:txBody>
          <a:bodyPr>
            <a:normAutofit/>
          </a:bodyPr>
          <a:lstStyle>
            <a:lvl1pPr marL="0" indent="0" algn="ctr">
              <a:buNone/>
              <a:defRPr sz="1625" b="0" spc="0" baseline="0">
                <a:solidFill>
                  <a:schemeClr val="bg1"/>
                </a:solidFill>
              </a:defRPr>
            </a:lvl1pPr>
            <a:lvl2pPr marL="371475" indent="0" algn="ctr">
              <a:buNone/>
              <a:defRPr/>
            </a:lvl2pPr>
            <a:lvl3pPr marL="742950" indent="0" algn="ctr">
              <a:buNone/>
              <a:defRPr/>
            </a:lvl3pPr>
            <a:lvl4pPr marL="1114425" indent="0" algn="ctr">
              <a:buNone/>
              <a:defRPr/>
            </a:lvl4pPr>
            <a:lvl5pPr marL="1485900" indent="0" algn="ctr">
              <a:buNone/>
              <a:defRPr/>
            </a:lvl5pPr>
          </a:lstStyle>
          <a:p>
            <a:pPr lvl="0"/>
            <a:r>
              <a:rPr lang="cs-CZ" err="1"/>
              <a:t>email@adresa.cz</a:t>
            </a:r>
            <a:endParaRPr lang="cs-CZ"/>
          </a:p>
        </p:txBody>
      </p:sp>
    </p:spTree>
    <p:extLst>
      <p:ext uri="{BB962C8B-B14F-4D97-AF65-F5344CB8AC3E}">
        <p14:creationId xmlns:p14="http://schemas.microsoft.com/office/powerpoint/2010/main" val="268679799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380DA0A-096B-B149-B46A-34D81BBF0768}"/>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3F96B8BD-763A-424A-A8C1-6C8023466D5F}"/>
              </a:ext>
            </a:extLst>
          </p:cNvPr>
          <p:cNvSpPr>
            <a:spLocks noGrp="1"/>
          </p:cNvSpPr>
          <p:nvPr>
            <p:ph sz="half" idx="1"/>
          </p:nvPr>
        </p:nvSpPr>
        <p:spPr>
          <a:xfrm>
            <a:off x="681038" y="1825625"/>
            <a:ext cx="421005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31EB59DA-8043-1042-97BB-664F02C9F063}"/>
              </a:ext>
            </a:extLst>
          </p:cNvPr>
          <p:cNvSpPr>
            <a:spLocks noGrp="1"/>
          </p:cNvSpPr>
          <p:nvPr>
            <p:ph sz="half" idx="2"/>
          </p:nvPr>
        </p:nvSpPr>
        <p:spPr>
          <a:xfrm>
            <a:off x="5014913" y="1825625"/>
            <a:ext cx="421005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969F0AD9-5D1E-A84C-9164-1267C2CBCCF5}"/>
              </a:ext>
            </a:extLst>
          </p:cNvPr>
          <p:cNvSpPr>
            <a:spLocks noGrp="1"/>
          </p:cNvSpPr>
          <p:nvPr>
            <p:ph type="dt" sz="half" idx="10"/>
          </p:nvPr>
        </p:nvSpPr>
        <p:spPr/>
        <p:txBody>
          <a:bodyPr/>
          <a:lstStyle/>
          <a:p>
            <a:endParaRPr lang="cs-CZ"/>
          </a:p>
        </p:txBody>
      </p:sp>
      <p:sp>
        <p:nvSpPr>
          <p:cNvPr id="6" name="Zástupný symbol pro zápatí 5">
            <a:extLst>
              <a:ext uri="{FF2B5EF4-FFF2-40B4-BE49-F238E27FC236}">
                <a16:creationId xmlns:a16="http://schemas.microsoft.com/office/drawing/2014/main" id="{76D80E43-2748-8F4C-A994-D7F93A1D5F5A}"/>
              </a:ext>
            </a:extLst>
          </p:cNvPr>
          <p:cNvSpPr>
            <a:spLocks noGrp="1"/>
          </p:cNvSpPr>
          <p:nvPr>
            <p:ph type="ftr" sz="quarter" idx="11"/>
          </p:nvPr>
        </p:nvSpPr>
        <p:spPr/>
        <p:txBody>
          <a:bodyPr/>
          <a:lstStyle/>
          <a:p>
            <a:r>
              <a:rPr lang="cs-CZ"/>
              <a:t>NÁZEV PREZENTACE | Název kapitoly</a:t>
            </a:r>
          </a:p>
        </p:txBody>
      </p:sp>
      <p:sp>
        <p:nvSpPr>
          <p:cNvPr id="7" name="Zástupný symbol pro číslo snímku 6">
            <a:extLst>
              <a:ext uri="{FF2B5EF4-FFF2-40B4-BE49-F238E27FC236}">
                <a16:creationId xmlns:a16="http://schemas.microsoft.com/office/drawing/2014/main" id="{A79CABEE-1015-EF49-B177-8BFDEEAD8F07}"/>
              </a:ext>
            </a:extLst>
          </p:cNvPr>
          <p:cNvSpPr>
            <a:spLocks noGrp="1"/>
          </p:cNvSpPr>
          <p:nvPr>
            <p:ph type="sldNum" sz="quarter" idx="12"/>
          </p:nvPr>
        </p:nvSpPr>
        <p:spPr/>
        <p:txBody>
          <a:bodyPr/>
          <a:lstStyle/>
          <a:p>
            <a:fld id="{30D0A111-AE48-3F4A-8BD7-909FEF7F3D06}" type="slidenum">
              <a:rPr lang="cs-CZ" smtClean="0"/>
              <a:t>‹#›</a:t>
            </a:fld>
            <a:endParaRPr lang="cs-CZ"/>
          </a:p>
        </p:txBody>
      </p:sp>
    </p:spTree>
    <p:extLst>
      <p:ext uri="{BB962C8B-B14F-4D97-AF65-F5344CB8AC3E}">
        <p14:creationId xmlns:p14="http://schemas.microsoft.com/office/powerpoint/2010/main" val="2845755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FD5E43F-FFDA-9842-A7BF-C141B7782124}"/>
              </a:ext>
            </a:extLst>
          </p:cNvPr>
          <p:cNvSpPr>
            <a:spLocks noGrp="1"/>
          </p:cNvSpPr>
          <p:nvPr>
            <p:ph type="title"/>
          </p:nvPr>
        </p:nvSpPr>
        <p:spPr>
          <a:xfrm>
            <a:off x="682328" y="365126"/>
            <a:ext cx="8543925"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2F9A8528-7670-C544-A7FE-C7CB4898F71D}"/>
              </a:ext>
            </a:extLst>
          </p:cNvPr>
          <p:cNvSpPr>
            <a:spLocks noGrp="1"/>
          </p:cNvSpPr>
          <p:nvPr>
            <p:ph type="body" idx="1"/>
          </p:nvPr>
        </p:nvSpPr>
        <p:spPr>
          <a:xfrm>
            <a:off x="682328" y="1681163"/>
            <a:ext cx="4190702"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E39F19F8-B4B9-F04C-9AA4-773A71B7D8E8}"/>
              </a:ext>
            </a:extLst>
          </p:cNvPr>
          <p:cNvSpPr>
            <a:spLocks noGrp="1"/>
          </p:cNvSpPr>
          <p:nvPr>
            <p:ph sz="half" idx="2"/>
          </p:nvPr>
        </p:nvSpPr>
        <p:spPr>
          <a:xfrm>
            <a:off x="682328" y="2505075"/>
            <a:ext cx="4190702"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230B36FE-2EEE-8343-ADCF-7474E5424AB4}"/>
              </a:ext>
            </a:extLst>
          </p:cNvPr>
          <p:cNvSpPr>
            <a:spLocks noGrp="1"/>
          </p:cNvSpPr>
          <p:nvPr>
            <p:ph type="body" sz="quarter" idx="3"/>
          </p:nvPr>
        </p:nvSpPr>
        <p:spPr>
          <a:xfrm>
            <a:off x="5014913" y="1681163"/>
            <a:ext cx="4211340"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65765880-FB63-2348-8FBA-FA7285B87AF4}"/>
              </a:ext>
            </a:extLst>
          </p:cNvPr>
          <p:cNvSpPr>
            <a:spLocks noGrp="1"/>
          </p:cNvSpPr>
          <p:nvPr>
            <p:ph sz="quarter" idx="4"/>
          </p:nvPr>
        </p:nvSpPr>
        <p:spPr>
          <a:xfrm>
            <a:off x="5014913" y="2505075"/>
            <a:ext cx="4211340"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D65C5197-8B8B-9245-84EC-5D80B65F011F}"/>
              </a:ext>
            </a:extLst>
          </p:cNvPr>
          <p:cNvSpPr>
            <a:spLocks noGrp="1"/>
          </p:cNvSpPr>
          <p:nvPr>
            <p:ph type="dt" sz="half" idx="10"/>
          </p:nvPr>
        </p:nvSpPr>
        <p:spPr/>
        <p:txBody>
          <a:bodyPr/>
          <a:lstStyle/>
          <a:p>
            <a:endParaRPr lang="cs-CZ"/>
          </a:p>
        </p:txBody>
      </p:sp>
      <p:sp>
        <p:nvSpPr>
          <p:cNvPr id="8" name="Zástupný symbol pro zápatí 7">
            <a:extLst>
              <a:ext uri="{FF2B5EF4-FFF2-40B4-BE49-F238E27FC236}">
                <a16:creationId xmlns:a16="http://schemas.microsoft.com/office/drawing/2014/main" id="{39AB1634-C3B6-FB48-AC18-AA81DC6BF82A}"/>
              </a:ext>
            </a:extLst>
          </p:cNvPr>
          <p:cNvSpPr>
            <a:spLocks noGrp="1"/>
          </p:cNvSpPr>
          <p:nvPr>
            <p:ph type="ftr" sz="quarter" idx="11"/>
          </p:nvPr>
        </p:nvSpPr>
        <p:spPr/>
        <p:txBody>
          <a:bodyPr/>
          <a:lstStyle/>
          <a:p>
            <a:r>
              <a:rPr lang="cs-CZ"/>
              <a:t>NÁZEV PREZENTACE | Název kapitoly</a:t>
            </a:r>
          </a:p>
        </p:txBody>
      </p:sp>
      <p:sp>
        <p:nvSpPr>
          <p:cNvPr id="9" name="Zástupný symbol pro číslo snímku 8">
            <a:extLst>
              <a:ext uri="{FF2B5EF4-FFF2-40B4-BE49-F238E27FC236}">
                <a16:creationId xmlns:a16="http://schemas.microsoft.com/office/drawing/2014/main" id="{CB110480-4E56-EF43-8168-F55B8D5B80B5}"/>
              </a:ext>
            </a:extLst>
          </p:cNvPr>
          <p:cNvSpPr>
            <a:spLocks noGrp="1"/>
          </p:cNvSpPr>
          <p:nvPr>
            <p:ph type="sldNum" sz="quarter" idx="12"/>
          </p:nvPr>
        </p:nvSpPr>
        <p:spPr/>
        <p:txBody>
          <a:bodyPr/>
          <a:lstStyle/>
          <a:p>
            <a:fld id="{30D0A111-AE48-3F4A-8BD7-909FEF7F3D06}" type="slidenum">
              <a:rPr lang="cs-CZ" smtClean="0"/>
              <a:t>‹#›</a:t>
            </a:fld>
            <a:endParaRPr lang="cs-CZ"/>
          </a:p>
        </p:txBody>
      </p:sp>
    </p:spTree>
    <p:extLst>
      <p:ext uri="{BB962C8B-B14F-4D97-AF65-F5344CB8AC3E}">
        <p14:creationId xmlns:p14="http://schemas.microsoft.com/office/powerpoint/2010/main" val="27373047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8DAC8B6-1478-314D-A755-A7CE19510F07}"/>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F69D0DB2-EAB2-9D42-8C29-470564B69027}"/>
              </a:ext>
            </a:extLst>
          </p:cNvPr>
          <p:cNvSpPr>
            <a:spLocks noGrp="1"/>
          </p:cNvSpPr>
          <p:nvPr>
            <p:ph type="dt" sz="half" idx="10"/>
          </p:nvPr>
        </p:nvSpPr>
        <p:spPr/>
        <p:txBody>
          <a:bodyPr/>
          <a:lstStyle/>
          <a:p>
            <a:endParaRPr lang="cs-CZ"/>
          </a:p>
        </p:txBody>
      </p:sp>
      <p:sp>
        <p:nvSpPr>
          <p:cNvPr id="4" name="Zástupný symbol pro zápatí 3">
            <a:extLst>
              <a:ext uri="{FF2B5EF4-FFF2-40B4-BE49-F238E27FC236}">
                <a16:creationId xmlns:a16="http://schemas.microsoft.com/office/drawing/2014/main" id="{E33301ED-B8D1-4645-9669-7CDB2FD1AEAA}"/>
              </a:ext>
            </a:extLst>
          </p:cNvPr>
          <p:cNvSpPr>
            <a:spLocks noGrp="1"/>
          </p:cNvSpPr>
          <p:nvPr>
            <p:ph type="ftr" sz="quarter" idx="11"/>
          </p:nvPr>
        </p:nvSpPr>
        <p:spPr/>
        <p:txBody>
          <a:bodyPr/>
          <a:lstStyle/>
          <a:p>
            <a:r>
              <a:rPr lang="cs-CZ"/>
              <a:t>NÁZEV PREZENTACE | Název kapitoly</a:t>
            </a:r>
          </a:p>
        </p:txBody>
      </p:sp>
      <p:sp>
        <p:nvSpPr>
          <p:cNvPr id="5" name="Zástupný symbol pro číslo snímku 4">
            <a:extLst>
              <a:ext uri="{FF2B5EF4-FFF2-40B4-BE49-F238E27FC236}">
                <a16:creationId xmlns:a16="http://schemas.microsoft.com/office/drawing/2014/main" id="{0A131E11-056B-5847-A2A0-DA53E9B3C9D8}"/>
              </a:ext>
            </a:extLst>
          </p:cNvPr>
          <p:cNvSpPr>
            <a:spLocks noGrp="1"/>
          </p:cNvSpPr>
          <p:nvPr>
            <p:ph type="sldNum" sz="quarter" idx="12"/>
          </p:nvPr>
        </p:nvSpPr>
        <p:spPr/>
        <p:txBody>
          <a:bodyPr/>
          <a:lstStyle/>
          <a:p>
            <a:fld id="{30D0A111-AE48-3F4A-8BD7-909FEF7F3D06}" type="slidenum">
              <a:rPr lang="cs-CZ" smtClean="0"/>
              <a:t>‹#›</a:t>
            </a:fld>
            <a:endParaRPr lang="cs-CZ"/>
          </a:p>
        </p:txBody>
      </p:sp>
    </p:spTree>
    <p:extLst>
      <p:ext uri="{BB962C8B-B14F-4D97-AF65-F5344CB8AC3E}">
        <p14:creationId xmlns:p14="http://schemas.microsoft.com/office/powerpoint/2010/main" val="4767486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2EB39A4-A660-1B47-9EC0-97C411BA13E8}"/>
              </a:ext>
            </a:extLst>
          </p:cNvPr>
          <p:cNvSpPr>
            <a:spLocks noGrp="1"/>
          </p:cNvSpPr>
          <p:nvPr>
            <p:ph type="title"/>
          </p:nvPr>
        </p:nvSpPr>
        <p:spPr>
          <a:xfrm>
            <a:off x="682328" y="457200"/>
            <a:ext cx="3194943" cy="1600200"/>
          </a:xfrm>
        </p:spPr>
        <p:txBody>
          <a:bodyPr anchor="b"/>
          <a:lstStyle>
            <a:lvl1pPr>
              <a:defRPr sz="2600"/>
            </a:lvl1pPr>
          </a:lstStyle>
          <a:p>
            <a:r>
              <a:rPr lang="cs-CZ"/>
              <a:t>Kliknutím lze upravit styl.</a:t>
            </a:r>
          </a:p>
        </p:txBody>
      </p:sp>
      <p:sp>
        <p:nvSpPr>
          <p:cNvPr id="3" name="Zástupný obsah 2">
            <a:extLst>
              <a:ext uri="{FF2B5EF4-FFF2-40B4-BE49-F238E27FC236}">
                <a16:creationId xmlns:a16="http://schemas.microsoft.com/office/drawing/2014/main" id="{92FE8ED1-D470-2F46-BD96-674EFBCACCF3}"/>
              </a:ext>
            </a:extLst>
          </p:cNvPr>
          <p:cNvSpPr>
            <a:spLocks noGrp="1"/>
          </p:cNvSpPr>
          <p:nvPr>
            <p:ph idx="1"/>
          </p:nvPr>
        </p:nvSpPr>
        <p:spPr>
          <a:xfrm>
            <a:off x="4211340" y="987426"/>
            <a:ext cx="5014913"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F7283DBF-BBCD-FC47-BC58-D145296C3BE4}"/>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AE0AECD4-C3B7-AE41-95B0-C1C3C2434B0E}"/>
              </a:ext>
            </a:extLst>
          </p:cNvPr>
          <p:cNvSpPr>
            <a:spLocks noGrp="1"/>
          </p:cNvSpPr>
          <p:nvPr>
            <p:ph type="dt" sz="half" idx="10"/>
          </p:nvPr>
        </p:nvSpPr>
        <p:spPr/>
        <p:txBody>
          <a:bodyPr/>
          <a:lstStyle/>
          <a:p>
            <a:endParaRPr lang="cs-CZ"/>
          </a:p>
        </p:txBody>
      </p:sp>
      <p:sp>
        <p:nvSpPr>
          <p:cNvPr id="6" name="Zástupný symbol pro zápatí 5">
            <a:extLst>
              <a:ext uri="{FF2B5EF4-FFF2-40B4-BE49-F238E27FC236}">
                <a16:creationId xmlns:a16="http://schemas.microsoft.com/office/drawing/2014/main" id="{D771EBE9-3D8D-914F-AF23-46DAE89D0F0A}"/>
              </a:ext>
            </a:extLst>
          </p:cNvPr>
          <p:cNvSpPr>
            <a:spLocks noGrp="1"/>
          </p:cNvSpPr>
          <p:nvPr>
            <p:ph type="ftr" sz="quarter" idx="11"/>
          </p:nvPr>
        </p:nvSpPr>
        <p:spPr/>
        <p:txBody>
          <a:bodyPr/>
          <a:lstStyle/>
          <a:p>
            <a:r>
              <a:rPr lang="cs-CZ"/>
              <a:t>NÁZEV PREZENTACE | Název kapitoly</a:t>
            </a:r>
          </a:p>
        </p:txBody>
      </p:sp>
      <p:sp>
        <p:nvSpPr>
          <p:cNvPr id="7" name="Zástupný symbol pro číslo snímku 6">
            <a:extLst>
              <a:ext uri="{FF2B5EF4-FFF2-40B4-BE49-F238E27FC236}">
                <a16:creationId xmlns:a16="http://schemas.microsoft.com/office/drawing/2014/main" id="{BE570ABB-6C1F-2345-8602-BAC163502AF5}"/>
              </a:ext>
            </a:extLst>
          </p:cNvPr>
          <p:cNvSpPr>
            <a:spLocks noGrp="1"/>
          </p:cNvSpPr>
          <p:nvPr>
            <p:ph type="sldNum" sz="quarter" idx="12"/>
          </p:nvPr>
        </p:nvSpPr>
        <p:spPr/>
        <p:txBody>
          <a:bodyPr/>
          <a:lstStyle/>
          <a:p>
            <a:fld id="{30D0A111-AE48-3F4A-8BD7-909FEF7F3D06}" type="slidenum">
              <a:rPr lang="cs-CZ" smtClean="0"/>
              <a:t>‹#›</a:t>
            </a:fld>
            <a:endParaRPr lang="cs-CZ"/>
          </a:p>
        </p:txBody>
      </p:sp>
    </p:spTree>
    <p:extLst>
      <p:ext uri="{BB962C8B-B14F-4D97-AF65-F5344CB8AC3E}">
        <p14:creationId xmlns:p14="http://schemas.microsoft.com/office/powerpoint/2010/main" val="13912539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5D25865-0E9F-C246-A30E-18B3415BFE69}"/>
              </a:ext>
            </a:extLst>
          </p:cNvPr>
          <p:cNvSpPr>
            <a:spLocks noGrp="1"/>
          </p:cNvSpPr>
          <p:nvPr>
            <p:ph type="title"/>
          </p:nvPr>
        </p:nvSpPr>
        <p:spPr>
          <a:xfrm>
            <a:off x="682328" y="457200"/>
            <a:ext cx="3194943" cy="1600200"/>
          </a:xfrm>
        </p:spPr>
        <p:txBody>
          <a:bodyPr anchor="b"/>
          <a:lstStyle>
            <a:lvl1pPr>
              <a:defRPr sz="2600"/>
            </a:lvl1pPr>
          </a:lstStyle>
          <a:p>
            <a:r>
              <a:rPr lang="cs-CZ"/>
              <a:t>Kliknutím lze upravit styl.</a:t>
            </a:r>
          </a:p>
        </p:txBody>
      </p:sp>
      <p:sp>
        <p:nvSpPr>
          <p:cNvPr id="3" name="Zástupný symbol obrázku 2">
            <a:extLst>
              <a:ext uri="{FF2B5EF4-FFF2-40B4-BE49-F238E27FC236}">
                <a16:creationId xmlns:a16="http://schemas.microsoft.com/office/drawing/2014/main" id="{3ABF3B73-B1AA-3B40-8BEB-C7453EB91E91}"/>
              </a:ext>
            </a:extLst>
          </p:cNvPr>
          <p:cNvSpPr>
            <a:spLocks noGrp="1"/>
          </p:cNvSpPr>
          <p:nvPr>
            <p:ph type="pic" idx="1"/>
          </p:nvPr>
        </p:nvSpPr>
        <p:spPr>
          <a:xfrm>
            <a:off x="4211340" y="987426"/>
            <a:ext cx="5014913" cy="4873625"/>
          </a:xfrm>
        </p:spPr>
        <p:txBody>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endParaRPr lang="cs-CZ"/>
          </a:p>
        </p:txBody>
      </p:sp>
      <p:sp>
        <p:nvSpPr>
          <p:cNvPr id="4" name="Zástupný text 3">
            <a:extLst>
              <a:ext uri="{FF2B5EF4-FFF2-40B4-BE49-F238E27FC236}">
                <a16:creationId xmlns:a16="http://schemas.microsoft.com/office/drawing/2014/main" id="{0FC6CB16-7E75-2544-BE4A-410586DCB80C}"/>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FAAEC14D-ADD5-5340-A5C5-19AD8D962FC1}"/>
              </a:ext>
            </a:extLst>
          </p:cNvPr>
          <p:cNvSpPr>
            <a:spLocks noGrp="1"/>
          </p:cNvSpPr>
          <p:nvPr>
            <p:ph type="dt" sz="half" idx="10"/>
          </p:nvPr>
        </p:nvSpPr>
        <p:spPr/>
        <p:txBody>
          <a:bodyPr/>
          <a:lstStyle/>
          <a:p>
            <a:endParaRPr lang="cs-CZ"/>
          </a:p>
        </p:txBody>
      </p:sp>
      <p:sp>
        <p:nvSpPr>
          <p:cNvPr id="6" name="Zástupný symbol pro zápatí 5">
            <a:extLst>
              <a:ext uri="{FF2B5EF4-FFF2-40B4-BE49-F238E27FC236}">
                <a16:creationId xmlns:a16="http://schemas.microsoft.com/office/drawing/2014/main" id="{C8574DAA-C89A-1741-91B6-97D93D4D480F}"/>
              </a:ext>
            </a:extLst>
          </p:cNvPr>
          <p:cNvSpPr>
            <a:spLocks noGrp="1"/>
          </p:cNvSpPr>
          <p:nvPr>
            <p:ph type="ftr" sz="quarter" idx="11"/>
          </p:nvPr>
        </p:nvSpPr>
        <p:spPr/>
        <p:txBody>
          <a:bodyPr/>
          <a:lstStyle/>
          <a:p>
            <a:r>
              <a:rPr lang="cs-CZ"/>
              <a:t>NÁZEV PREZENTACE | Název kapitoly</a:t>
            </a:r>
          </a:p>
        </p:txBody>
      </p:sp>
      <p:sp>
        <p:nvSpPr>
          <p:cNvPr id="7" name="Zástupný symbol pro číslo snímku 6">
            <a:extLst>
              <a:ext uri="{FF2B5EF4-FFF2-40B4-BE49-F238E27FC236}">
                <a16:creationId xmlns:a16="http://schemas.microsoft.com/office/drawing/2014/main" id="{3D23123A-89A5-F448-8794-211D23D90824}"/>
              </a:ext>
            </a:extLst>
          </p:cNvPr>
          <p:cNvSpPr>
            <a:spLocks noGrp="1"/>
          </p:cNvSpPr>
          <p:nvPr>
            <p:ph type="sldNum" sz="quarter" idx="12"/>
          </p:nvPr>
        </p:nvSpPr>
        <p:spPr/>
        <p:txBody>
          <a:bodyPr/>
          <a:lstStyle/>
          <a:p>
            <a:fld id="{30D0A111-AE48-3F4A-8BD7-909FEF7F3D06}" type="slidenum">
              <a:rPr lang="cs-CZ" smtClean="0"/>
              <a:t>‹#›</a:t>
            </a:fld>
            <a:endParaRPr lang="cs-CZ"/>
          </a:p>
        </p:txBody>
      </p:sp>
    </p:spTree>
    <p:extLst>
      <p:ext uri="{BB962C8B-B14F-4D97-AF65-F5344CB8AC3E}">
        <p14:creationId xmlns:p14="http://schemas.microsoft.com/office/powerpoint/2010/main" val="39449208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3A0CE28-6B27-5447-BA6E-6EC4A418F680}"/>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51AB3671-6B94-1444-8324-6CC03DF0FFB8}"/>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ED198AC-CCAC-CA49-B225-9F0E1D4333CE}"/>
              </a:ext>
            </a:extLst>
          </p:cNvPr>
          <p:cNvSpPr>
            <a:spLocks noGrp="1"/>
          </p:cNvSpPr>
          <p:nvPr>
            <p:ph type="dt" sz="half" idx="10"/>
          </p:nvPr>
        </p:nvSpPr>
        <p:spPr/>
        <p:txBody>
          <a:bodyPr/>
          <a:lstStyle/>
          <a:p>
            <a:endParaRPr lang="cs-CZ"/>
          </a:p>
        </p:txBody>
      </p:sp>
      <p:sp>
        <p:nvSpPr>
          <p:cNvPr id="5" name="Zástupný symbol pro zápatí 4">
            <a:extLst>
              <a:ext uri="{FF2B5EF4-FFF2-40B4-BE49-F238E27FC236}">
                <a16:creationId xmlns:a16="http://schemas.microsoft.com/office/drawing/2014/main" id="{EAE6C147-A539-FE4D-B448-3D6499708C86}"/>
              </a:ext>
            </a:extLst>
          </p:cNvPr>
          <p:cNvSpPr>
            <a:spLocks noGrp="1"/>
          </p:cNvSpPr>
          <p:nvPr>
            <p:ph type="ftr" sz="quarter" idx="11"/>
          </p:nvPr>
        </p:nvSpPr>
        <p:spPr/>
        <p:txBody>
          <a:bodyPr/>
          <a:lstStyle/>
          <a:p>
            <a:r>
              <a:rPr lang="cs-CZ"/>
              <a:t>NÁZEV PREZENTACE | Název kapitoly</a:t>
            </a:r>
          </a:p>
        </p:txBody>
      </p:sp>
      <p:sp>
        <p:nvSpPr>
          <p:cNvPr id="6" name="Zástupný symbol pro číslo snímku 5">
            <a:extLst>
              <a:ext uri="{FF2B5EF4-FFF2-40B4-BE49-F238E27FC236}">
                <a16:creationId xmlns:a16="http://schemas.microsoft.com/office/drawing/2014/main" id="{884C9319-6CA6-E74D-A84C-148BDAC9E136}"/>
              </a:ext>
            </a:extLst>
          </p:cNvPr>
          <p:cNvSpPr>
            <a:spLocks noGrp="1"/>
          </p:cNvSpPr>
          <p:nvPr>
            <p:ph type="sldNum" sz="quarter" idx="12"/>
          </p:nvPr>
        </p:nvSpPr>
        <p:spPr/>
        <p:txBody>
          <a:bodyPr/>
          <a:lstStyle/>
          <a:p>
            <a:fld id="{30D0A111-AE48-3F4A-8BD7-909FEF7F3D06}" type="slidenum">
              <a:rPr lang="cs-CZ" smtClean="0"/>
              <a:t>‹#›</a:t>
            </a:fld>
            <a:endParaRPr lang="cs-CZ"/>
          </a:p>
        </p:txBody>
      </p:sp>
    </p:spTree>
    <p:extLst>
      <p:ext uri="{BB962C8B-B14F-4D97-AF65-F5344CB8AC3E}">
        <p14:creationId xmlns:p14="http://schemas.microsoft.com/office/powerpoint/2010/main" val="41958411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E93A6124-978E-9D4B-B8FE-46882E5757A6}"/>
              </a:ext>
            </a:extLst>
          </p:cNvPr>
          <p:cNvSpPr>
            <a:spLocks noGrp="1"/>
          </p:cNvSpPr>
          <p:nvPr>
            <p:ph type="title" orient="vert"/>
          </p:nvPr>
        </p:nvSpPr>
        <p:spPr>
          <a:xfrm>
            <a:off x="7088981" y="365125"/>
            <a:ext cx="2135981"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9B3ABF37-BF6B-FA41-838C-8E7C199F34D1}"/>
              </a:ext>
            </a:extLst>
          </p:cNvPr>
          <p:cNvSpPr>
            <a:spLocks noGrp="1"/>
          </p:cNvSpPr>
          <p:nvPr>
            <p:ph type="body" orient="vert" idx="1"/>
          </p:nvPr>
        </p:nvSpPr>
        <p:spPr>
          <a:xfrm>
            <a:off x="681037" y="365125"/>
            <a:ext cx="6284119"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37C753D9-CEAB-3B49-AB5A-12CAA1F85176}"/>
              </a:ext>
            </a:extLst>
          </p:cNvPr>
          <p:cNvSpPr>
            <a:spLocks noGrp="1"/>
          </p:cNvSpPr>
          <p:nvPr>
            <p:ph type="dt" sz="half" idx="10"/>
          </p:nvPr>
        </p:nvSpPr>
        <p:spPr/>
        <p:txBody>
          <a:bodyPr/>
          <a:lstStyle/>
          <a:p>
            <a:endParaRPr lang="cs-CZ"/>
          </a:p>
        </p:txBody>
      </p:sp>
      <p:sp>
        <p:nvSpPr>
          <p:cNvPr id="5" name="Zástupný symbol pro zápatí 4">
            <a:extLst>
              <a:ext uri="{FF2B5EF4-FFF2-40B4-BE49-F238E27FC236}">
                <a16:creationId xmlns:a16="http://schemas.microsoft.com/office/drawing/2014/main" id="{033B935F-2075-F64F-9472-91936C8ECAE0}"/>
              </a:ext>
            </a:extLst>
          </p:cNvPr>
          <p:cNvSpPr>
            <a:spLocks noGrp="1"/>
          </p:cNvSpPr>
          <p:nvPr>
            <p:ph type="ftr" sz="quarter" idx="11"/>
          </p:nvPr>
        </p:nvSpPr>
        <p:spPr/>
        <p:txBody>
          <a:bodyPr/>
          <a:lstStyle/>
          <a:p>
            <a:r>
              <a:rPr lang="cs-CZ"/>
              <a:t>NÁZEV PREZENTACE | Název kapitoly</a:t>
            </a:r>
          </a:p>
        </p:txBody>
      </p:sp>
      <p:sp>
        <p:nvSpPr>
          <p:cNvPr id="6" name="Zástupný symbol pro číslo snímku 5">
            <a:extLst>
              <a:ext uri="{FF2B5EF4-FFF2-40B4-BE49-F238E27FC236}">
                <a16:creationId xmlns:a16="http://schemas.microsoft.com/office/drawing/2014/main" id="{E8A5A754-CA89-AE46-B3E3-6A3E518B2AAB}"/>
              </a:ext>
            </a:extLst>
          </p:cNvPr>
          <p:cNvSpPr>
            <a:spLocks noGrp="1"/>
          </p:cNvSpPr>
          <p:nvPr>
            <p:ph type="sldNum" sz="quarter" idx="12"/>
          </p:nvPr>
        </p:nvSpPr>
        <p:spPr/>
        <p:txBody>
          <a:bodyPr/>
          <a:lstStyle/>
          <a:p>
            <a:fld id="{30D0A111-AE48-3F4A-8BD7-909FEF7F3D06}" type="slidenum">
              <a:rPr lang="cs-CZ" smtClean="0"/>
              <a:t>‹#›</a:t>
            </a:fld>
            <a:endParaRPr lang="cs-CZ"/>
          </a:p>
        </p:txBody>
      </p:sp>
    </p:spTree>
    <p:extLst>
      <p:ext uri="{BB962C8B-B14F-4D97-AF65-F5344CB8AC3E}">
        <p14:creationId xmlns:p14="http://schemas.microsoft.com/office/powerpoint/2010/main" val="15042992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ulka">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495300" y="274643"/>
            <a:ext cx="8915400" cy="903765"/>
          </a:xfrm>
          <a:prstGeom prst="rect">
            <a:avLst/>
          </a:prstGeom>
        </p:spPr>
        <p:txBody>
          <a:bodyPr>
            <a:normAutofit/>
          </a:bodyPr>
          <a:lstStyle>
            <a:lvl1pPr algn="l">
              <a:defRPr sz="2925" b="1" baseline="0">
                <a:solidFill>
                  <a:srgbClr val="034EA2"/>
                </a:solidFill>
              </a:defRPr>
            </a:lvl1pPr>
          </a:lstStyle>
          <a:p>
            <a:r>
              <a:rPr lang="cs-CZ"/>
              <a:t>Nadpis</a:t>
            </a:r>
          </a:p>
        </p:txBody>
      </p:sp>
      <p:pic>
        <p:nvPicPr>
          <p:cNvPr id="7" name="Obráze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12168"/>
            <a:ext cx="9920724" cy="100946"/>
          </a:xfrm>
          <a:prstGeom prst="rect">
            <a:avLst/>
          </a:prstGeom>
        </p:spPr>
      </p:pic>
      <p:sp>
        <p:nvSpPr>
          <p:cNvPr id="15" name="Zástupný symbol pro tabulku 14"/>
          <p:cNvSpPr>
            <a:spLocks noGrp="1"/>
          </p:cNvSpPr>
          <p:nvPr>
            <p:ph type="tbl" sz="quarter" idx="13"/>
          </p:nvPr>
        </p:nvSpPr>
        <p:spPr>
          <a:xfrm>
            <a:off x="505685" y="1600149"/>
            <a:ext cx="8952681" cy="4220546"/>
          </a:xfrm>
          <a:prstGeom prst="rect">
            <a:avLst/>
          </a:prstGeom>
        </p:spPr>
        <p:txBody>
          <a:bodyPr/>
          <a:lstStyle/>
          <a:p>
            <a:r>
              <a:rPr lang="cs-CZ"/>
              <a:t>Kliknutím na ikonu přidáte tabulku.</a:t>
            </a:r>
          </a:p>
        </p:txBody>
      </p:sp>
      <p:sp>
        <p:nvSpPr>
          <p:cNvPr id="10" name="Zástupný symbol pro číslo snímku 9"/>
          <p:cNvSpPr>
            <a:spLocks noGrp="1"/>
          </p:cNvSpPr>
          <p:nvPr>
            <p:ph type="sldNum" sz="quarter" idx="15"/>
          </p:nvPr>
        </p:nvSpPr>
        <p:spPr/>
        <p:txBody>
          <a:bodyPr/>
          <a:lstStyle/>
          <a:p>
            <a:fld id="{177AD5F7-9A70-43A8-B2E8-1F114AD105DD}" type="slidenum">
              <a:rPr lang="cs-CZ" smtClean="0"/>
              <a:pPr/>
              <a:t>‹#›</a:t>
            </a:fld>
            <a:endParaRPr lang="cs-CZ"/>
          </a:p>
        </p:txBody>
      </p:sp>
      <p:pic>
        <p:nvPicPr>
          <p:cNvPr id="12" name="Obrázek 11" descr="OPTP_CZ_RO_B_C-RGB.png"/>
          <p:cNvPicPr>
            <a:picLocks noChangeAspect="1"/>
          </p:cNvPicPr>
          <p:nvPr userDrawn="1"/>
        </p:nvPicPr>
        <p:blipFill>
          <a:blip r:embed="rId3" cstate="print"/>
          <a:stretch>
            <a:fillRect/>
          </a:stretch>
        </p:blipFill>
        <p:spPr>
          <a:xfrm>
            <a:off x="96330" y="6166210"/>
            <a:ext cx="3238977" cy="671810"/>
          </a:xfrm>
          <a:prstGeom prst="rect">
            <a:avLst/>
          </a:prstGeom>
        </p:spPr>
      </p:pic>
      <p:pic>
        <p:nvPicPr>
          <p:cNvPr id="13" name="Zástupný symbol pro obsah 4"/>
          <p:cNvPicPr>
            <a:picLocks noChangeAspect="1"/>
          </p:cNvPicPr>
          <p:nvPr userDrawn="1"/>
        </p:nvPicPr>
        <p:blipFill>
          <a:blip r:embed="rId4" cstate="print">
            <a:extLst>
              <a:ext uri="{28A0092B-C50C-407E-A947-70E740481C1C}">
                <a14:useLocalDpi xmlns:a14="http://schemas.microsoft.com/office/drawing/2010/main" val="0"/>
              </a:ext>
            </a:extLst>
          </a:blip>
          <a:srcRect l="34060"/>
          <a:stretch>
            <a:fillRect/>
          </a:stretch>
        </p:blipFill>
        <p:spPr>
          <a:xfrm>
            <a:off x="3373119" y="6173227"/>
            <a:ext cx="6532882" cy="684777"/>
          </a:xfrm>
          <a:prstGeom prst="rect">
            <a:avLst/>
          </a:prstGeom>
        </p:spPr>
      </p:pic>
      <p:pic>
        <p:nvPicPr>
          <p:cNvPr id="3" name="Obrázek 2">
            <a:extLst>
              <a:ext uri="{FF2B5EF4-FFF2-40B4-BE49-F238E27FC236}">
                <a16:creationId xmlns:a16="http://schemas.microsoft.com/office/drawing/2014/main" id="{ABDF8E8D-488B-0E2D-B3BB-719320A4D74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6329" y="6265562"/>
            <a:ext cx="3276790" cy="530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1_1a_Úvod_vzdelavani1">
  <p:cSld name="1_1a_Úvod_vzdelavani1">
    <p:spTree>
      <p:nvGrpSpPr>
        <p:cNvPr id="1" name="Shape 13"/>
        <p:cNvGrpSpPr/>
        <p:nvPr/>
      </p:nvGrpSpPr>
      <p:grpSpPr>
        <a:xfrm>
          <a:off x="0" y="0"/>
          <a:ext cx="0" cy="0"/>
          <a:chOff x="0" y="0"/>
          <a:chExt cx="0" cy="0"/>
        </a:xfrm>
      </p:grpSpPr>
      <p:pic>
        <p:nvPicPr>
          <p:cNvPr id="14" name="Google Shape;14;p19" descr="Základová fotografie zdarma na téma algebra, displej, fyzika"/>
          <p:cNvPicPr preferRelativeResize="0"/>
          <p:nvPr/>
        </p:nvPicPr>
        <p:blipFill rotWithShape="1">
          <a:blip r:embed="rId2">
            <a:alphaModFix/>
          </a:blip>
          <a:srcRect t="1484" b="14454"/>
          <a:stretch/>
        </p:blipFill>
        <p:spPr>
          <a:xfrm>
            <a:off x="0" y="0"/>
            <a:ext cx="9942942" cy="6858000"/>
          </a:xfrm>
          <a:prstGeom prst="rect">
            <a:avLst/>
          </a:prstGeom>
          <a:noFill/>
          <a:ln>
            <a:noFill/>
          </a:ln>
        </p:spPr>
      </p:pic>
      <p:sp>
        <p:nvSpPr>
          <p:cNvPr id="15" name="Google Shape;15;p19"/>
          <p:cNvSpPr/>
          <p:nvPr/>
        </p:nvSpPr>
        <p:spPr>
          <a:xfrm>
            <a:off x="1" y="0"/>
            <a:ext cx="9942942" cy="6858000"/>
          </a:xfrm>
          <a:prstGeom prst="rect">
            <a:avLst/>
          </a:prstGeom>
          <a:solidFill>
            <a:srgbClr val="054080">
              <a:alpha val="6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b="0" i="0" u="none" strike="noStrike" cap="none">
              <a:solidFill>
                <a:srgbClr val="7F7F7F"/>
              </a:solidFill>
              <a:latin typeface="Fira Sans"/>
              <a:ea typeface="Fira Sans"/>
              <a:cs typeface="Fira Sans"/>
              <a:sym typeface="Fira Sans"/>
            </a:endParaRPr>
          </a:p>
        </p:txBody>
      </p:sp>
      <p:sp>
        <p:nvSpPr>
          <p:cNvPr id="16" name="Google Shape;16;p19"/>
          <p:cNvSpPr/>
          <p:nvPr/>
        </p:nvSpPr>
        <p:spPr>
          <a:xfrm>
            <a:off x="6157127" y="2852938"/>
            <a:ext cx="4412498" cy="5430767"/>
          </a:xfrm>
          <a:prstGeom prst="ellipse">
            <a:avLst/>
          </a:prstGeom>
          <a:solidFill>
            <a:srgbClr val="0D54A2">
              <a:alpha val="8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b="0" i="0" u="none" strike="noStrike" cap="none">
              <a:solidFill>
                <a:schemeClr val="lt1"/>
              </a:solidFill>
              <a:latin typeface="Fira Sans"/>
              <a:ea typeface="Fira Sans"/>
              <a:cs typeface="Fira Sans"/>
              <a:sym typeface="Fira Sans"/>
            </a:endParaRPr>
          </a:p>
        </p:txBody>
      </p:sp>
      <p:pic>
        <p:nvPicPr>
          <p:cNvPr id="17" name="Google Shape;17;p19"/>
          <p:cNvPicPr preferRelativeResize="0"/>
          <p:nvPr/>
        </p:nvPicPr>
        <p:blipFill rotWithShape="1">
          <a:blip r:embed="rId3">
            <a:alphaModFix/>
          </a:blip>
          <a:srcRect/>
          <a:stretch/>
        </p:blipFill>
        <p:spPr>
          <a:xfrm>
            <a:off x="7468779" y="4635558"/>
            <a:ext cx="1462663" cy="1114409"/>
          </a:xfrm>
          <a:prstGeom prst="rect">
            <a:avLst/>
          </a:prstGeom>
          <a:noFill/>
          <a:ln>
            <a:noFill/>
          </a:ln>
        </p:spPr>
      </p:pic>
      <p:sp>
        <p:nvSpPr>
          <p:cNvPr id="18" name="Google Shape;18;p19"/>
          <p:cNvSpPr txBox="1">
            <a:spLocks noGrp="1"/>
          </p:cNvSpPr>
          <p:nvPr>
            <p:ph type="ctrTitle"/>
          </p:nvPr>
        </p:nvSpPr>
        <p:spPr>
          <a:xfrm>
            <a:off x="720450" y="890930"/>
            <a:ext cx="4232551" cy="2810407"/>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lt1"/>
              </a:buClr>
              <a:buSzPts val="4400"/>
              <a:buFont typeface="Inter ExtraBold"/>
              <a:buNone/>
              <a:defRPr sz="3575" b="0" i="0">
                <a:solidFill>
                  <a:schemeClr val="lt1"/>
                </a:solidFill>
                <a:latin typeface="Inter ExtraBold"/>
                <a:ea typeface="Inter ExtraBold"/>
                <a:cs typeface="Inter ExtraBold"/>
                <a:sym typeface="Inter ExtraBold"/>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19"/>
          <p:cNvSpPr txBox="1">
            <a:spLocks noGrp="1"/>
          </p:cNvSpPr>
          <p:nvPr>
            <p:ph type="subTitle" idx="1"/>
          </p:nvPr>
        </p:nvSpPr>
        <p:spPr>
          <a:xfrm>
            <a:off x="720450" y="3701336"/>
            <a:ext cx="4232551" cy="447744"/>
          </a:xfrm>
          <a:prstGeom prst="rect">
            <a:avLst/>
          </a:prstGeom>
          <a:noFill/>
          <a:ln>
            <a:noFill/>
          </a:ln>
        </p:spPr>
        <p:txBody>
          <a:bodyPr spcFirstLastPara="1" wrap="square" lIns="0" tIns="0" rIns="0" bIns="0" anchor="b" anchorCtr="0">
            <a:noAutofit/>
          </a:bodyPr>
          <a:lstStyle>
            <a:lvl1pPr lvl="0" algn="l">
              <a:lnSpc>
                <a:spcPct val="100000"/>
              </a:lnSpc>
              <a:spcBef>
                <a:spcPts val="812"/>
              </a:spcBef>
              <a:spcAft>
                <a:spcPts val="0"/>
              </a:spcAft>
              <a:buClr>
                <a:srgbClr val="E0ECF5"/>
              </a:buClr>
              <a:buSzPts val="2400"/>
              <a:buNone/>
              <a:defRPr sz="1950">
                <a:solidFill>
                  <a:srgbClr val="E0ECF5"/>
                </a:solidFill>
                <a:latin typeface="Fira Sans"/>
                <a:ea typeface="Fira Sans"/>
                <a:cs typeface="Fira Sans"/>
                <a:sym typeface="Fira Sans"/>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sp>
        <p:nvSpPr>
          <p:cNvPr id="20" name="Google Shape;20;p19"/>
          <p:cNvSpPr txBox="1">
            <a:spLocks noGrp="1"/>
          </p:cNvSpPr>
          <p:nvPr>
            <p:ph type="body" idx="2"/>
          </p:nvPr>
        </p:nvSpPr>
        <p:spPr>
          <a:xfrm>
            <a:off x="720449" y="5192763"/>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Fira Sans"/>
                <a:ea typeface="Fira Sans"/>
                <a:cs typeface="Fira Sans"/>
                <a:sym typeface="Fira Sans"/>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1" name="Google Shape;21;p19"/>
          <p:cNvSpPr txBox="1">
            <a:spLocks noGrp="1"/>
          </p:cNvSpPr>
          <p:nvPr>
            <p:ph type="body" idx="3"/>
          </p:nvPr>
        </p:nvSpPr>
        <p:spPr>
          <a:xfrm>
            <a:off x="720449" y="5645553"/>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Fira Sans"/>
                <a:ea typeface="Fira Sans"/>
                <a:cs typeface="Fira Sans"/>
                <a:sym typeface="Fira Sans"/>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22" name="Google Shape;22;p19"/>
          <p:cNvSpPr/>
          <p:nvPr/>
        </p:nvSpPr>
        <p:spPr>
          <a:xfrm rot="3528582">
            <a:off x="7349350" y="2485602"/>
            <a:ext cx="947584" cy="771762"/>
          </a:xfrm>
          <a:custGeom>
            <a:avLst/>
            <a:gdLst/>
            <a:ahLst/>
            <a:cxnLst/>
            <a:rect l="l" t="t" r="r" b="b"/>
            <a:pathLst>
              <a:path w="541623" h="542925" extrusionOk="0">
                <a:moveTo>
                  <a:pt x="541623" y="271463"/>
                </a:moveTo>
                <a:cubicBezTo>
                  <a:pt x="541623" y="421387"/>
                  <a:pt x="420377" y="542925"/>
                  <a:pt x="270812" y="542925"/>
                </a:cubicBezTo>
                <a:cubicBezTo>
                  <a:pt x="121247" y="542925"/>
                  <a:pt x="0" y="421387"/>
                  <a:pt x="0" y="271463"/>
                </a:cubicBezTo>
                <a:cubicBezTo>
                  <a:pt x="0" y="121538"/>
                  <a:pt x="121247" y="0"/>
                  <a:pt x="270812" y="0"/>
                </a:cubicBezTo>
                <a:cubicBezTo>
                  <a:pt x="420377" y="0"/>
                  <a:pt x="541623" y="121538"/>
                  <a:pt x="541623" y="271463"/>
                </a:cubicBezTo>
                <a:close/>
              </a:path>
            </a:pathLst>
          </a:custGeom>
          <a:solidFill>
            <a:srgbClr val="73C7FF">
              <a:alpha val="18823"/>
            </a:srgb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23" name="Google Shape;23;p19"/>
          <p:cNvSpPr/>
          <p:nvPr/>
        </p:nvSpPr>
        <p:spPr>
          <a:xfrm rot="3528582">
            <a:off x="9075523" y="749100"/>
            <a:ext cx="354879" cy="283659"/>
          </a:xfrm>
          <a:custGeom>
            <a:avLst/>
            <a:gdLst/>
            <a:ahLst/>
            <a:cxnLst/>
            <a:rect l="l" t="t" r="r" b="b"/>
            <a:pathLst>
              <a:path w="275562" h="266700" extrusionOk="0">
                <a:moveTo>
                  <a:pt x="275563" y="133350"/>
                </a:moveTo>
                <a:cubicBezTo>
                  <a:pt x="275563" y="206997"/>
                  <a:pt x="213876" y="266700"/>
                  <a:pt x="137781" y="266700"/>
                </a:cubicBezTo>
                <a:cubicBezTo>
                  <a:pt x="61687" y="266700"/>
                  <a:pt x="0" y="206997"/>
                  <a:pt x="0" y="133350"/>
                </a:cubicBezTo>
                <a:cubicBezTo>
                  <a:pt x="0" y="59703"/>
                  <a:pt x="61687" y="0"/>
                  <a:pt x="137781" y="0"/>
                </a:cubicBezTo>
                <a:cubicBezTo>
                  <a:pt x="213876" y="0"/>
                  <a:pt x="275563" y="59703"/>
                  <a:pt x="275563" y="133350"/>
                </a:cubicBezTo>
                <a:close/>
              </a:path>
            </a:pathLst>
          </a:custGeom>
          <a:solidFill>
            <a:srgbClr val="F5DA8E">
              <a:alpha val="62745"/>
            </a:srgb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24" name="Google Shape;24;p19"/>
          <p:cNvSpPr/>
          <p:nvPr/>
        </p:nvSpPr>
        <p:spPr>
          <a:xfrm rot="3528582">
            <a:off x="8247659" y="1298654"/>
            <a:ext cx="496779" cy="418092"/>
          </a:xfrm>
          <a:custGeom>
            <a:avLst/>
            <a:gdLst/>
            <a:ahLst/>
            <a:cxnLst/>
            <a:rect l="l" t="t" r="r" b="b"/>
            <a:pathLst>
              <a:path w="285064" h="295275" extrusionOk="0">
                <a:moveTo>
                  <a:pt x="285065" y="147637"/>
                </a:moveTo>
                <a:cubicBezTo>
                  <a:pt x="285065" y="229175"/>
                  <a:pt x="221251" y="295275"/>
                  <a:pt x="142532" y="295275"/>
                </a:cubicBezTo>
                <a:cubicBezTo>
                  <a:pt x="63814" y="295275"/>
                  <a:pt x="0" y="229175"/>
                  <a:pt x="0" y="147637"/>
                </a:cubicBezTo>
                <a:cubicBezTo>
                  <a:pt x="0" y="66099"/>
                  <a:pt x="63814" y="0"/>
                  <a:pt x="142532" y="0"/>
                </a:cubicBezTo>
                <a:cubicBezTo>
                  <a:pt x="221251" y="0"/>
                  <a:pt x="285065" y="66099"/>
                  <a:pt x="285065" y="147637"/>
                </a:cubicBezTo>
                <a:close/>
              </a:path>
            </a:pathLst>
          </a:custGeom>
          <a:solidFill>
            <a:schemeClr val="lt1">
              <a:alpha val="45490"/>
            </a:scheme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25" name="Google Shape;25;p19"/>
          <p:cNvSpPr/>
          <p:nvPr/>
        </p:nvSpPr>
        <p:spPr>
          <a:xfrm rot="3528582">
            <a:off x="8805701" y="2374002"/>
            <a:ext cx="459593" cy="374318"/>
          </a:xfrm>
          <a:custGeom>
            <a:avLst/>
            <a:gdLst/>
            <a:ahLst/>
            <a:cxnLst/>
            <a:rect l="l" t="t" r="r" b="b"/>
            <a:pathLst>
              <a:path w="285064" h="285750" extrusionOk="0">
                <a:moveTo>
                  <a:pt x="285065" y="142875"/>
                </a:moveTo>
                <a:cubicBezTo>
                  <a:pt x="285065" y="221783"/>
                  <a:pt x="221251" y="285750"/>
                  <a:pt x="142532" y="285750"/>
                </a:cubicBezTo>
                <a:cubicBezTo>
                  <a:pt x="63814" y="285750"/>
                  <a:pt x="0" y="221783"/>
                  <a:pt x="0" y="142875"/>
                </a:cubicBezTo>
                <a:cubicBezTo>
                  <a:pt x="0" y="63967"/>
                  <a:pt x="63814" y="0"/>
                  <a:pt x="142532" y="0"/>
                </a:cubicBezTo>
                <a:cubicBezTo>
                  <a:pt x="221251" y="0"/>
                  <a:pt x="285065" y="63967"/>
                  <a:pt x="285065" y="142875"/>
                </a:cubicBezTo>
                <a:close/>
              </a:path>
            </a:pathLst>
          </a:custGeom>
          <a:solidFill>
            <a:schemeClr val="lt1">
              <a:alpha val="29019"/>
            </a:scheme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26" name="Google Shape;26;p19"/>
          <p:cNvSpPr/>
          <p:nvPr/>
        </p:nvSpPr>
        <p:spPr>
          <a:xfrm rot="3528582">
            <a:off x="9337048" y="3155475"/>
            <a:ext cx="761731" cy="620394"/>
          </a:xfrm>
          <a:custGeom>
            <a:avLst/>
            <a:gdLst/>
            <a:ahLst/>
            <a:cxnLst/>
            <a:rect l="l" t="t" r="r" b="b"/>
            <a:pathLst>
              <a:path w="437099" h="438150" extrusionOk="0">
                <a:moveTo>
                  <a:pt x="437099" y="219075"/>
                </a:moveTo>
                <a:cubicBezTo>
                  <a:pt x="437099" y="340067"/>
                  <a:pt x="339251" y="438150"/>
                  <a:pt x="218550" y="438150"/>
                </a:cubicBezTo>
                <a:cubicBezTo>
                  <a:pt x="97848" y="438150"/>
                  <a:pt x="0" y="340067"/>
                  <a:pt x="0" y="219075"/>
                </a:cubicBezTo>
                <a:cubicBezTo>
                  <a:pt x="0" y="98083"/>
                  <a:pt x="97848" y="0"/>
                  <a:pt x="218550" y="0"/>
                </a:cubicBezTo>
                <a:cubicBezTo>
                  <a:pt x="339251" y="0"/>
                  <a:pt x="437099" y="98083"/>
                  <a:pt x="437099" y="219075"/>
                </a:cubicBezTo>
                <a:close/>
              </a:path>
            </a:pathLst>
          </a:custGeom>
          <a:solidFill>
            <a:srgbClr val="F2CE6E">
              <a:alpha val="36470"/>
            </a:srgb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Tree>
    <p:extLst>
      <p:ext uri="{BB962C8B-B14F-4D97-AF65-F5344CB8AC3E}">
        <p14:creationId xmlns:p14="http://schemas.microsoft.com/office/powerpoint/2010/main" val="41064930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8_Úvodní snímek" preserve="1" userDrawn="1">
  <p:cSld name="8_Úvodní snímek">
    <p:bg>
      <p:bgPr>
        <a:gradFill>
          <a:gsLst>
            <a:gs pos="0">
              <a:srgbClr val="FEFBFC"/>
            </a:gs>
            <a:gs pos="100000">
              <a:srgbClr val="EDEDED"/>
            </a:gs>
          </a:gsLst>
          <a:path path="circle">
            <a:fillToRect l="100000" t="100000"/>
          </a:path>
          <a:tileRect r="-100000" b="-100000"/>
        </a:gradFill>
        <a:effectLst/>
      </p:bgPr>
    </p:bg>
    <p:spTree>
      <p:nvGrpSpPr>
        <p:cNvPr id="1" name="Shape 14"/>
        <p:cNvGrpSpPr/>
        <p:nvPr/>
      </p:nvGrpSpPr>
      <p:grpSpPr>
        <a:xfrm>
          <a:off x="0" y="0"/>
          <a:ext cx="0" cy="0"/>
          <a:chOff x="0" y="0"/>
          <a:chExt cx="0" cy="0"/>
        </a:xfrm>
      </p:grpSpPr>
      <p:pic>
        <p:nvPicPr>
          <p:cNvPr id="15" name="Google Shape;15;p35"/>
          <p:cNvPicPr preferRelativeResize="0"/>
          <p:nvPr/>
        </p:nvPicPr>
        <p:blipFill rotWithShape="1">
          <a:blip r:embed="rId2">
            <a:alphaModFix/>
          </a:blip>
          <a:srcRect/>
          <a:stretch/>
        </p:blipFill>
        <p:spPr>
          <a:xfrm>
            <a:off x="-13757" y="-7782"/>
            <a:ext cx="10013181" cy="6882715"/>
          </a:xfrm>
          <a:prstGeom prst="rect">
            <a:avLst/>
          </a:prstGeom>
          <a:noFill/>
          <a:ln>
            <a:noFill/>
          </a:ln>
        </p:spPr>
      </p:pic>
      <p:sp>
        <p:nvSpPr>
          <p:cNvPr id="16" name="Google Shape;16;p35"/>
          <p:cNvSpPr/>
          <p:nvPr/>
        </p:nvSpPr>
        <p:spPr>
          <a:xfrm>
            <a:off x="-110065" y="-41131"/>
            <a:ext cx="10126133" cy="6940265"/>
          </a:xfrm>
          <a:prstGeom prst="rect">
            <a:avLst/>
          </a:prstGeom>
          <a:solidFill>
            <a:srgbClr val="0B2B3F">
              <a:alpha val="51372"/>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b="0" i="0" u="none" strike="noStrike" cap="none">
              <a:solidFill>
                <a:srgbClr val="7F7F7F"/>
              </a:solidFill>
              <a:latin typeface="Fira Sans"/>
              <a:ea typeface="Fira Sans"/>
              <a:cs typeface="Fira Sans"/>
              <a:sym typeface="Fira Sans"/>
            </a:endParaRPr>
          </a:p>
        </p:txBody>
      </p:sp>
      <p:sp>
        <p:nvSpPr>
          <p:cNvPr id="2" name="Google Shape;16;p19">
            <a:extLst>
              <a:ext uri="{FF2B5EF4-FFF2-40B4-BE49-F238E27FC236}">
                <a16:creationId xmlns:a16="http://schemas.microsoft.com/office/drawing/2014/main" id="{4C74DAF7-DB5A-EA93-67F9-89B870C2FE36}"/>
              </a:ext>
            </a:extLst>
          </p:cNvPr>
          <p:cNvSpPr/>
          <p:nvPr userDrawn="1"/>
        </p:nvSpPr>
        <p:spPr>
          <a:xfrm>
            <a:off x="6157127" y="2852938"/>
            <a:ext cx="4412498" cy="5430767"/>
          </a:xfrm>
          <a:prstGeom prst="ellipse">
            <a:avLst/>
          </a:prstGeom>
          <a:solidFill>
            <a:srgbClr val="0D54A2">
              <a:alpha val="8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b="0" i="0" u="none" strike="noStrike" cap="none">
              <a:solidFill>
                <a:schemeClr val="lt1"/>
              </a:solidFill>
              <a:latin typeface="Fira Sans"/>
              <a:ea typeface="Fira Sans"/>
              <a:cs typeface="Fira Sans"/>
              <a:sym typeface="Fira Sans"/>
            </a:endParaRPr>
          </a:p>
        </p:txBody>
      </p:sp>
      <p:pic>
        <p:nvPicPr>
          <p:cNvPr id="3" name="Google Shape;17;p19">
            <a:extLst>
              <a:ext uri="{FF2B5EF4-FFF2-40B4-BE49-F238E27FC236}">
                <a16:creationId xmlns:a16="http://schemas.microsoft.com/office/drawing/2014/main" id="{49EEBE7E-D751-7CEA-7E1B-FC84C625DE26}"/>
              </a:ext>
            </a:extLst>
          </p:cNvPr>
          <p:cNvPicPr preferRelativeResize="0"/>
          <p:nvPr userDrawn="1"/>
        </p:nvPicPr>
        <p:blipFill rotWithShape="1">
          <a:blip r:embed="rId3">
            <a:alphaModFix/>
          </a:blip>
          <a:srcRect/>
          <a:stretch/>
        </p:blipFill>
        <p:spPr>
          <a:xfrm>
            <a:off x="7468779" y="4635558"/>
            <a:ext cx="1462663" cy="1114409"/>
          </a:xfrm>
          <a:prstGeom prst="rect">
            <a:avLst/>
          </a:prstGeom>
          <a:noFill/>
          <a:ln>
            <a:noFill/>
          </a:ln>
        </p:spPr>
      </p:pic>
      <p:sp>
        <p:nvSpPr>
          <p:cNvPr id="4" name="Google Shape;18;p19">
            <a:extLst>
              <a:ext uri="{FF2B5EF4-FFF2-40B4-BE49-F238E27FC236}">
                <a16:creationId xmlns:a16="http://schemas.microsoft.com/office/drawing/2014/main" id="{DA9C6F7B-C62F-88AA-61D1-6F533AA5B3E5}"/>
              </a:ext>
            </a:extLst>
          </p:cNvPr>
          <p:cNvSpPr txBox="1">
            <a:spLocks noGrp="1"/>
          </p:cNvSpPr>
          <p:nvPr>
            <p:ph type="ctrTitle"/>
          </p:nvPr>
        </p:nvSpPr>
        <p:spPr>
          <a:xfrm>
            <a:off x="720450" y="890930"/>
            <a:ext cx="4232551" cy="2810407"/>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4400"/>
              <a:buFont typeface="Inter ExtraBold"/>
              <a:buNone/>
              <a:defRPr sz="2925" b="0" i="0">
                <a:solidFill>
                  <a:schemeClr val="lt1"/>
                </a:solidFill>
                <a:latin typeface="Inter ExtraBold"/>
                <a:ea typeface="Inter ExtraBold"/>
                <a:cs typeface="Inter ExtraBold"/>
                <a:sym typeface="Inter ExtraBold"/>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 name="Google Shape;19;p19">
            <a:extLst>
              <a:ext uri="{FF2B5EF4-FFF2-40B4-BE49-F238E27FC236}">
                <a16:creationId xmlns:a16="http://schemas.microsoft.com/office/drawing/2014/main" id="{C4EE5052-8A44-8572-507E-EF95BAF5E2D6}"/>
              </a:ext>
            </a:extLst>
          </p:cNvPr>
          <p:cNvSpPr txBox="1">
            <a:spLocks noGrp="1"/>
          </p:cNvSpPr>
          <p:nvPr>
            <p:ph type="subTitle" idx="1"/>
          </p:nvPr>
        </p:nvSpPr>
        <p:spPr>
          <a:xfrm>
            <a:off x="549936" y="3722005"/>
            <a:ext cx="4232551" cy="447744"/>
          </a:xfrm>
          <a:prstGeom prst="rect">
            <a:avLst/>
          </a:prstGeom>
          <a:noFill/>
          <a:ln>
            <a:noFill/>
          </a:ln>
        </p:spPr>
        <p:txBody>
          <a:bodyPr spcFirstLastPara="1" wrap="square" lIns="0" tIns="0" rIns="0" bIns="0" anchor="b" anchorCtr="0">
            <a:noAutofit/>
          </a:bodyPr>
          <a:lstStyle>
            <a:lvl1pPr lvl="0" algn="l">
              <a:lnSpc>
                <a:spcPct val="100000"/>
              </a:lnSpc>
              <a:spcBef>
                <a:spcPts val="812"/>
              </a:spcBef>
              <a:spcAft>
                <a:spcPts val="0"/>
              </a:spcAft>
              <a:buClr>
                <a:srgbClr val="E0ECF5"/>
              </a:buClr>
              <a:buSzPts val="2400"/>
              <a:buNone/>
              <a:defRPr sz="1462">
                <a:solidFill>
                  <a:srgbClr val="E0ECF5"/>
                </a:solidFill>
                <a:latin typeface="Inter" panose="02000503000000020004" pitchFamily="2" charset="0"/>
                <a:ea typeface="Inter" panose="02000503000000020004" pitchFamily="2" charset="0"/>
                <a:cs typeface="Inter" panose="02000503000000020004" pitchFamily="2" charset="0"/>
                <a:sym typeface="Fira Sans"/>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sp>
        <p:nvSpPr>
          <p:cNvPr id="6" name="Google Shape;20;p19">
            <a:extLst>
              <a:ext uri="{FF2B5EF4-FFF2-40B4-BE49-F238E27FC236}">
                <a16:creationId xmlns:a16="http://schemas.microsoft.com/office/drawing/2014/main" id="{8CC7F26F-6916-2CB7-07C2-DF3BB6294BA7}"/>
              </a:ext>
            </a:extLst>
          </p:cNvPr>
          <p:cNvSpPr txBox="1">
            <a:spLocks noGrp="1"/>
          </p:cNvSpPr>
          <p:nvPr>
            <p:ph type="body" idx="2"/>
          </p:nvPr>
        </p:nvSpPr>
        <p:spPr>
          <a:xfrm>
            <a:off x="549936" y="5317967"/>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Fira Sans"/>
                <a:ea typeface="Fira Sans"/>
                <a:cs typeface="Fira Sans"/>
                <a:sym typeface="Fira Sans"/>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7" name="Google Shape;21;p19">
            <a:extLst>
              <a:ext uri="{FF2B5EF4-FFF2-40B4-BE49-F238E27FC236}">
                <a16:creationId xmlns:a16="http://schemas.microsoft.com/office/drawing/2014/main" id="{7849CBF6-B50A-D194-AACF-26C455E6D804}"/>
              </a:ext>
            </a:extLst>
          </p:cNvPr>
          <p:cNvSpPr txBox="1">
            <a:spLocks noGrp="1"/>
          </p:cNvSpPr>
          <p:nvPr>
            <p:ph type="body" idx="3"/>
          </p:nvPr>
        </p:nvSpPr>
        <p:spPr>
          <a:xfrm>
            <a:off x="549936" y="5770757"/>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Fira Sans"/>
                <a:ea typeface="Fira Sans"/>
                <a:cs typeface="Fira Sans"/>
                <a:sym typeface="Fira Sans"/>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1203116"/>
      </p:ext>
    </p:extLst>
  </p:cSld>
  <p:clrMapOvr>
    <a:masterClrMapping/>
  </p:clrMapOvr>
  <p:extLst>
    <p:ext uri="{DCECCB84-F9BA-43D5-87BE-67443E8EF086}">
      <p15:sldGuideLst xmlns:p15="http://schemas.microsoft.com/office/powerpoint/2012/main">
        <p15:guide id="1" orient="horz" pos="2160">
          <p15:clr>
            <a:srgbClr val="FBAE40"/>
          </p15:clr>
        </p15:guide>
        <p15:guide id="2" pos="55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_Nadpis, podnadpis a obsah">
  <p:cSld name="_Nadpis, podnadpis a obsah">
    <p:spTree>
      <p:nvGrpSpPr>
        <p:cNvPr id="1" name="Shape 30"/>
        <p:cNvGrpSpPr/>
        <p:nvPr/>
      </p:nvGrpSpPr>
      <p:grpSpPr>
        <a:xfrm>
          <a:off x="0" y="0"/>
          <a:ext cx="0" cy="0"/>
          <a:chOff x="0" y="0"/>
          <a:chExt cx="0" cy="0"/>
        </a:xfrm>
      </p:grpSpPr>
      <p:sp>
        <p:nvSpPr>
          <p:cNvPr id="31" name="Google Shape;31;p21"/>
          <p:cNvSpPr txBox="1">
            <a:spLocks noGrp="1"/>
          </p:cNvSpPr>
          <p:nvPr>
            <p:ph type="title"/>
          </p:nvPr>
        </p:nvSpPr>
        <p:spPr>
          <a:xfrm>
            <a:off x="681038" y="365126"/>
            <a:ext cx="8543925" cy="720367"/>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 name="Google Shape;32;p21"/>
          <p:cNvSpPr txBox="1">
            <a:spLocks noGrp="1"/>
          </p:cNvSpPr>
          <p:nvPr>
            <p:ph type="body" idx="1"/>
          </p:nvPr>
        </p:nvSpPr>
        <p:spPr>
          <a:xfrm>
            <a:off x="681038" y="1589130"/>
            <a:ext cx="8543925" cy="4344311"/>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dk1"/>
              </a:buClr>
              <a:buSzPts val="1800"/>
              <a:buNone/>
              <a:defRPr sz="1462"/>
            </a:lvl1pPr>
            <a:lvl2pPr marL="742927" lvl="1" indent="-268279" algn="l">
              <a:lnSpc>
                <a:spcPct val="100000"/>
              </a:lnSpc>
              <a:spcBef>
                <a:spcPts val="406"/>
              </a:spcBef>
              <a:spcAft>
                <a:spcPts val="0"/>
              </a:spcAft>
              <a:buSzPts val="1600"/>
              <a:buChar char="*"/>
              <a:defRPr sz="1300">
                <a:solidFill>
                  <a:srgbClr val="626D78"/>
                </a:solidFill>
              </a:defRPr>
            </a:lvl2pPr>
            <a:lvl3pPr marL="1114391" lvl="2" indent="-257961" algn="l">
              <a:lnSpc>
                <a:spcPct val="100000"/>
              </a:lnSpc>
              <a:spcBef>
                <a:spcPts val="406"/>
              </a:spcBef>
              <a:spcAft>
                <a:spcPts val="0"/>
              </a:spcAft>
              <a:buSzPts val="1400"/>
              <a:buChar char="*"/>
              <a:defRPr sz="1137">
                <a:solidFill>
                  <a:srgbClr val="626D78"/>
                </a:solidFill>
              </a:defRPr>
            </a:lvl3pPr>
            <a:lvl4pPr marL="1485854" lvl="3" indent="-247642" algn="l">
              <a:lnSpc>
                <a:spcPct val="100000"/>
              </a:lnSpc>
              <a:spcBef>
                <a:spcPts val="406"/>
              </a:spcBef>
              <a:spcAft>
                <a:spcPts val="0"/>
              </a:spcAft>
              <a:buSzPts val="1200"/>
              <a:buChar char="*"/>
              <a:defRPr sz="975">
                <a:solidFill>
                  <a:srgbClr val="626D78"/>
                </a:solidFill>
              </a:defRPr>
            </a:lvl4pPr>
            <a:lvl5pPr marL="1857318" lvl="4" indent="-247642" algn="l">
              <a:lnSpc>
                <a:spcPct val="100000"/>
              </a:lnSpc>
              <a:spcBef>
                <a:spcPts val="406"/>
              </a:spcBef>
              <a:spcAft>
                <a:spcPts val="0"/>
              </a:spcAft>
              <a:buSzPts val="1200"/>
              <a:buChar char="*"/>
              <a:defRPr sz="975">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33" name="Google Shape;33;p21"/>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34" name="Google Shape;34;p21"/>
          <p:cNvSpPr txBox="1">
            <a:spLocks noGrp="1"/>
          </p:cNvSpPr>
          <p:nvPr>
            <p:ph type="body" idx="2"/>
          </p:nvPr>
        </p:nvSpPr>
        <p:spPr>
          <a:xfrm>
            <a:off x="681038" y="1095652"/>
            <a:ext cx="8543925" cy="609192"/>
          </a:xfrm>
          <a:prstGeom prst="rect">
            <a:avLst/>
          </a:prstGeom>
          <a:noFill/>
          <a:ln>
            <a:noFill/>
          </a:ln>
        </p:spPr>
        <p:txBody>
          <a:bodyPr spcFirstLastPara="1" wrap="square" lIns="0" tIns="0" rIns="0" bIns="108000" anchor="t" anchorCtr="0">
            <a:spAutoFit/>
          </a:bodyPr>
          <a:lstStyle>
            <a:lvl1pPr marL="371464" lvl="0" indent="-185732" algn="l">
              <a:lnSpc>
                <a:spcPct val="100000"/>
              </a:lnSpc>
              <a:spcBef>
                <a:spcPts val="1462"/>
              </a:spcBef>
              <a:spcAft>
                <a:spcPts val="0"/>
              </a:spcAft>
              <a:buClr>
                <a:schemeClr val="accent1"/>
              </a:buClr>
              <a:buSzPts val="2000"/>
              <a:buNone/>
              <a:defRPr>
                <a:solidFill>
                  <a:schemeClr val="accent1"/>
                </a:solidFill>
                <a:latin typeface="Inter ExtraBold"/>
                <a:ea typeface="Inter ExtraBold"/>
                <a:cs typeface="Inter ExtraBold"/>
                <a:sym typeface="Inter ExtraBold"/>
              </a:defRPr>
            </a:lvl1pPr>
            <a:lvl2pPr marL="742927" lvl="1" indent="-278598" algn="l">
              <a:lnSpc>
                <a:spcPct val="100000"/>
              </a:lnSpc>
              <a:spcBef>
                <a:spcPts val="406"/>
              </a:spcBef>
              <a:spcAft>
                <a:spcPts val="0"/>
              </a:spcAft>
              <a:buSzPts val="1800"/>
              <a:buChar char="*"/>
              <a:defRPr/>
            </a:lvl2pPr>
            <a:lvl3pPr marL="1114391" lvl="2" indent="-278598" algn="l">
              <a:lnSpc>
                <a:spcPct val="100000"/>
              </a:lnSpc>
              <a:spcBef>
                <a:spcPts val="406"/>
              </a:spcBef>
              <a:spcAft>
                <a:spcPts val="0"/>
              </a:spcAft>
              <a:buSzPts val="1800"/>
              <a:buChar char="*"/>
              <a:defRPr/>
            </a:lvl3pPr>
            <a:lvl4pPr marL="1485854" lvl="3" indent="-278598" algn="l">
              <a:lnSpc>
                <a:spcPct val="100000"/>
              </a:lnSpc>
              <a:spcBef>
                <a:spcPts val="406"/>
              </a:spcBef>
              <a:spcAft>
                <a:spcPts val="0"/>
              </a:spcAft>
              <a:buSzPts val="1800"/>
              <a:buChar char="*"/>
              <a:defRPr/>
            </a:lvl4pPr>
            <a:lvl5pPr marL="1857318" lvl="4" indent="-278598" algn="l">
              <a:lnSpc>
                <a:spcPct val="100000"/>
              </a:lnSpc>
              <a:spcBef>
                <a:spcPts val="406"/>
              </a:spcBef>
              <a:spcAft>
                <a:spcPts val="0"/>
              </a:spcAft>
              <a:buSzPts val="1800"/>
              <a:buChar char="*"/>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93175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2_Jenom nadpis">
  <p:cSld name="2_Jenom nadpis">
    <p:bg>
      <p:bgPr>
        <a:solidFill>
          <a:schemeClr val="bg2"/>
        </a:solidFill>
        <a:effectLst/>
      </p:bgPr>
    </p:bg>
    <p:spTree>
      <p:nvGrpSpPr>
        <p:cNvPr id="1" name="Shape 39"/>
        <p:cNvGrpSpPr/>
        <p:nvPr/>
      </p:nvGrpSpPr>
      <p:grpSpPr>
        <a:xfrm>
          <a:off x="0" y="0"/>
          <a:ext cx="0" cy="0"/>
          <a:chOff x="0" y="0"/>
          <a:chExt cx="0" cy="0"/>
        </a:xfrm>
      </p:grpSpPr>
      <p:sp>
        <p:nvSpPr>
          <p:cNvPr id="40" name="Google Shape;40;p23"/>
          <p:cNvSpPr txBox="1">
            <a:spLocks noGrp="1"/>
          </p:cNvSpPr>
          <p:nvPr>
            <p:ph type="title"/>
          </p:nvPr>
        </p:nvSpPr>
        <p:spPr>
          <a:xfrm>
            <a:off x="723604" y="3200402"/>
            <a:ext cx="8501359" cy="2086924"/>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6000"/>
              <a:buFont typeface="Inter ExtraBold"/>
              <a:buNone/>
              <a:defRPr sz="487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23"/>
          <p:cNvSpPr txBox="1">
            <a:spLocks noGrp="1"/>
          </p:cNvSpPr>
          <p:nvPr>
            <p:ph type="body" idx="1"/>
          </p:nvPr>
        </p:nvSpPr>
        <p:spPr>
          <a:xfrm>
            <a:off x="723604" y="2479042"/>
            <a:ext cx="4167484" cy="716929"/>
          </a:xfrm>
          <a:prstGeom prst="rect">
            <a:avLst/>
          </a:prstGeom>
          <a:noFill/>
          <a:ln>
            <a:noFill/>
          </a:ln>
        </p:spPr>
        <p:txBody>
          <a:bodyPr spcFirstLastPara="1" wrap="square" lIns="0" tIns="90000" rIns="90000" bIns="90000" anchor="t" anchorCtr="0">
            <a:noAutofit/>
          </a:bodyPr>
          <a:lstStyle>
            <a:lvl1pPr marL="371464" lvl="0" indent="-185732" algn="l">
              <a:lnSpc>
                <a:spcPct val="100000"/>
              </a:lnSpc>
              <a:spcBef>
                <a:spcPts val="812"/>
              </a:spcBef>
              <a:spcAft>
                <a:spcPts val="0"/>
              </a:spcAft>
              <a:buClr>
                <a:schemeClr val="accent1"/>
              </a:buClr>
              <a:buSzPts val="3600"/>
              <a:buNone/>
              <a:defRPr sz="2925">
                <a:solidFill>
                  <a:schemeClr val="accent1"/>
                </a:solidFill>
                <a:latin typeface="Inter ExtraBold"/>
                <a:ea typeface="Inter ExtraBold"/>
                <a:cs typeface="Inter ExtraBold"/>
                <a:sym typeface="Inter ExtraBold"/>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pic>
        <p:nvPicPr>
          <p:cNvPr id="42" name="Google Shape;42;p23"/>
          <p:cNvPicPr preferRelativeResize="0"/>
          <p:nvPr/>
        </p:nvPicPr>
        <p:blipFill rotWithShape="1">
          <a:blip r:embed="rId2">
            <a:alphaModFix/>
          </a:blip>
          <a:srcRect/>
          <a:stretch/>
        </p:blipFill>
        <p:spPr>
          <a:xfrm>
            <a:off x="8009231" y="6180880"/>
            <a:ext cx="1508054" cy="283869"/>
          </a:xfrm>
          <a:prstGeom prst="rect">
            <a:avLst/>
          </a:prstGeom>
          <a:noFill/>
          <a:ln>
            <a:noFill/>
          </a:ln>
        </p:spPr>
      </p:pic>
    </p:spTree>
    <p:extLst>
      <p:ext uri="{BB962C8B-B14F-4D97-AF65-F5344CB8AC3E}">
        <p14:creationId xmlns:p14="http://schemas.microsoft.com/office/powerpoint/2010/main" val="11702762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99_okraje">
  <p:cSld name="99_okraje">
    <p:spTree>
      <p:nvGrpSpPr>
        <p:cNvPr id="1" name="Shape 43"/>
        <p:cNvGrpSpPr/>
        <p:nvPr/>
      </p:nvGrpSpPr>
      <p:grpSpPr>
        <a:xfrm>
          <a:off x="0" y="0"/>
          <a:ext cx="0" cy="0"/>
          <a:chOff x="0" y="0"/>
          <a:chExt cx="0" cy="0"/>
        </a:xfrm>
      </p:grpSpPr>
      <p:sp>
        <p:nvSpPr>
          <p:cNvPr id="44" name="Google Shape;44;p24"/>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45" name="Google Shape;45;p24"/>
          <p:cNvSpPr/>
          <p:nvPr/>
        </p:nvSpPr>
        <p:spPr>
          <a:xfrm rot="5400000">
            <a:off x="4511128" y="-4504284"/>
            <a:ext cx="890588" cy="9899158"/>
          </a:xfrm>
          <a:prstGeom prst="rect">
            <a:avLst/>
          </a:prstGeom>
          <a:solidFill>
            <a:srgbClr val="FBF0D2"/>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sp>
        <p:nvSpPr>
          <p:cNvPr id="46" name="Google Shape;46;p24"/>
          <p:cNvSpPr/>
          <p:nvPr/>
        </p:nvSpPr>
        <p:spPr>
          <a:xfrm rot="10800000">
            <a:off x="9182398" y="-1"/>
            <a:ext cx="723603" cy="6858001"/>
          </a:xfrm>
          <a:prstGeom prst="rect">
            <a:avLst/>
          </a:prstGeom>
          <a:solidFill>
            <a:srgbClr val="FBF0D2"/>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sp>
        <p:nvSpPr>
          <p:cNvPr id="47" name="Google Shape;47;p24"/>
          <p:cNvSpPr/>
          <p:nvPr/>
        </p:nvSpPr>
        <p:spPr>
          <a:xfrm rot="10800000">
            <a:off x="2" y="0"/>
            <a:ext cx="723603" cy="6858000"/>
          </a:xfrm>
          <a:prstGeom prst="rect">
            <a:avLst/>
          </a:prstGeom>
          <a:solidFill>
            <a:srgbClr val="FBF0D2"/>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sp>
        <p:nvSpPr>
          <p:cNvPr id="48" name="Google Shape;48;p24"/>
          <p:cNvSpPr/>
          <p:nvPr/>
        </p:nvSpPr>
        <p:spPr>
          <a:xfrm rot="5400000">
            <a:off x="4511128" y="1461174"/>
            <a:ext cx="890588" cy="9899158"/>
          </a:xfrm>
          <a:prstGeom prst="rect">
            <a:avLst/>
          </a:prstGeom>
          <a:solidFill>
            <a:srgbClr val="FBF0D2"/>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spTree>
    <p:extLst>
      <p:ext uri="{BB962C8B-B14F-4D97-AF65-F5344CB8AC3E}">
        <p14:creationId xmlns:p14="http://schemas.microsoft.com/office/powerpoint/2010/main" val="35336024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1a_Úvod_vzdelavani1">
  <p:cSld name="1a_Úvod_vzdelavani1">
    <p:spTree>
      <p:nvGrpSpPr>
        <p:cNvPr id="1" name="Shape 49"/>
        <p:cNvGrpSpPr/>
        <p:nvPr/>
      </p:nvGrpSpPr>
      <p:grpSpPr>
        <a:xfrm>
          <a:off x="0" y="0"/>
          <a:ext cx="0" cy="0"/>
          <a:chOff x="0" y="0"/>
          <a:chExt cx="0" cy="0"/>
        </a:xfrm>
      </p:grpSpPr>
      <p:pic>
        <p:nvPicPr>
          <p:cNvPr id="50" name="Google Shape;50;p25" descr="Základová fotografie zdarma na téma algebra, displej, fyzika"/>
          <p:cNvPicPr preferRelativeResize="0"/>
          <p:nvPr/>
        </p:nvPicPr>
        <p:blipFill rotWithShape="1">
          <a:blip r:embed="rId2">
            <a:alphaModFix/>
          </a:blip>
          <a:srcRect t="1484" b="14454"/>
          <a:stretch/>
        </p:blipFill>
        <p:spPr>
          <a:xfrm>
            <a:off x="0" y="0"/>
            <a:ext cx="9942942" cy="6858000"/>
          </a:xfrm>
          <a:prstGeom prst="rect">
            <a:avLst/>
          </a:prstGeom>
          <a:noFill/>
          <a:ln>
            <a:noFill/>
          </a:ln>
        </p:spPr>
      </p:pic>
      <p:sp>
        <p:nvSpPr>
          <p:cNvPr id="51" name="Google Shape;51;p25"/>
          <p:cNvSpPr/>
          <p:nvPr/>
        </p:nvSpPr>
        <p:spPr>
          <a:xfrm>
            <a:off x="1" y="0"/>
            <a:ext cx="9942942" cy="6858000"/>
          </a:xfrm>
          <a:prstGeom prst="rect">
            <a:avLst/>
          </a:prstGeom>
          <a:solidFill>
            <a:srgbClr val="0D54A2">
              <a:alpha val="6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rgbClr val="7F7F7F"/>
              </a:solidFill>
              <a:latin typeface="Fira Sans"/>
              <a:ea typeface="Fira Sans"/>
              <a:cs typeface="Fira Sans"/>
              <a:sym typeface="Fira Sans"/>
            </a:endParaRPr>
          </a:p>
        </p:txBody>
      </p:sp>
      <p:sp>
        <p:nvSpPr>
          <p:cNvPr id="52" name="Google Shape;52;p25"/>
          <p:cNvSpPr/>
          <p:nvPr/>
        </p:nvSpPr>
        <p:spPr>
          <a:xfrm>
            <a:off x="6157127" y="2852938"/>
            <a:ext cx="4412498" cy="5430767"/>
          </a:xfrm>
          <a:prstGeom prst="ellipse">
            <a:avLst/>
          </a:prstGeom>
          <a:solidFill>
            <a:srgbClr val="0D54A2">
              <a:alpha val="8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pic>
        <p:nvPicPr>
          <p:cNvPr id="53" name="Google Shape;53;p25"/>
          <p:cNvPicPr preferRelativeResize="0"/>
          <p:nvPr/>
        </p:nvPicPr>
        <p:blipFill rotWithShape="1">
          <a:blip r:embed="rId3">
            <a:alphaModFix/>
          </a:blip>
          <a:srcRect/>
          <a:stretch/>
        </p:blipFill>
        <p:spPr>
          <a:xfrm>
            <a:off x="7468779" y="4635558"/>
            <a:ext cx="1462663" cy="1114409"/>
          </a:xfrm>
          <a:prstGeom prst="rect">
            <a:avLst/>
          </a:prstGeom>
          <a:noFill/>
          <a:ln>
            <a:noFill/>
          </a:ln>
        </p:spPr>
      </p:pic>
      <p:sp>
        <p:nvSpPr>
          <p:cNvPr id="54" name="Google Shape;54;p25"/>
          <p:cNvSpPr txBox="1">
            <a:spLocks noGrp="1"/>
          </p:cNvSpPr>
          <p:nvPr>
            <p:ph type="ctrTitle"/>
          </p:nvPr>
        </p:nvSpPr>
        <p:spPr>
          <a:xfrm>
            <a:off x="720450" y="890930"/>
            <a:ext cx="4232551" cy="2810407"/>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lt1"/>
              </a:buClr>
              <a:buSzPts val="4400"/>
              <a:buFont typeface="IBM Plex Sans Medium"/>
              <a:buNone/>
              <a:defRPr sz="3575" b="0" i="0">
                <a:solidFill>
                  <a:schemeClr val="lt1"/>
                </a:solidFill>
                <a:latin typeface="IBM Plex Sans Medium"/>
                <a:ea typeface="IBM Plex Sans Medium"/>
                <a:cs typeface="IBM Plex Sans Medium"/>
                <a:sym typeface="IBM Plex Sans Medium"/>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25"/>
          <p:cNvSpPr txBox="1">
            <a:spLocks noGrp="1"/>
          </p:cNvSpPr>
          <p:nvPr>
            <p:ph type="subTitle" idx="1"/>
          </p:nvPr>
        </p:nvSpPr>
        <p:spPr>
          <a:xfrm>
            <a:off x="720450" y="3701336"/>
            <a:ext cx="4232551" cy="447744"/>
          </a:xfrm>
          <a:prstGeom prst="rect">
            <a:avLst/>
          </a:prstGeom>
          <a:noFill/>
          <a:ln>
            <a:noFill/>
          </a:ln>
        </p:spPr>
        <p:txBody>
          <a:bodyPr spcFirstLastPara="1" wrap="square" lIns="0" tIns="0" rIns="0" bIns="0" anchor="b" anchorCtr="0">
            <a:noAutofit/>
          </a:bodyPr>
          <a:lstStyle>
            <a:lvl1pPr lvl="0" algn="l">
              <a:lnSpc>
                <a:spcPct val="100000"/>
              </a:lnSpc>
              <a:spcBef>
                <a:spcPts val="812"/>
              </a:spcBef>
              <a:spcAft>
                <a:spcPts val="0"/>
              </a:spcAft>
              <a:buClr>
                <a:srgbClr val="E0ECF5"/>
              </a:buClr>
              <a:buSzPts val="2400"/>
              <a:buNone/>
              <a:defRPr sz="1950">
                <a:solidFill>
                  <a:srgbClr val="E0ECF5"/>
                </a:solidFill>
                <a:latin typeface="IBM Plex Sans"/>
                <a:ea typeface="IBM Plex Sans"/>
                <a:cs typeface="IBM Plex Sans"/>
                <a:sym typeface="IBM Plex Sans"/>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sp>
        <p:nvSpPr>
          <p:cNvPr id="56" name="Google Shape;56;p25"/>
          <p:cNvSpPr txBox="1">
            <a:spLocks noGrp="1"/>
          </p:cNvSpPr>
          <p:nvPr>
            <p:ph type="body" idx="2"/>
          </p:nvPr>
        </p:nvSpPr>
        <p:spPr>
          <a:xfrm>
            <a:off x="720449" y="5192763"/>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Inter"/>
                <a:ea typeface="Inter"/>
                <a:cs typeface="Inter"/>
                <a:sym typeface="Inter"/>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57" name="Google Shape;57;p25"/>
          <p:cNvSpPr txBox="1">
            <a:spLocks noGrp="1"/>
          </p:cNvSpPr>
          <p:nvPr>
            <p:ph type="body" idx="3"/>
          </p:nvPr>
        </p:nvSpPr>
        <p:spPr>
          <a:xfrm>
            <a:off x="720449" y="5645553"/>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Inter"/>
                <a:ea typeface="Inter"/>
                <a:cs typeface="Inter"/>
                <a:sym typeface="Inter"/>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58" name="Google Shape;58;p25"/>
          <p:cNvSpPr/>
          <p:nvPr/>
        </p:nvSpPr>
        <p:spPr>
          <a:xfrm rot="3528582">
            <a:off x="7349350" y="2485602"/>
            <a:ext cx="947584" cy="771762"/>
          </a:xfrm>
          <a:custGeom>
            <a:avLst/>
            <a:gdLst/>
            <a:ahLst/>
            <a:cxnLst/>
            <a:rect l="l" t="t" r="r" b="b"/>
            <a:pathLst>
              <a:path w="541623" h="542925" extrusionOk="0">
                <a:moveTo>
                  <a:pt x="541623" y="271463"/>
                </a:moveTo>
                <a:cubicBezTo>
                  <a:pt x="541623" y="421387"/>
                  <a:pt x="420377" y="542925"/>
                  <a:pt x="270812" y="542925"/>
                </a:cubicBezTo>
                <a:cubicBezTo>
                  <a:pt x="121247" y="542925"/>
                  <a:pt x="0" y="421387"/>
                  <a:pt x="0" y="271463"/>
                </a:cubicBezTo>
                <a:cubicBezTo>
                  <a:pt x="0" y="121538"/>
                  <a:pt x="121247" y="0"/>
                  <a:pt x="270812" y="0"/>
                </a:cubicBezTo>
                <a:cubicBezTo>
                  <a:pt x="420377" y="0"/>
                  <a:pt x="541623" y="121538"/>
                  <a:pt x="541623" y="271463"/>
                </a:cubicBezTo>
                <a:close/>
              </a:path>
            </a:pathLst>
          </a:custGeom>
          <a:solidFill>
            <a:srgbClr val="73C7FF">
              <a:alpha val="18823"/>
            </a:srgb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59" name="Google Shape;59;p25"/>
          <p:cNvSpPr/>
          <p:nvPr/>
        </p:nvSpPr>
        <p:spPr>
          <a:xfrm rot="3528582">
            <a:off x="9075523" y="749100"/>
            <a:ext cx="354879" cy="283659"/>
          </a:xfrm>
          <a:custGeom>
            <a:avLst/>
            <a:gdLst/>
            <a:ahLst/>
            <a:cxnLst/>
            <a:rect l="l" t="t" r="r" b="b"/>
            <a:pathLst>
              <a:path w="275562" h="266700" extrusionOk="0">
                <a:moveTo>
                  <a:pt x="275563" y="133350"/>
                </a:moveTo>
                <a:cubicBezTo>
                  <a:pt x="275563" y="206997"/>
                  <a:pt x="213876" y="266700"/>
                  <a:pt x="137781" y="266700"/>
                </a:cubicBezTo>
                <a:cubicBezTo>
                  <a:pt x="61687" y="266700"/>
                  <a:pt x="0" y="206997"/>
                  <a:pt x="0" y="133350"/>
                </a:cubicBezTo>
                <a:cubicBezTo>
                  <a:pt x="0" y="59703"/>
                  <a:pt x="61687" y="0"/>
                  <a:pt x="137781" y="0"/>
                </a:cubicBezTo>
                <a:cubicBezTo>
                  <a:pt x="213876" y="0"/>
                  <a:pt x="275563" y="59703"/>
                  <a:pt x="275563" y="133350"/>
                </a:cubicBezTo>
                <a:close/>
              </a:path>
            </a:pathLst>
          </a:custGeom>
          <a:solidFill>
            <a:srgbClr val="F5DA8E">
              <a:alpha val="62745"/>
            </a:srgb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60" name="Google Shape;60;p25"/>
          <p:cNvSpPr/>
          <p:nvPr/>
        </p:nvSpPr>
        <p:spPr>
          <a:xfrm rot="3528582">
            <a:off x="8247659" y="1298654"/>
            <a:ext cx="496779" cy="418092"/>
          </a:xfrm>
          <a:custGeom>
            <a:avLst/>
            <a:gdLst/>
            <a:ahLst/>
            <a:cxnLst/>
            <a:rect l="l" t="t" r="r" b="b"/>
            <a:pathLst>
              <a:path w="285064" h="295275" extrusionOk="0">
                <a:moveTo>
                  <a:pt x="285065" y="147637"/>
                </a:moveTo>
                <a:cubicBezTo>
                  <a:pt x="285065" y="229175"/>
                  <a:pt x="221251" y="295275"/>
                  <a:pt x="142532" y="295275"/>
                </a:cubicBezTo>
                <a:cubicBezTo>
                  <a:pt x="63814" y="295275"/>
                  <a:pt x="0" y="229175"/>
                  <a:pt x="0" y="147637"/>
                </a:cubicBezTo>
                <a:cubicBezTo>
                  <a:pt x="0" y="66099"/>
                  <a:pt x="63814" y="0"/>
                  <a:pt x="142532" y="0"/>
                </a:cubicBezTo>
                <a:cubicBezTo>
                  <a:pt x="221251" y="0"/>
                  <a:pt x="285065" y="66099"/>
                  <a:pt x="285065" y="147637"/>
                </a:cubicBezTo>
                <a:close/>
              </a:path>
            </a:pathLst>
          </a:custGeom>
          <a:solidFill>
            <a:schemeClr val="lt1">
              <a:alpha val="45490"/>
            </a:scheme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61" name="Google Shape;61;p25"/>
          <p:cNvSpPr/>
          <p:nvPr/>
        </p:nvSpPr>
        <p:spPr>
          <a:xfrm rot="3528582">
            <a:off x="8805701" y="2374002"/>
            <a:ext cx="459593" cy="374318"/>
          </a:xfrm>
          <a:custGeom>
            <a:avLst/>
            <a:gdLst/>
            <a:ahLst/>
            <a:cxnLst/>
            <a:rect l="l" t="t" r="r" b="b"/>
            <a:pathLst>
              <a:path w="285064" h="285750" extrusionOk="0">
                <a:moveTo>
                  <a:pt x="285065" y="142875"/>
                </a:moveTo>
                <a:cubicBezTo>
                  <a:pt x="285065" y="221783"/>
                  <a:pt x="221251" y="285750"/>
                  <a:pt x="142532" y="285750"/>
                </a:cubicBezTo>
                <a:cubicBezTo>
                  <a:pt x="63814" y="285750"/>
                  <a:pt x="0" y="221783"/>
                  <a:pt x="0" y="142875"/>
                </a:cubicBezTo>
                <a:cubicBezTo>
                  <a:pt x="0" y="63967"/>
                  <a:pt x="63814" y="0"/>
                  <a:pt x="142532" y="0"/>
                </a:cubicBezTo>
                <a:cubicBezTo>
                  <a:pt x="221251" y="0"/>
                  <a:pt x="285065" y="63967"/>
                  <a:pt x="285065" y="142875"/>
                </a:cubicBezTo>
                <a:close/>
              </a:path>
            </a:pathLst>
          </a:custGeom>
          <a:solidFill>
            <a:schemeClr val="lt1">
              <a:alpha val="29019"/>
            </a:scheme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62" name="Google Shape;62;p25"/>
          <p:cNvSpPr/>
          <p:nvPr/>
        </p:nvSpPr>
        <p:spPr>
          <a:xfrm rot="3528582">
            <a:off x="9337048" y="3155475"/>
            <a:ext cx="761731" cy="620394"/>
          </a:xfrm>
          <a:custGeom>
            <a:avLst/>
            <a:gdLst/>
            <a:ahLst/>
            <a:cxnLst/>
            <a:rect l="l" t="t" r="r" b="b"/>
            <a:pathLst>
              <a:path w="437099" h="438150" extrusionOk="0">
                <a:moveTo>
                  <a:pt x="437099" y="219075"/>
                </a:moveTo>
                <a:cubicBezTo>
                  <a:pt x="437099" y="340067"/>
                  <a:pt x="339251" y="438150"/>
                  <a:pt x="218550" y="438150"/>
                </a:cubicBezTo>
                <a:cubicBezTo>
                  <a:pt x="97848" y="438150"/>
                  <a:pt x="0" y="340067"/>
                  <a:pt x="0" y="219075"/>
                </a:cubicBezTo>
                <a:cubicBezTo>
                  <a:pt x="0" y="98083"/>
                  <a:pt x="97848" y="0"/>
                  <a:pt x="218550" y="0"/>
                </a:cubicBezTo>
                <a:cubicBezTo>
                  <a:pt x="339251" y="0"/>
                  <a:pt x="437099" y="98083"/>
                  <a:pt x="437099" y="219075"/>
                </a:cubicBezTo>
                <a:close/>
              </a:path>
            </a:pathLst>
          </a:custGeom>
          <a:solidFill>
            <a:srgbClr val="F2CE6E">
              <a:alpha val="36470"/>
            </a:srgb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Tree>
    <p:extLst>
      <p:ext uri="{BB962C8B-B14F-4D97-AF65-F5344CB8AC3E}">
        <p14:creationId xmlns:p14="http://schemas.microsoft.com/office/powerpoint/2010/main" val="15479407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2_1a_Úvod_vzdelavani1">
  <p:cSld name="2_1a_Úvod_vzdelavani1">
    <p:spTree>
      <p:nvGrpSpPr>
        <p:cNvPr id="1" name="Shape 63"/>
        <p:cNvGrpSpPr/>
        <p:nvPr/>
      </p:nvGrpSpPr>
      <p:grpSpPr>
        <a:xfrm>
          <a:off x="0" y="0"/>
          <a:ext cx="0" cy="0"/>
          <a:chOff x="0" y="0"/>
          <a:chExt cx="0" cy="0"/>
        </a:xfrm>
      </p:grpSpPr>
      <p:pic>
        <p:nvPicPr>
          <p:cNvPr id="64" name="Google Shape;64;p26" descr="Základová fotografie zdarma na téma algebra, displej, fyzika"/>
          <p:cNvPicPr preferRelativeResize="0"/>
          <p:nvPr/>
        </p:nvPicPr>
        <p:blipFill rotWithShape="1">
          <a:blip r:embed="rId2">
            <a:alphaModFix/>
          </a:blip>
          <a:srcRect t="1484" b="14454"/>
          <a:stretch/>
        </p:blipFill>
        <p:spPr>
          <a:xfrm>
            <a:off x="0" y="0"/>
            <a:ext cx="9942942" cy="6858000"/>
          </a:xfrm>
          <a:prstGeom prst="rect">
            <a:avLst/>
          </a:prstGeom>
          <a:noFill/>
          <a:ln>
            <a:noFill/>
          </a:ln>
        </p:spPr>
      </p:pic>
      <p:sp>
        <p:nvSpPr>
          <p:cNvPr id="65" name="Google Shape;65;p26"/>
          <p:cNvSpPr/>
          <p:nvPr/>
        </p:nvSpPr>
        <p:spPr>
          <a:xfrm>
            <a:off x="763" y="0"/>
            <a:ext cx="9942942" cy="6858000"/>
          </a:xfrm>
          <a:prstGeom prst="rect">
            <a:avLst/>
          </a:prstGeom>
          <a:solidFill>
            <a:srgbClr val="0D54A2">
              <a:alpha val="6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rgbClr val="7F7F7F"/>
              </a:solidFill>
              <a:latin typeface="Fira Sans"/>
              <a:ea typeface="Fira Sans"/>
              <a:cs typeface="Fira Sans"/>
              <a:sym typeface="Fira Sans"/>
            </a:endParaRPr>
          </a:p>
        </p:txBody>
      </p:sp>
      <p:sp>
        <p:nvSpPr>
          <p:cNvPr id="66" name="Google Shape;66;p26"/>
          <p:cNvSpPr txBox="1">
            <a:spLocks noGrp="1"/>
          </p:cNvSpPr>
          <p:nvPr>
            <p:ph type="ctrTitle"/>
          </p:nvPr>
        </p:nvSpPr>
        <p:spPr>
          <a:xfrm>
            <a:off x="720450" y="890930"/>
            <a:ext cx="4232551" cy="2810407"/>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lt1"/>
              </a:buClr>
              <a:buSzPts val="4400"/>
              <a:buFont typeface="IBM Plex Sans Medium"/>
              <a:buNone/>
              <a:defRPr sz="3575" b="0" i="0">
                <a:solidFill>
                  <a:schemeClr val="lt1"/>
                </a:solidFill>
                <a:latin typeface="IBM Plex Sans Medium"/>
                <a:ea typeface="IBM Plex Sans Medium"/>
                <a:cs typeface="IBM Plex Sans Medium"/>
                <a:sym typeface="IBM Plex Sans Medium"/>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26"/>
          <p:cNvSpPr txBox="1">
            <a:spLocks noGrp="1"/>
          </p:cNvSpPr>
          <p:nvPr>
            <p:ph type="subTitle" idx="1"/>
          </p:nvPr>
        </p:nvSpPr>
        <p:spPr>
          <a:xfrm>
            <a:off x="720450" y="3701336"/>
            <a:ext cx="4232551" cy="447744"/>
          </a:xfrm>
          <a:prstGeom prst="rect">
            <a:avLst/>
          </a:prstGeom>
          <a:noFill/>
          <a:ln>
            <a:noFill/>
          </a:ln>
        </p:spPr>
        <p:txBody>
          <a:bodyPr spcFirstLastPara="1" wrap="square" lIns="0" tIns="0" rIns="0" bIns="0" anchor="b" anchorCtr="0">
            <a:noAutofit/>
          </a:bodyPr>
          <a:lstStyle>
            <a:lvl1pPr lvl="0" algn="l">
              <a:lnSpc>
                <a:spcPct val="100000"/>
              </a:lnSpc>
              <a:spcBef>
                <a:spcPts val="812"/>
              </a:spcBef>
              <a:spcAft>
                <a:spcPts val="0"/>
              </a:spcAft>
              <a:buClr>
                <a:srgbClr val="E0ECF5"/>
              </a:buClr>
              <a:buSzPts val="2400"/>
              <a:buNone/>
              <a:defRPr sz="1950">
                <a:solidFill>
                  <a:srgbClr val="E0ECF5"/>
                </a:solidFill>
                <a:latin typeface="IBM Plex Sans"/>
                <a:ea typeface="IBM Plex Sans"/>
                <a:cs typeface="IBM Plex Sans"/>
                <a:sym typeface="IBM Plex Sans"/>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sp>
        <p:nvSpPr>
          <p:cNvPr id="68" name="Google Shape;68;p26"/>
          <p:cNvSpPr txBox="1">
            <a:spLocks noGrp="1"/>
          </p:cNvSpPr>
          <p:nvPr>
            <p:ph type="body" idx="2"/>
          </p:nvPr>
        </p:nvSpPr>
        <p:spPr>
          <a:xfrm>
            <a:off x="720449" y="5192763"/>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Inter"/>
                <a:ea typeface="Inter"/>
                <a:cs typeface="Inter"/>
                <a:sym typeface="Inter"/>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69" name="Google Shape;69;p26"/>
          <p:cNvSpPr txBox="1">
            <a:spLocks noGrp="1"/>
          </p:cNvSpPr>
          <p:nvPr>
            <p:ph type="body" idx="3"/>
          </p:nvPr>
        </p:nvSpPr>
        <p:spPr>
          <a:xfrm>
            <a:off x="720449" y="5645553"/>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Inter"/>
                <a:ea typeface="Inter"/>
                <a:cs typeface="Inter"/>
                <a:sym typeface="Inter"/>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70" name="Google Shape;70;p26"/>
          <p:cNvSpPr/>
          <p:nvPr/>
        </p:nvSpPr>
        <p:spPr>
          <a:xfrm>
            <a:off x="6157127" y="2852938"/>
            <a:ext cx="4412498" cy="5430767"/>
          </a:xfrm>
          <a:prstGeom prst="ellipse">
            <a:avLst/>
          </a:prstGeom>
          <a:solidFill>
            <a:srgbClr val="0D54A2">
              <a:alpha val="8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pic>
        <p:nvPicPr>
          <p:cNvPr id="71" name="Google Shape;71;p26"/>
          <p:cNvPicPr preferRelativeResize="0"/>
          <p:nvPr/>
        </p:nvPicPr>
        <p:blipFill rotWithShape="1">
          <a:blip r:embed="rId3">
            <a:alphaModFix/>
          </a:blip>
          <a:srcRect/>
          <a:stretch/>
        </p:blipFill>
        <p:spPr>
          <a:xfrm>
            <a:off x="7468779" y="4635558"/>
            <a:ext cx="1462663" cy="1114409"/>
          </a:xfrm>
          <a:prstGeom prst="rect">
            <a:avLst/>
          </a:prstGeom>
          <a:noFill/>
          <a:ln>
            <a:noFill/>
          </a:ln>
        </p:spPr>
      </p:pic>
    </p:spTree>
    <p:extLst>
      <p:ext uri="{BB962C8B-B14F-4D97-AF65-F5344CB8AC3E}">
        <p14:creationId xmlns:p14="http://schemas.microsoft.com/office/powerpoint/2010/main" val="35827780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1c_Úvod_ekologie">
  <p:cSld name="1c_Úvod_ekologie">
    <p:spTree>
      <p:nvGrpSpPr>
        <p:cNvPr id="1" name="Shape 72"/>
        <p:cNvGrpSpPr/>
        <p:nvPr/>
      </p:nvGrpSpPr>
      <p:grpSpPr>
        <a:xfrm>
          <a:off x="0" y="0"/>
          <a:ext cx="0" cy="0"/>
          <a:chOff x="0" y="0"/>
          <a:chExt cx="0" cy="0"/>
        </a:xfrm>
      </p:grpSpPr>
      <p:pic>
        <p:nvPicPr>
          <p:cNvPr id="73" name="Google Shape;73;p27" descr="Jeseniky, Kalamita, Lesy, Jeseníky, Krajina, Dřevo"/>
          <p:cNvPicPr preferRelativeResize="0"/>
          <p:nvPr/>
        </p:nvPicPr>
        <p:blipFill rotWithShape="1">
          <a:blip r:embed="rId2">
            <a:alphaModFix/>
          </a:blip>
          <a:srcRect l="866" t="223" r="11088" b="27244"/>
          <a:stretch/>
        </p:blipFill>
        <p:spPr>
          <a:xfrm flipH="1">
            <a:off x="0" y="-1"/>
            <a:ext cx="9913881" cy="6858001"/>
          </a:xfrm>
          <a:prstGeom prst="rect">
            <a:avLst/>
          </a:prstGeom>
          <a:noFill/>
          <a:ln>
            <a:noFill/>
          </a:ln>
        </p:spPr>
      </p:pic>
      <p:sp>
        <p:nvSpPr>
          <p:cNvPr id="74" name="Google Shape;74;p27"/>
          <p:cNvSpPr/>
          <p:nvPr/>
        </p:nvSpPr>
        <p:spPr>
          <a:xfrm>
            <a:off x="-57749" y="-132314"/>
            <a:ext cx="10021501" cy="7122627"/>
          </a:xfrm>
          <a:prstGeom prst="rect">
            <a:avLst/>
          </a:prstGeom>
          <a:solidFill>
            <a:srgbClr val="001329">
              <a:alpha val="80000"/>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rgbClr val="7F7F7F"/>
              </a:solidFill>
              <a:latin typeface="Fira Sans"/>
              <a:ea typeface="Fira Sans"/>
              <a:cs typeface="Fira Sans"/>
              <a:sym typeface="Fira Sans"/>
            </a:endParaRPr>
          </a:p>
        </p:txBody>
      </p:sp>
      <p:sp>
        <p:nvSpPr>
          <p:cNvPr id="75" name="Google Shape;75;p27"/>
          <p:cNvSpPr txBox="1">
            <a:spLocks noGrp="1"/>
          </p:cNvSpPr>
          <p:nvPr>
            <p:ph type="ctrTitle"/>
          </p:nvPr>
        </p:nvSpPr>
        <p:spPr>
          <a:xfrm>
            <a:off x="720450" y="890931"/>
            <a:ext cx="8504512" cy="1921388"/>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4400"/>
              <a:buFont typeface="Inter ExtraBold"/>
              <a:buNone/>
              <a:defRPr sz="357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27"/>
          <p:cNvSpPr/>
          <p:nvPr/>
        </p:nvSpPr>
        <p:spPr>
          <a:xfrm>
            <a:off x="6157127" y="2852938"/>
            <a:ext cx="4412498" cy="5430767"/>
          </a:xfrm>
          <a:prstGeom prst="ellipse">
            <a:avLst/>
          </a:prstGeom>
          <a:solidFill>
            <a:srgbClr val="00254B">
              <a:alpha val="8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pic>
        <p:nvPicPr>
          <p:cNvPr id="77" name="Google Shape;77;p27"/>
          <p:cNvPicPr preferRelativeResize="0"/>
          <p:nvPr/>
        </p:nvPicPr>
        <p:blipFill rotWithShape="1">
          <a:blip r:embed="rId3">
            <a:alphaModFix/>
          </a:blip>
          <a:srcRect l="33606" t="42685" r="18308" b="24374"/>
          <a:stretch/>
        </p:blipFill>
        <p:spPr>
          <a:xfrm>
            <a:off x="7393822" y="4593490"/>
            <a:ext cx="1873195" cy="1381831"/>
          </a:xfrm>
          <a:prstGeom prst="rect">
            <a:avLst/>
          </a:prstGeom>
          <a:noFill/>
          <a:ln>
            <a:noFill/>
          </a:ln>
        </p:spPr>
      </p:pic>
      <p:sp>
        <p:nvSpPr>
          <p:cNvPr id="78" name="Google Shape;78;p27"/>
          <p:cNvSpPr txBox="1">
            <a:spLocks noGrp="1"/>
          </p:cNvSpPr>
          <p:nvPr>
            <p:ph type="subTitle" idx="1"/>
          </p:nvPr>
        </p:nvSpPr>
        <p:spPr>
          <a:xfrm>
            <a:off x="720450" y="2852936"/>
            <a:ext cx="8504512" cy="1296144"/>
          </a:xfrm>
          <a:prstGeom prst="rect">
            <a:avLst/>
          </a:prstGeom>
          <a:noFill/>
          <a:ln>
            <a:noFill/>
          </a:ln>
        </p:spPr>
        <p:txBody>
          <a:bodyPr spcFirstLastPara="1" wrap="square" lIns="0" tIns="0" rIns="0" bIns="0" anchor="t" anchorCtr="0">
            <a:noAutofit/>
          </a:bodyPr>
          <a:lstStyle>
            <a:lvl1pPr lvl="0" algn="l">
              <a:lnSpc>
                <a:spcPct val="100000"/>
              </a:lnSpc>
              <a:spcBef>
                <a:spcPts val="812"/>
              </a:spcBef>
              <a:spcAft>
                <a:spcPts val="0"/>
              </a:spcAft>
              <a:buClr>
                <a:schemeClr val="lt1"/>
              </a:buClr>
              <a:buSzPts val="2400"/>
              <a:buNone/>
              <a:defRPr sz="1950">
                <a:solidFill>
                  <a:schemeClr val="lt1"/>
                </a:solidFill>
                <a:latin typeface="Inter"/>
                <a:ea typeface="Inter"/>
                <a:cs typeface="Inter"/>
                <a:sym typeface="Inter"/>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pic>
        <p:nvPicPr>
          <p:cNvPr id="79" name="Google Shape;79;p27"/>
          <p:cNvPicPr preferRelativeResize="0"/>
          <p:nvPr/>
        </p:nvPicPr>
        <p:blipFill rotWithShape="1">
          <a:blip r:embed="rId4">
            <a:alphaModFix/>
          </a:blip>
          <a:srcRect/>
          <a:stretch/>
        </p:blipFill>
        <p:spPr>
          <a:xfrm>
            <a:off x="720449" y="5129055"/>
            <a:ext cx="292500" cy="360000"/>
          </a:xfrm>
          <a:prstGeom prst="rect">
            <a:avLst/>
          </a:prstGeom>
          <a:noFill/>
          <a:ln>
            <a:noFill/>
          </a:ln>
        </p:spPr>
      </p:pic>
      <p:pic>
        <p:nvPicPr>
          <p:cNvPr id="80" name="Google Shape;80;p27"/>
          <p:cNvPicPr preferRelativeResize="0"/>
          <p:nvPr/>
        </p:nvPicPr>
        <p:blipFill rotWithShape="1">
          <a:blip r:embed="rId5">
            <a:alphaModFix/>
          </a:blip>
          <a:srcRect/>
          <a:stretch/>
        </p:blipFill>
        <p:spPr>
          <a:xfrm>
            <a:off x="720449" y="5617416"/>
            <a:ext cx="292500" cy="360000"/>
          </a:xfrm>
          <a:prstGeom prst="rect">
            <a:avLst/>
          </a:prstGeom>
          <a:noFill/>
          <a:ln>
            <a:noFill/>
          </a:ln>
        </p:spPr>
      </p:pic>
      <p:sp>
        <p:nvSpPr>
          <p:cNvPr id="81" name="Google Shape;81;p27"/>
          <p:cNvSpPr txBox="1">
            <a:spLocks noGrp="1"/>
          </p:cNvSpPr>
          <p:nvPr>
            <p:ph type="body" idx="2"/>
          </p:nvPr>
        </p:nvSpPr>
        <p:spPr>
          <a:xfrm>
            <a:off x="1150078" y="508518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82" name="Google Shape;82;p27"/>
          <p:cNvSpPr txBox="1">
            <a:spLocks noGrp="1"/>
          </p:cNvSpPr>
          <p:nvPr>
            <p:ph type="body" idx="3"/>
          </p:nvPr>
        </p:nvSpPr>
        <p:spPr>
          <a:xfrm>
            <a:off x="1150078" y="557354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564022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1d_Úvod_město snímek_lide_mesto_urbanismus">
  <p:cSld name="1d_Úvod_město snímek_lide_mesto_urbanismus">
    <p:spTree>
      <p:nvGrpSpPr>
        <p:cNvPr id="1" name="Shape 83"/>
        <p:cNvGrpSpPr/>
        <p:nvPr/>
      </p:nvGrpSpPr>
      <p:grpSpPr>
        <a:xfrm>
          <a:off x="0" y="0"/>
          <a:ext cx="0" cy="0"/>
          <a:chOff x="0" y="0"/>
          <a:chExt cx="0" cy="0"/>
        </a:xfrm>
      </p:grpSpPr>
      <p:pic>
        <p:nvPicPr>
          <p:cNvPr id="84" name="Google Shape;84;p28" descr="Tower, Prague, Children, Black White, Place, City"/>
          <p:cNvPicPr preferRelativeResize="0"/>
          <p:nvPr/>
        </p:nvPicPr>
        <p:blipFill rotWithShape="1">
          <a:blip r:embed="rId2">
            <a:alphaModFix/>
          </a:blip>
          <a:srcRect t="5362" b="14605"/>
          <a:stretch/>
        </p:blipFill>
        <p:spPr>
          <a:xfrm>
            <a:off x="-19706" y="0"/>
            <a:ext cx="9945415" cy="6858000"/>
          </a:xfrm>
          <a:prstGeom prst="rect">
            <a:avLst/>
          </a:prstGeom>
          <a:noFill/>
          <a:ln>
            <a:noFill/>
          </a:ln>
        </p:spPr>
      </p:pic>
      <p:sp>
        <p:nvSpPr>
          <p:cNvPr id="85" name="Google Shape;85;p28"/>
          <p:cNvSpPr/>
          <p:nvPr/>
        </p:nvSpPr>
        <p:spPr>
          <a:xfrm>
            <a:off x="-57749" y="-132314"/>
            <a:ext cx="10021501" cy="7122627"/>
          </a:xfrm>
          <a:prstGeom prst="rect">
            <a:avLst/>
          </a:prstGeom>
          <a:solidFill>
            <a:srgbClr val="001329">
              <a:alpha val="80000"/>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rgbClr val="7F7F7F"/>
              </a:solidFill>
              <a:latin typeface="Fira Sans"/>
              <a:ea typeface="Fira Sans"/>
              <a:cs typeface="Fira Sans"/>
              <a:sym typeface="Fira Sans"/>
            </a:endParaRPr>
          </a:p>
        </p:txBody>
      </p:sp>
      <p:sp>
        <p:nvSpPr>
          <p:cNvPr id="86" name="Google Shape;86;p28"/>
          <p:cNvSpPr txBox="1">
            <a:spLocks noGrp="1"/>
          </p:cNvSpPr>
          <p:nvPr>
            <p:ph type="ctrTitle"/>
          </p:nvPr>
        </p:nvSpPr>
        <p:spPr>
          <a:xfrm>
            <a:off x="720450" y="890931"/>
            <a:ext cx="8504512" cy="1921388"/>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4400"/>
              <a:buFont typeface="Inter ExtraBold"/>
              <a:buNone/>
              <a:defRPr sz="357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28"/>
          <p:cNvSpPr/>
          <p:nvPr/>
        </p:nvSpPr>
        <p:spPr>
          <a:xfrm>
            <a:off x="6157127" y="2852938"/>
            <a:ext cx="4412498" cy="5430767"/>
          </a:xfrm>
          <a:prstGeom prst="ellipse">
            <a:avLst/>
          </a:prstGeom>
          <a:solidFill>
            <a:srgbClr val="00254B">
              <a:alpha val="8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pic>
        <p:nvPicPr>
          <p:cNvPr id="88" name="Google Shape;88;p28"/>
          <p:cNvPicPr preferRelativeResize="0"/>
          <p:nvPr/>
        </p:nvPicPr>
        <p:blipFill rotWithShape="1">
          <a:blip r:embed="rId3">
            <a:alphaModFix/>
          </a:blip>
          <a:srcRect l="33606" t="42685" r="18308" b="24374"/>
          <a:stretch/>
        </p:blipFill>
        <p:spPr>
          <a:xfrm>
            <a:off x="7393822" y="4593490"/>
            <a:ext cx="1873195" cy="1381831"/>
          </a:xfrm>
          <a:prstGeom prst="rect">
            <a:avLst/>
          </a:prstGeom>
          <a:noFill/>
          <a:ln>
            <a:noFill/>
          </a:ln>
        </p:spPr>
      </p:pic>
      <p:sp>
        <p:nvSpPr>
          <p:cNvPr id="89" name="Google Shape;89;p28"/>
          <p:cNvSpPr txBox="1">
            <a:spLocks noGrp="1"/>
          </p:cNvSpPr>
          <p:nvPr>
            <p:ph type="subTitle" idx="1"/>
          </p:nvPr>
        </p:nvSpPr>
        <p:spPr>
          <a:xfrm>
            <a:off x="720450" y="2852936"/>
            <a:ext cx="8504512" cy="1296144"/>
          </a:xfrm>
          <a:prstGeom prst="rect">
            <a:avLst/>
          </a:prstGeom>
          <a:noFill/>
          <a:ln>
            <a:noFill/>
          </a:ln>
        </p:spPr>
        <p:txBody>
          <a:bodyPr spcFirstLastPara="1" wrap="square" lIns="0" tIns="0" rIns="0" bIns="0" anchor="t" anchorCtr="0">
            <a:noAutofit/>
          </a:bodyPr>
          <a:lstStyle>
            <a:lvl1pPr lvl="0" algn="l">
              <a:lnSpc>
                <a:spcPct val="100000"/>
              </a:lnSpc>
              <a:spcBef>
                <a:spcPts val="812"/>
              </a:spcBef>
              <a:spcAft>
                <a:spcPts val="0"/>
              </a:spcAft>
              <a:buClr>
                <a:schemeClr val="lt1"/>
              </a:buClr>
              <a:buSzPts val="2400"/>
              <a:buNone/>
              <a:defRPr sz="1950">
                <a:solidFill>
                  <a:schemeClr val="lt1"/>
                </a:solidFill>
                <a:latin typeface="Inter"/>
                <a:ea typeface="Inter"/>
                <a:cs typeface="Inter"/>
                <a:sym typeface="Inter"/>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pic>
        <p:nvPicPr>
          <p:cNvPr id="90" name="Google Shape;90;p28"/>
          <p:cNvPicPr preferRelativeResize="0"/>
          <p:nvPr/>
        </p:nvPicPr>
        <p:blipFill rotWithShape="1">
          <a:blip r:embed="rId4">
            <a:alphaModFix/>
          </a:blip>
          <a:srcRect/>
          <a:stretch/>
        </p:blipFill>
        <p:spPr>
          <a:xfrm>
            <a:off x="720449" y="5129055"/>
            <a:ext cx="292500" cy="360000"/>
          </a:xfrm>
          <a:prstGeom prst="rect">
            <a:avLst/>
          </a:prstGeom>
          <a:noFill/>
          <a:ln>
            <a:noFill/>
          </a:ln>
        </p:spPr>
      </p:pic>
      <p:pic>
        <p:nvPicPr>
          <p:cNvPr id="91" name="Google Shape;91;p28"/>
          <p:cNvPicPr preferRelativeResize="0"/>
          <p:nvPr/>
        </p:nvPicPr>
        <p:blipFill rotWithShape="1">
          <a:blip r:embed="rId5">
            <a:alphaModFix/>
          </a:blip>
          <a:srcRect/>
          <a:stretch/>
        </p:blipFill>
        <p:spPr>
          <a:xfrm>
            <a:off x="720449" y="5617416"/>
            <a:ext cx="292500" cy="360000"/>
          </a:xfrm>
          <a:prstGeom prst="rect">
            <a:avLst/>
          </a:prstGeom>
          <a:noFill/>
          <a:ln>
            <a:noFill/>
          </a:ln>
        </p:spPr>
      </p:pic>
      <p:sp>
        <p:nvSpPr>
          <p:cNvPr id="92" name="Google Shape;92;p28"/>
          <p:cNvSpPr txBox="1">
            <a:spLocks noGrp="1"/>
          </p:cNvSpPr>
          <p:nvPr>
            <p:ph type="body" idx="2"/>
          </p:nvPr>
        </p:nvSpPr>
        <p:spPr>
          <a:xfrm>
            <a:off x="1150078" y="508518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93" name="Google Shape;93;p28"/>
          <p:cNvSpPr txBox="1">
            <a:spLocks noGrp="1"/>
          </p:cNvSpPr>
          <p:nvPr>
            <p:ph type="body" idx="3"/>
          </p:nvPr>
        </p:nvSpPr>
        <p:spPr>
          <a:xfrm>
            <a:off x="1150078" y="557354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384293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1e_Úvod_chudoba">
  <p:cSld name="1e_Úvod_chudoba">
    <p:spTree>
      <p:nvGrpSpPr>
        <p:cNvPr id="1" name="Shape 94"/>
        <p:cNvGrpSpPr/>
        <p:nvPr/>
      </p:nvGrpSpPr>
      <p:grpSpPr>
        <a:xfrm>
          <a:off x="0" y="0"/>
          <a:ext cx="0" cy="0"/>
          <a:chOff x="0" y="0"/>
          <a:chExt cx="0" cy="0"/>
        </a:xfrm>
      </p:grpSpPr>
      <p:pic>
        <p:nvPicPr>
          <p:cNvPr id="95" name="Google Shape;95;p29" descr="Základová fotografie zdarma na téma český, drobné, mince"/>
          <p:cNvPicPr preferRelativeResize="0"/>
          <p:nvPr/>
        </p:nvPicPr>
        <p:blipFill rotWithShape="1">
          <a:blip r:embed="rId2">
            <a:alphaModFix/>
          </a:blip>
          <a:srcRect t="5652" b="9973"/>
          <a:stretch/>
        </p:blipFill>
        <p:spPr>
          <a:xfrm>
            <a:off x="0" y="0"/>
            <a:ext cx="9906000" cy="6858000"/>
          </a:xfrm>
          <a:prstGeom prst="rect">
            <a:avLst/>
          </a:prstGeom>
          <a:noFill/>
          <a:ln>
            <a:noFill/>
          </a:ln>
        </p:spPr>
      </p:pic>
      <p:sp>
        <p:nvSpPr>
          <p:cNvPr id="96" name="Google Shape;96;p29"/>
          <p:cNvSpPr/>
          <p:nvPr/>
        </p:nvSpPr>
        <p:spPr>
          <a:xfrm>
            <a:off x="1384104" y="-132314"/>
            <a:ext cx="10021501" cy="7122627"/>
          </a:xfrm>
          <a:prstGeom prst="rect">
            <a:avLst/>
          </a:prstGeom>
          <a:solidFill>
            <a:srgbClr val="001329">
              <a:alpha val="69803"/>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rgbClr val="7F7F7F"/>
              </a:solidFill>
              <a:latin typeface="Fira Sans"/>
              <a:ea typeface="Fira Sans"/>
              <a:cs typeface="Fira Sans"/>
              <a:sym typeface="Fira Sans"/>
            </a:endParaRPr>
          </a:p>
        </p:txBody>
      </p:sp>
      <p:sp>
        <p:nvSpPr>
          <p:cNvPr id="97" name="Google Shape;97;p29"/>
          <p:cNvSpPr txBox="1">
            <a:spLocks noGrp="1"/>
          </p:cNvSpPr>
          <p:nvPr>
            <p:ph type="ctrTitle"/>
          </p:nvPr>
        </p:nvSpPr>
        <p:spPr>
          <a:xfrm>
            <a:off x="720450" y="890931"/>
            <a:ext cx="8504512" cy="1921388"/>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4400"/>
              <a:buFont typeface="Inter ExtraBold"/>
              <a:buNone/>
              <a:defRPr sz="357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 name="Google Shape;98;p29"/>
          <p:cNvSpPr/>
          <p:nvPr/>
        </p:nvSpPr>
        <p:spPr>
          <a:xfrm>
            <a:off x="6157127" y="2852938"/>
            <a:ext cx="4412498" cy="5430767"/>
          </a:xfrm>
          <a:prstGeom prst="ellipse">
            <a:avLst/>
          </a:prstGeom>
          <a:solidFill>
            <a:srgbClr val="00254B">
              <a:alpha val="8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pic>
        <p:nvPicPr>
          <p:cNvPr id="99" name="Google Shape;99;p29"/>
          <p:cNvPicPr preferRelativeResize="0"/>
          <p:nvPr/>
        </p:nvPicPr>
        <p:blipFill rotWithShape="1">
          <a:blip r:embed="rId3">
            <a:alphaModFix/>
          </a:blip>
          <a:srcRect l="33606" t="42685" r="18308" b="24374"/>
          <a:stretch/>
        </p:blipFill>
        <p:spPr>
          <a:xfrm>
            <a:off x="7393822" y="4593490"/>
            <a:ext cx="1873195" cy="1381831"/>
          </a:xfrm>
          <a:prstGeom prst="rect">
            <a:avLst/>
          </a:prstGeom>
          <a:noFill/>
          <a:ln>
            <a:noFill/>
          </a:ln>
        </p:spPr>
      </p:pic>
      <p:sp>
        <p:nvSpPr>
          <p:cNvPr id="100" name="Google Shape;100;p29"/>
          <p:cNvSpPr txBox="1">
            <a:spLocks noGrp="1"/>
          </p:cNvSpPr>
          <p:nvPr>
            <p:ph type="subTitle" idx="1"/>
          </p:nvPr>
        </p:nvSpPr>
        <p:spPr>
          <a:xfrm>
            <a:off x="720450" y="2852936"/>
            <a:ext cx="8504512" cy="1296144"/>
          </a:xfrm>
          <a:prstGeom prst="rect">
            <a:avLst/>
          </a:prstGeom>
          <a:noFill/>
          <a:ln>
            <a:noFill/>
          </a:ln>
        </p:spPr>
        <p:txBody>
          <a:bodyPr spcFirstLastPara="1" wrap="square" lIns="0" tIns="0" rIns="0" bIns="0" anchor="t" anchorCtr="0">
            <a:noAutofit/>
          </a:bodyPr>
          <a:lstStyle>
            <a:lvl1pPr lvl="0" algn="l">
              <a:lnSpc>
                <a:spcPct val="100000"/>
              </a:lnSpc>
              <a:spcBef>
                <a:spcPts val="812"/>
              </a:spcBef>
              <a:spcAft>
                <a:spcPts val="0"/>
              </a:spcAft>
              <a:buClr>
                <a:schemeClr val="lt1"/>
              </a:buClr>
              <a:buSzPts val="2400"/>
              <a:buNone/>
              <a:defRPr sz="1950">
                <a:solidFill>
                  <a:schemeClr val="lt1"/>
                </a:solidFill>
                <a:latin typeface="Inter"/>
                <a:ea typeface="Inter"/>
                <a:cs typeface="Inter"/>
                <a:sym typeface="Inter"/>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pic>
        <p:nvPicPr>
          <p:cNvPr id="101" name="Google Shape;101;p29"/>
          <p:cNvPicPr preferRelativeResize="0"/>
          <p:nvPr/>
        </p:nvPicPr>
        <p:blipFill rotWithShape="1">
          <a:blip r:embed="rId4">
            <a:alphaModFix/>
          </a:blip>
          <a:srcRect/>
          <a:stretch/>
        </p:blipFill>
        <p:spPr>
          <a:xfrm>
            <a:off x="720449" y="5129055"/>
            <a:ext cx="292500" cy="360000"/>
          </a:xfrm>
          <a:prstGeom prst="rect">
            <a:avLst/>
          </a:prstGeom>
          <a:noFill/>
          <a:ln>
            <a:noFill/>
          </a:ln>
        </p:spPr>
      </p:pic>
      <p:pic>
        <p:nvPicPr>
          <p:cNvPr id="102" name="Google Shape;102;p29"/>
          <p:cNvPicPr preferRelativeResize="0"/>
          <p:nvPr/>
        </p:nvPicPr>
        <p:blipFill rotWithShape="1">
          <a:blip r:embed="rId5">
            <a:alphaModFix/>
          </a:blip>
          <a:srcRect/>
          <a:stretch/>
        </p:blipFill>
        <p:spPr>
          <a:xfrm>
            <a:off x="720449" y="5617416"/>
            <a:ext cx="292500" cy="360000"/>
          </a:xfrm>
          <a:prstGeom prst="rect">
            <a:avLst/>
          </a:prstGeom>
          <a:noFill/>
          <a:ln>
            <a:noFill/>
          </a:ln>
        </p:spPr>
      </p:pic>
      <p:sp>
        <p:nvSpPr>
          <p:cNvPr id="103" name="Google Shape;103;p29"/>
          <p:cNvSpPr txBox="1">
            <a:spLocks noGrp="1"/>
          </p:cNvSpPr>
          <p:nvPr>
            <p:ph type="body" idx="2"/>
          </p:nvPr>
        </p:nvSpPr>
        <p:spPr>
          <a:xfrm>
            <a:off x="1150078" y="508518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04" name="Google Shape;104;p29"/>
          <p:cNvSpPr txBox="1">
            <a:spLocks noGrp="1"/>
          </p:cNvSpPr>
          <p:nvPr>
            <p:ph type="body" idx="3"/>
          </p:nvPr>
        </p:nvSpPr>
        <p:spPr>
          <a:xfrm>
            <a:off x="1150078" y="557354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34257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ávěrečný slide">
    <p:spTree>
      <p:nvGrpSpPr>
        <p:cNvPr id="1" name=""/>
        <p:cNvGrpSpPr/>
        <p:nvPr/>
      </p:nvGrpSpPr>
      <p:grpSpPr>
        <a:xfrm>
          <a:off x="0" y="0"/>
          <a:ext cx="0" cy="0"/>
          <a:chOff x="0" y="0"/>
          <a:chExt cx="0" cy="0"/>
        </a:xfrm>
      </p:grpSpPr>
      <p:sp>
        <p:nvSpPr>
          <p:cNvPr id="3" name="Podnadpis 2"/>
          <p:cNvSpPr>
            <a:spLocks noGrp="1"/>
          </p:cNvSpPr>
          <p:nvPr>
            <p:ph type="subTitle" idx="1" hasCustomPrompt="1"/>
          </p:nvPr>
        </p:nvSpPr>
        <p:spPr>
          <a:xfrm>
            <a:off x="1500667" y="4694959"/>
            <a:ext cx="6904666" cy="984636"/>
          </a:xfrm>
          <a:prstGeom prst="rect">
            <a:avLst/>
          </a:prstGeom>
        </p:spPr>
        <p:txBody>
          <a:bodyPr lIns="90000">
            <a:normAutofit/>
          </a:bodyPr>
          <a:lstStyle>
            <a:lvl1pPr marL="0" indent="0" algn="ctr">
              <a:buNone/>
              <a:defRPr sz="2275" baseline="0">
                <a:solidFill>
                  <a:srgbClr val="034EA2"/>
                </a:solidFill>
              </a:defRPr>
            </a:lvl1pPr>
            <a:lvl2pPr marL="499547" indent="0" algn="ctr">
              <a:buNone/>
              <a:defRPr>
                <a:solidFill>
                  <a:schemeClr val="tx1">
                    <a:tint val="75000"/>
                  </a:schemeClr>
                </a:solidFill>
              </a:defRPr>
            </a:lvl2pPr>
            <a:lvl3pPr marL="999093" indent="0" algn="ctr">
              <a:buNone/>
              <a:defRPr>
                <a:solidFill>
                  <a:schemeClr val="tx1">
                    <a:tint val="75000"/>
                  </a:schemeClr>
                </a:solidFill>
              </a:defRPr>
            </a:lvl3pPr>
            <a:lvl4pPr marL="1498640" indent="0" algn="ctr">
              <a:buNone/>
              <a:defRPr>
                <a:solidFill>
                  <a:schemeClr val="tx1">
                    <a:tint val="75000"/>
                  </a:schemeClr>
                </a:solidFill>
              </a:defRPr>
            </a:lvl4pPr>
            <a:lvl5pPr marL="1998187" indent="0" algn="ctr">
              <a:buNone/>
              <a:defRPr>
                <a:solidFill>
                  <a:schemeClr val="tx1">
                    <a:tint val="75000"/>
                  </a:schemeClr>
                </a:solidFill>
              </a:defRPr>
            </a:lvl5pPr>
            <a:lvl6pPr marL="2497734" indent="0" algn="ctr">
              <a:buNone/>
              <a:defRPr>
                <a:solidFill>
                  <a:schemeClr val="tx1">
                    <a:tint val="75000"/>
                  </a:schemeClr>
                </a:solidFill>
              </a:defRPr>
            </a:lvl6pPr>
            <a:lvl7pPr marL="2997281" indent="0" algn="ctr">
              <a:buNone/>
              <a:defRPr>
                <a:solidFill>
                  <a:schemeClr val="tx1">
                    <a:tint val="75000"/>
                  </a:schemeClr>
                </a:solidFill>
              </a:defRPr>
            </a:lvl7pPr>
            <a:lvl8pPr marL="3496827" indent="0" algn="ctr">
              <a:buNone/>
              <a:defRPr>
                <a:solidFill>
                  <a:schemeClr val="tx1">
                    <a:tint val="75000"/>
                  </a:schemeClr>
                </a:solidFill>
              </a:defRPr>
            </a:lvl8pPr>
            <a:lvl9pPr marL="3996374" indent="0" algn="ctr">
              <a:buNone/>
              <a:defRPr>
                <a:solidFill>
                  <a:schemeClr val="tx1">
                    <a:tint val="75000"/>
                  </a:schemeClr>
                </a:solidFill>
              </a:defRPr>
            </a:lvl9pPr>
          </a:lstStyle>
          <a:p>
            <a:r>
              <a:rPr lang="cs-CZ"/>
              <a:t>Jméno autora/autorů a kontakt</a:t>
            </a:r>
          </a:p>
        </p:txBody>
      </p:sp>
      <p:sp>
        <p:nvSpPr>
          <p:cNvPr id="19" name="Nadpis 18"/>
          <p:cNvSpPr>
            <a:spLocks noGrp="1"/>
          </p:cNvSpPr>
          <p:nvPr>
            <p:ph type="title" hasCustomPrompt="1"/>
          </p:nvPr>
        </p:nvSpPr>
        <p:spPr>
          <a:xfrm>
            <a:off x="856568" y="2724284"/>
            <a:ext cx="8192420" cy="1197034"/>
          </a:xfrm>
          <a:prstGeom prst="rect">
            <a:avLst/>
          </a:prstGeom>
        </p:spPr>
        <p:txBody>
          <a:bodyPr lIns="90000">
            <a:normAutofit/>
          </a:bodyPr>
          <a:lstStyle>
            <a:lvl1pPr algn="ctr">
              <a:defRPr sz="4388" b="0" baseline="0">
                <a:solidFill>
                  <a:srgbClr val="034EA2"/>
                </a:solidFill>
              </a:defRPr>
            </a:lvl1pPr>
          </a:lstStyle>
          <a:p>
            <a:r>
              <a:rPr lang="cs-CZ"/>
              <a:t>Rozloučení</a:t>
            </a:r>
          </a:p>
        </p:txBody>
      </p:sp>
      <p:pic>
        <p:nvPicPr>
          <p:cNvPr id="9" name="Obrázek 8" descr="roh-01.png"/>
          <p:cNvPicPr>
            <a:picLocks noChangeAspect="1"/>
          </p:cNvPicPr>
          <p:nvPr userDrawn="1"/>
        </p:nvPicPr>
        <p:blipFill>
          <a:blip r:embed="rId2" cstate="print"/>
          <a:stretch>
            <a:fillRect/>
          </a:stretch>
        </p:blipFill>
        <p:spPr>
          <a:xfrm>
            <a:off x="6175429" y="0"/>
            <a:ext cx="3730572" cy="4483966"/>
          </a:xfrm>
          <a:prstGeom prst="rect">
            <a:avLst/>
          </a:prstGeom>
        </p:spPr>
      </p:pic>
      <p:pic>
        <p:nvPicPr>
          <p:cNvPr id="10" name="Obrázek 9" descr="OPTP_CZ_RO_B_C-RGB.png"/>
          <p:cNvPicPr>
            <a:picLocks noChangeAspect="1"/>
          </p:cNvPicPr>
          <p:nvPr userDrawn="1"/>
        </p:nvPicPr>
        <p:blipFill>
          <a:blip r:embed="rId3" cstate="print"/>
          <a:stretch>
            <a:fillRect/>
          </a:stretch>
        </p:blipFill>
        <p:spPr>
          <a:xfrm>
            <a:off x="3139064" y="5820262"/>
            <a:ext cx="3627875" cy="752473"/>
          </a:xfrm>
          <a:prstGeom prst="rect">
            <a:avLst/>
          </a:prstGeom>
        </p:spPr>
      </p:pic>
      <p:pic>
        <p:nvPicPr>
          <p:cNvPr id="2" name="Obrázek 2">
            <a:extLst>
              <a:ext uri="{FF2B5EF4-FFF2-40B4-BE49-F238E27FC236}">
                <a16:creationId xmlns:a16="http://schemas.microsoft.com/office/drawing/2014/main" id="{5C5E04D1-C66C-E029-3CDA-4381B42F1EA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985081" y="5935284"/>
            <a:ext cx="3935394" cy="637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1f_Úvod_pandemie">
  <p:cSld name="1f_Úvod_pandemie">
    <p:spTree>
      <p:nvGrpSpPr>
        <p:cNvPr id="1" name="Shape 105"/>
        <p:cNvGrpSpPr/>
        <p:nvPr/>
      </p:nvGrpSpPr>
      <p:grpSpPr>
        <a:xfrm>
          <a:off x="0" y="0"/>
          <a:ext cx="0" cy="0"/>
          <a:chOff x="0" y="0"/>
          <a:chExt cx="0" cy="0"/>
        </a:xfrm>
      </p:grpSpPr>
      <p:pic>
        <p:nvPicPr>
          <p:cNvPr id="106" name="Google Shape;106;p30" descr="white textile on brown wooden table"/>
          <p:cNvPicPr preferRelativeResize="0"/>
          <p:nvPr/>
        </p:nvPicPr>
        <p:blipFill rotWithShape="1">
          <a:blip r:embed="rId2">
            <a:alphaModFix/>
          </a:blip>
          <a:srcRect t="37502" b="25440"/>
          <a:stretch/>
        </p:blipFill>
        <p:spPr>
          <a:xfrm>
            <a:off x="-66018" y="0"/>
            <a:ext cx="10038036" cy="6858000"/>
          </a:xfrm>
          <a:prstGeom prst="rect">
            <a:avLst/>
          </a:prstGeom>
          <a:noFill/>
          <a:ln>
            <a:noFill/>
          </a:ln>
        </p:spPr>
      </p:pic>
      <p:sp>
        <p:nvSpPr>
          <p:cNvPr id="107" name="Google Shape;107;p30"/>
          <p:cNvSpPr/>
          <p:nvPr/>
        </p:nvSpPr>
        <p:spPr>
          <a:xfrm>
            <a:off x="-57749" y="-132314"/>
            <a:ext cx="10021501" cy="7122627"/>
          </a:xfrm>
          <a:prstGeom prst="rect">
            <a:avLst/>
          </a:prstGeom>
          <a:solidFill>
            <a:srgbClr val="001329">
              <a:alpha val="69803"/>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rgbClr val="7F7F7F"/>
              </a:solidFill>
              <a:latin typeface="Fira Sans"/>
              <a:ea typeface="Fira Sans"/>
              <a:cs typeface="Fira Sans"/>
              <a:sym typeface="Fira Sans"/>
            </a:endParaRPr>
          </a:p>
        </p:txBody>
      </p:sp>
      <p:sp>
        <p:nvSpPr>
          <p:cNvPr id="108" name="Google Shape;108;p30"/>
          <p:cNvSpPr txBox="1">
            <a:spLocks noGrp="1"/>
          </p:cNvSpPr>
          <p:nvPr>
            <p:ph type="ctrTitle"/>
          </p:nvPr>
        </p:nvSpPr>
        <p:spPr>
          <a:xfrm>
            <a:off x="720450" y="890931"/>
            <a:ext cx="8504512" cy="1921388"/>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4400"/>
              <a:buFont typeface="Inter ExtraBold"/>
              <a:buNone/>
              <a:defRPr sz="357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 name="Google Shape;109;p30"/>
          <p:cNvSpPr/>
          <p:nvPr/>
        </p:nvSpPr>
        <p:spPr>
          <a:xfrm>
            <a:off x="6157127" y="2852938"/>
            <a:ext cx="4412498" cy="5430767"/>
          </a:xfrm>
          <a:prstGeom prst="ellipse">
            <a:avLst/>
          </a:prstGeom>
          <a:solidFill>
            <a:srgbClr val="00254B">
              <a:alpha val="8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pic>
        <p:nvPicPr>
          <p:cNvPr id="110" name="Google Shape;110;p30"/>
          <p:cNvPicPr preferRelativeResize="0"/>
          <p:nvPr/>
        </p:nvPicPr>
        <p:blipFill rotWithShape="1">
          <a:blip r:embed="rId3">
            <a:alphaModFix/>
          </a:blip>
          <a:srcRect l="33606" t="42685" r="18308" b="24374"/>
          <a:stretch/>
        </p:blipFill>
        <p:spPr>
          <a:xfrm>
            <a:off x="7393822" y="4593490"/>
            <a:ext cx="1873195" cy="1381831"/>
          </a:xfrm>
          <a:prstGeom prst="rect">
            <a:avLst/>
          </a:prstGeom>
          <a:noFill/>
          <a:ln>
            <a:noFill/>
          </a:ln>
        </p:spPr>
      </p:pic>
      <p:sp>
        <p:nvSpPr>
          <p:cNvPr id="111" name="Google Shape;111;p30"/>
          <p:cNvSpPr txBox="1">
            <a:spLocks noGrp="1"/>
          </p:cNvSpPr>
          <p:nvPr>
            <p:ph type="subTitle" idx="1"/>
          </p:nvPr>
        </p:nvSpPr>
        <p:spPr>
          <a:xfrm>
            <a:off x="720450" y="2852936"/>
            <a:ext cx="8504512" cy="1296144"/>
          </a:xfrm>
          <a:prstGeom prst="rect">
            <a:avLst/>
          </a:prstGeom>
          <a:noFill/>
          <a:ln>
            <a:noFill/>
          </a:ln>
        </p:spPr>
        <p:txBody>
          <a:bodyPr spcFirstLastPara="1" wrap="square" lIns="0" tIns="0" rIns="0" bIns="0" anchor="t" anchorCtr="0">
            <a:noAutofit/>
          </a:bodyPr>
          <a:lstStyle>
            <a:lvl1pPr lvl="0" algn="l">
              <a:lnSpc>
                <a:spcPct val="100000"/>
              </a:lnSpc>
              <a:spcBef>
                <a:spcPts val="812"/>
              </a:spcBef>
              <a:spcAft>
                <a:spcPts val="0"/>
              </a:spcAft>
              <a:buClr>
                <a:schemeClr val="lt1"/>
              </a:buClr>
              <a:buSzPts val="2400"/>
              <a:buNone/>
              <a:defRPr sz="1950">
                <a:solidFill>
                  <a:schemeClr val="lt1"/>
                </a:solidFill>
                <a:latin typeface="Inter"/>
                <a:ea typeface="Inter"/>
                <a:cs typeface="Inter"/>
                <a:sym typeface="Inter"/>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pic>
        <p:nvPicPr>
          <p:cNvPr id="112" name="Google Shape;112;p30"/>
          <p:cNvPicPr preferRelativeResize="0"/>
          <p:nvPr/>
        </p:nvPicPr>
        <p:blipFill rotWithShape="1">
          <a:blip r:embed="rId4">
            <a:alphaModFix/>
          </a:blip>
          <a:srcRect/>
          <a:stretch/>
        </p:blipFill>
        <p:spPr>
          <a:xfrm>
            <a:off x="720449" y="5129055"/>
            <a:ext cx="292500" cy="360000"/>
          </a:xfrm>
          <a:prstGeom prst="rect">
            <a:avLst/>
          </a:prstGeom>
          <a:noFill/>
          <a:ln>
            <a:noFill/>
          </a:ln>
        </p:spPr>
      </p:pic>
      <p:pic>
        <p:nvPicPr>
          <p:cNvPr id="113" name="Google Shape;113;p30"/>
          <p:cNvPicPr preferRelativeResize="0"/>
          <p:nvPr/>
        </p:nvPicPr>
        <p:blipFill rotWithShape="1">
          <a:blip r:embed="rId5">
            <a:alphaModFix/>
          </a:blip>
          <a:srcRect/>
          <a:stretch/>
        </p:blipFill>
        <p:spPr>
          <a:xfrm>
            <a:off x="720449" y="5617416"/>
            <a:ext cx="292500" cy="360000"/>
          </a:xfrm>
          <a:prstGeom prst="rect">
            <a:avLst/>
          </a:prstGeom>
          <a:noFill/>
          <a:ln>
            <a:noFill/>
          </a:ln>
        </p:spPr>
      </p:pic>
      <p:sp>
        <p:nvSpPr>
          <p:cNvPr id="114" name="Google Shape;114;p30"/>
          <p:cNvSpPr txBox="1">
            <a:spLocks noGrp="1"/>
          </p:cNvSpPr>
          <p:nvPr>
            <p:ph type="body" idx="2"/>
          </p:nvPr>
        </p:nvSpPr>
        <p:spPr>
          <a:xfrm>
            <a:off x="1150078" y="508518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15" name="Google Shape;115;p30"/>
          <p:cNvSpPr txBox="1">
            <a:spLocks noGrp="1"/>
          </p:cNvSpPr>
          <p:nvPr>
            <p:ph type="body" idx="3"/>
          </p:nvPr>
        </p:nvSpPr>
        <p:spPr>
          <a:xfrm>
            <a:off x="1150078" y="557354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53415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1_Úvodní snímek">
  <p:cSld name="1_Úvodní snímek">
    <p:spTree>
      <p:nvGrpSpPr>
        <p:cNvPr id="1" name="Shape 116"/>
        <p:cNvGrpSpPr/>
        <p:nvPr/>
      </p:nvGrpSpPr>
      <p:grpSpPr>
        <a:xfrm>
          <a:off x="0" y="0"/>
          <a:ext cx="0" cy="0"/>
          <a:chOff x="0" y="0"/>
          <a:chExt cx="0" cy="0"/>
        </a:xfrm>
      </p:grpSpPr>
      <p:sp>
        <p:nvSpPr>
          <p:cNvPr id="117" name="Google Shape;117;p31"/>
          <p:cNvSpPr txBox="1">
            <a:spLocks noGrp="1"/>
          </p:cNvSpPr>
          <p:nvPr>
            <p:ph type="ctrTitle"/>
          </p:nvPr>
        </p:nvSpPr>
        <p:spPr>
          <a:xfrm>
            <a:off x="720450" y="890931"/>
            <a:ext cx="8504512" cy="1921388"/>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rgbClr val="00254B"/>
              </a:buClr>
              <a:buSzPts val="4400"/>
              <a:buFont typeface="Inter ExtraBold"/>
              <a:buNone/>
              <a:defRPr sz="3575">
                <a:solidFill>
                  <a:srgbClr val="00254B"/>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 name="Google Shape;118;p31"/>
          <p:cNvSpPr txBox="1">
            <a:spLocks noGrp="1"/>
          </p:cNvSpPr>
          <p:nvPr>
            <p:ph type="subTitle" idx="1"/>
          </p:nvPr>
        </p:nvSpPr>
        <p:spPr>
          <a:xfrm>
            <a:off x="720450" y="2852936"/>
            <a:ext cx="8504512" cy="1296144"/>
          </a:xfrm>
          <a:prstGeom prst="rect">
            <a:avLst/>
          </a:prstGeom>
          <a:noFill/>
          <a:ln>
            <a:noFill/>
          </a:ln>
        </p:spPr>
        <p:txBody>
          <a:bodyPr spcFirstLastPara="1" wrap="square" lIns="0" tIns="0" rIns="0" bIns="0" anchor="b" anchorCtr="0">
            <a:noAutofit/>
          </a:bodyPr>
          <a:lstStyle>
            <a:lvl1pPr lvl="0" algn="l">
              <a:lnSpc>
                <a:spcPct val="100000"/>
              </a:lnSpc>
              <a:spcBef>
                <a:spcPts val="812"/>
              </a:spcBef>
              <a:spcAft>
                <a:spcPts val="0"/>
              </a:spcAft>
              <a:buClr>
                <a:srgbClr val="00254B"/>
              </a:buClr>
              <a:buSzPts val="2400"/>
              <a:buNone/>
              <a:defRPr sz="1950">
                <a:solidFill>
                  <a:srgbClr val="00254B"/>
                </a:solidFill>
                <a:latin typeface="Inter"/>
                <a:ea typeface="Inter"/>
                <a:cs typeface="Inter"/>
                <a:sym typeface="Inter"/>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pic>
        <p:nvPicPr>
          <p:cNvPr id="119" name="Google Shape;119;p31"/>
          <p:cNvPicPr preferRelativeResize="0"/>
          <p:nvPr/>
        </p:nvPicPr>
        <p:blipFill rotWithShape="1">
          <a:blip r:embed="rId2">
            <a:alphaModFix/>
          </a:blip>
          <a:srcRect/>
          <a:stretch/>
        </p:blipFill>
        <p:spPr>
          <a:xfrm>
            <a:off x="720449" y="5129055"/>
            <a:ext cx="292500" cy="360000"/>
          </a:xfrm>
          <a:prstGeom prst="rect">
            <a:avLst/>
          </a:prstGeom>
          <a:noFill/>
          <a:ln>
            <a:noFill/>
          </a:ln>
        </p:spPr>
      </p:pic>
      <p:pic>
        <p:nvPicPr>
          <p:cNvPr id="120" name="Google Shape;120;p31"/>
          <p:cNvPicPr preferRelativeResize="0"/>
          <p:nvPr/>
        </p:nvPicPr>
        <p:blipFill rotWithShape="1">
          <a:blip r:embed="rId3">
            <a:alphaModFix/>
          </a:blip>
          <a:srcRect/>
          <a:stretch/>
        </p:blipFill>
        <p:spPr>
          <a:xfrm>
            <a:off x="720449" y="5617416"/>
            <a:ext cx="292500" cy="360000"/>
          </a:xfrm>
          <a:prstGeom prst="rect">
            <a:avLst/>
          </a:prstGeom>
          <a:noFill/>
          <a:ln>
            <a:noFill/>
          </a:ln>
        </p:spPr>
      </p:pic>
      <p:sp>
        <p:nvSpPr>
          <p:cNvPr id="121" name="Google Shape;121;p31"/>
          <p:cNvSpPr/>
          <p:nvPr/>
        </p:nvSpPr>
        <p:spPr>
          <a:xfrm>
            <a:off x="6157127" y="2852938"/>
            <a:ext cx="4412498" cy="5430767"/>
          </a:xfrm>
          <a:prstGeom prst="ellipse">
            <a:avLst/>
          </a:prstGeom>
          <a:solidFill>
            <a:srgbClr val="00254B"/>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sp>
        <p:nvSpPr>
          <p:cNvPr id="122" name="Google Shape;122;p31"/>
          <p:cNvSpPr txBox="1">
            <a:spLocks noGrp="1"/>
          </p:cNvSpPr>
          <p:nvPr>
            <p:ph type="body" idx="2"/>
          </p:nvPr>
        </p:nvSpPr>
        <p:spPr>
          <a:xfrm>
            <a:off x="1150078" y="508518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7F7F7F"/>
              </a:buClr>
              <a:buSzPts val="1600"/>
              <a:buNone/>
              <a:defRPr sz="1300">
                <a:solidFill>
                  <a:srgbClr val="7F7F7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23" name="Google Shape;123;p31"/>
          <p:cNvSpPr txBox="1">
            <a:spLocks noGrp="1"/>
          </p:cNvSpPr>
          <p:nvPr>
            <p:ph type="body" idx="3"/>
          </p:nvPr>
        </p:nvSpPr>
        <p:spPr>
          <a:xfrm>
            <a:off x="1150078" y="557354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7F7F7F"/>
              </a:buClr>
              <a:buSzPts val="1600"/>
              <a:buNone/>
              <a:defRPr sz="1300">
                <a:solidFill>
                  <a:srgbClr val="7F7F7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pic>
        <p:nvPicPr>
          <p:cNvPr id="124" name="Google Shape;124;p31"/>
          <p:cNvPicPr preferRelativeResize="0"/>
          <p:nvPr/>
        </p:nvPicPr>
        <p:blipFill rotWithShape="1">
          <a:blip r:embed="rId4">
            <a:alphaModFix/>
          </a:blip>
          <a:srcRect l="33606" t="42685" r="18308" b="24374"/>
          <a:stretch/>
        </p:blipFill>
        <p:spPr>
          <a:xfrm>
            <a:off x="7393822" y="4593490"/>
            <a:ext cx="1873195" cy="1381831"/>
          </a:xfrm>
          <a:prstGeom prst="rect">
            <a:avLst/>
          </a:prstGeom>
          <a:noFill/>
          <a:ln>
            <a:noFill/>
          </a:ln>
        </p:spPr>
      </p:pic>
    </p:spTree>
    <p:extLst>
      <p:ext uri="{BB962C8B-B14F-4D97-AF65-F5344CB8AC3E}">
        <p14:creationId xmlns:p14="http://schemas.microsoft.com/office/powerpoint/2010/main" val="41327764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1_Úvodní snímek_2">
  <p:cSld name="1_Úvodní snímek_2">
    <p:spTree>
      <p:nvGrpSpPr>
        <p:cNvPr id="1" name="Shape 125"/>
        <p:cNvGrpSpPr/>
        <p:nvPr/>
      </p:nvGrpSpPr>
      <p:grpSpPr>
        <a:xfrm>
          <a:off x="0" y="0"/>
          <a:ext cx="0" cy="0"/>
          <a:chOff x="0" y="0"/>
          <a:chExt cx="0" cy="0"/>
        </a:xfrm>
      </p:grpSpPr>
      <p:pic>
        <p:nvPicPr>
          <p:cNvPr id="126" name="Google Shape;126;p32"/>
          <p:cNvPicPr preferRelativeResize="0"/>
          <p:nvPr/>
        </p:nvPicPr>
        <p:blipFill rotWithShape="1">
          <a:blip r:embed="rId2">
            <a:alphaModFix/>
          </a:blip>
          <a:srcRect/>
          <a:stretch/>
        </p:blipFill>
        <p:spPr>
          <a:xfrm>
            <a:off x="0" y="9525"/>
            <a:ext cx="9919800" cy="6848476"/>
          </a:xfrm>
          <a:prstGeom prst="rect">
            <a:avLst/>
          </a:prstGeom>
          <a:noFill/>
          <a:ln>
            <a:noFill/>
          </a:ln>
        </p:spPr>
      </p:pic>
      <p:sp>
        <p:nvSpPr>
          <p:cNvPr id="127" name="Google Shape;127;p32"/>
          <p:cNvSpPr/>
          <p:nvPr/>
        </p:nvSpPr>
        <p:spPr>
          <a:xfrm>
            <a:off x="0" y="-1"/>
            <a:ext cx="9906000" cy="6858001"/>
          </a:xfrm>
          <a:prstGeom prst="rect">
            <a:avLst/>
          </a:prstGeom>
          <a:solidFill>
            <a:srgbClr val="001329">
              <a:alpha val="49803"/>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rgbClr val="7F7F7F"/>
              </a:solidFill>
              <a:latin typeface="Fira Sans"/>
              <a:ea typeface="Fira Sans"/>
              <a:cs typeface="Fira Sans"/>
              <a:sym typeface="Fira Sans"/>
            </a:endParaRPr>
          </a:p>
        </p:txBody>
      </p:sp>
      <p:sp>
        <p:nvSpPr>
          <p:cNvPr id="128" name="Google Shape;128;p32"/>
          <p:cNvSpPr txBox="1">
            <a:spLocks noGrp="1"/>
          </p:cNvSpPr>
          <p:nvPr>
            <p:ph type="ctrTitle"/>
          </p:nvPr>
        </p:nvSpPr>
        <p:spPr>
          <a:xfrm>
            <a:off x="720450" y="890931"/>
            <a:ext cx="8504512" cy="1921388"/>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4400"/>
              <a:buFont typeface="Inter ExtraBold"/>
              <a:buNone/>
              <a:defRPr sz="357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2"/>
          <p:cNvSpPr txBox="1">
            <a:spLocks noGrp="1"/>
          </p:cNvSpPr>
          <p:nvPr>
            <p:ph type="subTitle" idx="1"/>
          </p:nvPr>
        </p:nvSpPr>
        <p:spPr>
          <a:xfrm>
            <a:off x="720450" y="2852936"/>
            <a:ext cx="8504512" cy="1296144"/>
          </a:xfrm>
          <a:prstGeom prst="rect">
            <a:avLst/>
          </a:prstGeom>
          <a:noFill/>
          <a:ln>
            <a:noFill/>
          </a:ln>
        </p:spPr>
        <p:txBody>
          <a:bodyPr spcFirstLastPara="1" wrap="square" lIns="0" tIns="0" rIns="0" bIns="0" anchor="b" anchorCtr="0">
            <a:noAutofit/>
          </a:bodyPr>
          <a:lstStyle>
            <a:lvl1pPr lvl="0" algn="l">
              <a:lnSpc>
                <a:spcPct val="100000"/>
              </a:lnSpc>
              <a:spcBef>
                <a:spcPts val="812"/>
              </a:spcBef>
              <a:spcAft>
                <a:spcPts val="0"/>
              </a:spcAft>
              <a:buClr>
                <a:schemeClr val="lt1"/>
              </a:buClr>
              <a:buSzPts val="2400"/>
              <a:buNone/>
              <a:defRPr sz="1950">
                <a:solidFill>
                  <a:schemeClr val="lt1"/>
                </a:solidFill>
                <a:latin typeface="Inter"/>
                <a:ea typeface="Inter"/>
                <a:cs typeface="Inter"/>
                <a:sym typeface="Inter"/>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sp>
        <p:nvSpPr>
          <p:cNvPr id="130" name="Google Shape;130;p32"/>
          <p:cNvSpPr/>
          <p:nvPr/>
        </p:nvSpPr>
        <p:spPr>
          <a:xfrm>
            <a:off x="6157127" y="2852938"/>
            <a:ext cx="4412498" cy="5430767"/>
          </a:xfrm>
          <a:prstGeom prst="ellipse">
            <a:avLst/>
          </a:prstGeom>
          <a:solidFill>
            <a:srgbClr val="00254B"/>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pic>
        <p:nvPicPr>
          <p:cNvPr id="131" name="Google Shape;131;p32"/>
          <p:cNvPicPr preferRelativeResize="0"/>
          <p:nvPr/>
        </p:nvPicPr>
        <p:blipFill rotWithShape="1">
          <a:blip r:embed="rId3">
            <a:alphaModFix/>
          </a:blip>
          <a:srcRect l="33606" t="42685" r="18308" b="24374"/>
          <a:stretch/>
        </p:blipFill>
        <p:spPr>
          <a:xfrm>
            <a:off x="7393822" y="4593490"/>
            <a:ext cx="1873195" cy="1381831"/>
          </a:xfrm>
          <a:prstGeom prst="rect">
            <a:avLst/>
          </a:prstGeom>
          <a:noFill/>
          <a:ln>
            <a:noFill/>
          </a:ln>
        </p:spPr>
      </p:pic>
      <p:pic>
        <p:nvPicPr>
          <p:cNvPr id="132" name="Google Shape;132;p32"/>
          <p:cNvPicPr preferRelativeResize="0"/>
          <p:nvPr/>
        </p:nvPicPr>
        <p:blipFill rotWithShape="1">
          <a:blip r:embed="rId4">
            <a:alphaModFix/>
          </a:blip>
          <a:srcRect/>
          <a:stretch/>
        </p:blipFill>
        <p:spPr>
          <a:xfrm>
            <a:off x="720449" y="5129055"/>
            <a:ext cx="292500" cy="360000"/>
          </a:xfrm>
          <a:prstGeom prst="rect">
            <a:avLst/>
          </a:prstGeom>
          <a:noFill/>
          <a:ln>
            <a:noFill/>
          </a:ln>
        </p:spPr>
      </p:pic>
      <p:pic>
        <p:nvPicPr>
          <p:cNvPr id="133" name="Google Shape;133;p32"/>
          <p:cNvPicPr preferRelativeResize="0"/>
          <p:nvPr/>
        </p:nvPicPr>
        <p:blipFill rotWithShape="1">
          <a:blip r:embed="rId5">
            <a:alphaModFix/>
          </a:blip>
          <a:srcRect/>
          <a:stretch/>
        </p:blipFill>
        <p:spPr>
          <a:xfrm>
            <a:off x="720449" y="5617416"/>
            <a:ext cx="292500" cy="360000"/>
          </a:xfrm>
          <a:prstGeom prst="rect">
            <a:avLst/>
          </a:prstGeom>
          <a:noFill/>
          <a:ln>
            <a:noFill/>
          </a:ln>
        </p:spPr>
      </p:pic>
      <p:sp>
        <p:nvSpPr>
          <p:cNvPr id="134" name="Google Shape;134;p32"/>
          <p:cNvSpPr txBox="1">
            <a:spLocks noGrp="1"/>
          </p:cNvSpPr>
          <p:nvPr>
            <p:ph type="body" idx="2"/>
          </p:nvPr>
        </p:nvSpPr>
        <p:spPr>
          <a:xfrm>
            <a:off x="1150078" y="508518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35" name="Google Shape;135;p32"/>
          <p:cNvSpPr txBox="1">
            <a:spLocks noGrp="1"/>
          </p:cNvSpPr>
          <p:nvPr>
            <p:ph type="body" idx="3"/>
          </p:nvPr>
        </p:nvSpPr>
        <p:spPr>
          <a:xfrm>
            <a:off x="1150078" y="5573546"/>
            <a:ext cx="4184531" cy="447743"/>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BFBFBF"/>
              </a:buClr>
              <a:buSzPts val="1600"/>
              <a:buNone/>
              <a:defRPr sz="1300">
                <a:solidFill>
                  <a:srgbClr val="BFBFBF"/>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2380549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2_Úvodní snímek">
  <p:cSld name="2_Úvodní snímek">
    <p:spTree>
      <p:nvGrpSpPr>
        <p:cNvPr id="1" name="Shape 136"/>
        <p:cNvGrpSpPr/>
        <p:nvPr/>
      </p:nvGrpSpPr>
      <p:grpSpPr>
        <a:xfrm>
          <a:off x="0" y="0"/>
          <a:ext cx="0" cy="0"/>
          <a:chOff x="0" y="0"/>
          <a:chExt cx="0" cy="0"/>
        </a:xfrm>
      </p:grpSpPr>
      <p:sp>
        <p:nvSpPr>
          <p:cNvPr id="137" name="Google Shape;137;p33"/>
          <p:cNvSpPr txBox="1">
            <a:spLocks noGrp="1"/>
          </p:cNvSpPr>
          <p:nvPr>
            <p:ph type="ctrTitle"/>
          </p:nvPr>
        </p:nvSpPr>
        <p:spPr>
          <a:xfrm>
            <a:off x="720450" y="890930"/>
            <a:ext cx="4232551" cy="2810407"/>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lt1"/>
              </a:buClr>
              <a:buSzPts val="4400"/>
              <a:buFont typeface="IBM Plex Sans Medium"/>
              <a:buNone/>
              <a:defRPr sz="3575" b="0" i="0">
                <a:solidFill>
                  <a:schemeClr val="lt1"/>
                </a:solidFill>
                <a:latin typeface="IBM Plex Sans Medium"/>
                <a:ea typeface="IBM Plex Sans Medium"/>
                <a:cs typeface="IBM Plex Sans Medium"/>
                <a:sym typeface="IBM Plex Sans Medium"/>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33"/>
          <p:cNvSpPr txBox="1">
            <a:spLocks noGrp="1"/>
          </p:cNvSpPr>
          <p:nvPr>
            <p:ph type="subTitle" idx="1"/>
          </p:nvPr>
        </p:nvSpPr>
        <p:spPr>
          <a:xfrm>
            <a:off x="720450" y="3701336"/>
            <a:ext cx="4232551" cy="447744"/>
          </a:xfrm>
          <a:prstGeom prst="rect">
            <a:avLst/>
          </a:prstGeom>
          <a:noFill/>
          <a:ln>
            <a:noFill/>
          </a:ln>
        </p:spPr>
        <p:txBody>
          <a:bodyPr spcFirstLastPara="1" wrap="square" lIns="0" tIns="0" rIns="0" bIns="0" anchor="b" anchorCtr="0">
            <a:noAutofit/>
          </a:bodyPr>
          <a:lstStyle>
            <a:lvl1pPr lvl="0" algn="l">
              <a:lnSpc>
                <a:spcPct val="100000"/>
              </a:lnSpc>
              <a:spcBef>
                <a:spcPts val="812"/>
              </a:spcBef>
              <a:spcAft>
                <a:spcPts val="0"/>
              </a:spcAft>
              <a:buClr>
                <a:srgbClr val="E0ECF5"/>
              </a:buClr>
              <a:buSzPts val="2400"/>
              <a:buNone/>
              <a:defRPr sz="1950">
                <a:solidFill>
                  <a:srgbClr val="E0ECF5"/>
                </a:solidFill>
                <a:latin typeface="IBM Plex Sans"/>
                <a:ea typeface="IBM Plex Sans"/>
                <a:cs typeface="IBM Plex Sans"/>
                <a:sym typeface="IBM Plex Sans"/>
              </a:defRPr>
            </a:lvl1pPr>
            <a:lvl2pPr lvl="1" algn="ctr">
              <a:lnSpc>
                <a:spcPct val="100000"/>
              </a:lnSpc>
              <a:spcBef>
                <a:spcPts val="406"/>
              </a:spcBef>
              <a:spcAft>
                <a:spcPts val="0"/>
              </a:spcAft>
              <a:buSzPts val="2000"/>
              <a:buNone/>
              <a:defRPr sz="1625"/>
            </a:lvl2pPr>
            <a:lvl3pPr lvl="2" algn="ctr">
              <a:lnSpc>
                <a:spcPct val="100000"/>
              </a:lnSpc>
              <a:spcBef>
                <a:spcPts val="406"/>
              </a:spcBef>
              <a:spcAft>
                <a:spcPts val="0"/>
              </a:spcAft>
              <a:buSzPts val="1800"/>
              <a:buNone/>
              <a:defRPr sz="1462"/>
            </a:lvl3pPr>
            <a:lvl4pPr lvl="3" algn="ctr">
              <a:lnSpc>
                <a:spcPct val="100000"/>
              </a:lnSpc>
              <a:spcBef>
                <a:spcPts val="406"/>
              </a:spcBef>
              <a:spcAft>
                <a:spcPts val="0"/>
              </a:spcAft>
              <a:buSzPts val="1600"/>
              <a:buNone/>
              <a:defRPr sz="1300"/>
            </a:lvl4pPr>
            <a:lvl5pPr lvl="4" algn="ctr">
              <a:lnSpc>
                <a:spcPct val="100000"/>
              </a:lnSpc>
              <a:spcBef>
                <a:spcPts val="406"/>
              </a:spcBef>
              <a:spcAft>
                <a:spcPts val="0"/>
              </a:spcAft>
              <a:buSzPts val="1600"/>
              <a:buNone/>
              <a:defRPr sz="1300"/>
            </a:lvl5pPr>
            <a:lvl6pPr lvl="5" algn="ctr">
              <a:lnSpc>
                <a:spcPct val="90000"/>
              </a:lnSpc>
              <a:spcBef>
                <a:spcPts val="406"/>
              </a:spcBef>
              <a:spcAft>
                <a:spcPts val="0"/>
              </a:spcAft>
              <a:buClr>
                <a:schemeClr val="dk1"/>
              </a:buClr>
              <a:buSzPts val="1600"/>
              <a:buNone/>
              <a:defRPr sz="1300"/>
            </a:lvl6pPr>
            <a:lvl7pPr lvl="6" algn="ctr">
              <a:lnSpc>
                <a:spcPct val="90000"/>
              </a:lnSpc>
              <a:spcBef>
                <a:spcPts val="406"/>
              </a:spcBef>
              <a:spcAft>
                <a:spcPts val="0"/>
              </a:spcAft>
              <a:buClr>
                <a:schemeClr val="dk1"/>
              </a:buClr>
              <a:buSzPts val="1600"/>
              <a:buNone/>
              <a:defRPr sz="1300"/>
            </a:lvl7pPr>
            <a:lvl8pPr lvl="7" algn="ctr">
              <a:lnSpc>
                <a:spcPct val="90000"/>
              </a:lnSpc>
              <a:spcBef>
                <a:spcPts val="406"/>
              </a:spcBef>
              <a:spcAft>
                <a:spcPts val="0"/>
              </a:spcAft>
              <a:buClr>
                <a:schemeClr val="dk1"/>
              </a:buClr>
              <a:buSzPts val="1600"/>
              <a:buNone/>
              <a:defRPr sz="1300"/>
            </a:lvl8pPr>
            <a:lvl9pPr lvl="8" algn="ctr">
              <a:lnSpc>
                <a:spcPct val="90000"/>
              </a:lnSpc>
              <a:spcBef>
                <a:spcPts val="406"/>
              </a:spcBef>
              <a:spcAft>
                <a:spcPts val="0"/>
              </a:spcAft>
              <a:buClr>
                <a:schemeClr val="dk1"/>
              </a:buClr>
              <a:buSzPts val="1600"/>
              <a:buNone/>
              <a:defRPr sz="1300"/>
            </a:lvl9pPr>
          </a:lstStyle>
          <a:p>
            <a:endParaRPr/>
          </a:p>
        </p:txBody>
      </p:sp>
      <p:sp>
        <p:nvSpPr>
          <p:cNvPr id="139" name="Google Shape;139;p33"/>
          <p:cNvSpPr txBox="1">
            <a:spLocks noGrp="1"/>
          </p:cNvSpPr>
          <p:nvPr>
            <p:ph type="body" idx="2"/>
          </p:nvPr>
        </p:nvSpPr>
        <p:spPr>
          <a:xfrm>
            <a:off x="720449" y="5192763"/>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Inter"/>
                <a:ea typeface="Inter"/>
                <a:cs typeface="Inter"/>
                <a:sym typeface="Inter"/>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40" name="Google Shape;140;p33"/>
          <p:cNvSpPr txBox="1">
            <a:spLocks noGrp="1"/>
          </p:cNvSpPr>
          <p:nvPr>
            <p:ph type="body" idx="3"/>
          </p:nvPr>
        </p:nvSpPr>
        <p:spPr>
          <a:xfrm>
            <a:off x="720449" y="5645553"/>
            <a:ext cx="4184531" cy="432000"/>
          </a:xfrm>
          <a:prstGeom prst="rect">
            <a:avLst/>
          </a:prstGeom>
          <a:noFill/>
          <a:ln>
            <a:noFill/>
          </a:ln>
        </p:spPr>
        <p:txBody>
          <a:bodyPr spcFirstLastPara="1" wrap="square" lIns="0" tIns="0" rIns="0" bIns="0" anchor="ctr" anchorCtr="0">
            <a:normAutofit/>
          </a:bodyPr>
          <a:lstStyle>
            <a:lvl1pPr marL="371464" lvl="0" indent="-185732" algn="l">
              <a:lnSpc>
                <a:spcPct val="100000"/>
              </a:lnSpc>
              <a:spcBef>
                <a:spcPts val="812"/>
              </a:spcBef>
              <a:spcAft>
                <a:spcPts val="0"/>
              </a:spcAft>
              <a:buClr>
                <a:srgbClr val="E0ECF5"/>
              </a:buClr>
              <a:buSzPts val="1400"/>
              <a:buNone/>
              <a:defRPr sz="1137">
                <a:solidFill>
                  <a:srgbClr val="E0ECF5"/>
                </a:solidFill>
                <a:latin typeface="Inter"/>
                <a:ea typeface="Inter"/>
                <a:cs typeface="Inter"/>
                <a:sym typeface="Inter"/>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41" name="Google Shape;141;p33"/>
          <p:cNvSpPr/>
          <p:nvPr/>
        </p:nvSpPr>
        <p:spPr>
          <a:xfrm rot="3528582">
            <a:off x="7470399" y="2723343"/>
            <a:ext cx="1372783" cy="1118067"/>
          </a:xfrm>
          <a:custGeom>
            <a:avLst/>
            <a:gdLst/>
            <a:ahLst/>
            <a:cxnLst/>
            <a:rect l="l" t="t" r="r" b="b"/>
            <a:pathLst>
              <a:path w="541623" h="542925" extrusionOk="0">
                <a:moveTo>
                  <a:pt x="541623" y="271463"/>
                </a:moveTo>
                <a:cubicBezTo>
                  <a:pt x="541623" y="421387"/>
                  <a:pt x="420377" y="542925"/>
                  <a:pt x="270812" y="542925"/>
                </a:cubicBezTo>
                <a:cubicBezTo>
                  <a:pt x="121247" y="542925"/>
                  <a:pt x="0" y="421387"/>
                  <a:pt x="0" y="271463"/>
                </a:cubicBezTo>
                <a:cubicBezTo>
                  <a:pt x="0" y="121538"/>
                  <a:pt x="121247" y="0"/>
                  <a:pt x="270812" y="0"/>
                </a:cubicBezTo>
                <a:cubicBezTo>
                  <a:pt x="420377" y="0"/>
                  <a:pt x="541623" y="121538"/>
                  <a:pt x="541623" y="271463"/>
                </a:cubicBezTo>
                <a:close/>
              </a:path>
            </a:pathLst>
          </a:custGeom>
          <a:solidFill>
            <a:srgbClr val="73C7FF">
              <a:alpha val="18823"/>
            </a:srgb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142" name="Google Shape;142;p33"/>
          <p:cNvSpPr/>
          <p:nvPr/>
        </p:nvSpPr>
        <p:spPr>
          <a:xfrm rot="3528582">
            <a:off x="9075523" y="749100"/>
            <a:ext cx="354879" cy="283659"/>
          </a:xfrm>
          <a:custGeom>
            <a:avLst/>
            <a:gdLst/>
            <a:ahLst/>
            <a:cxnLst/>
            <a:rect l="l" t="t" r="r" b="b"/>
            <a:pathLst>
              <a:path w="275562" h="266700" extrusionOk="0">
                <a:moveTo>
                  <a:pt x="275563" y="133350"/>
                </a:moveTo>
                <a:cubicBezTo>
                  <a:pt x="275563" y="206997"/>
                  <a:pt x="213876" y="266700"/>
                  <a:pt x="137781" y="266700"/>
                </a:cubicBezTo>
                <a:cubicBezTo>
                  <a:pt x="61687" y="266700"/>
                  <a:pt x="0" y="206997"/>
                  <a:pt x="0" y="133350"/>
                </a:cubicBezTo>
                <a:cubicBezTo>
                  <a:pt x="0" y="59703"/>
                  <a:pt x="61687" y="0"/>
                  <a:pt x="137781" y="0"/>
                </a:cubicBezTo>
                <a:cubicBezTo>
                  <a:pt x="213876" y="0"/>
                  <a:pt x="275563" y="59703"/>
                  <a:pt x="275563" y="133350"/>
                </a:cubicBezTo>
                <a:close/>
              </a:path>
            </a:pathLst>
          </a:custGeom>
          <a:solidFill>
            <a:srgbClr val="F5DA8E">
              <a:alpha val="62745"/>
            </a:srgb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143" name="Google Shape;143;p33"/>
          <p:cNvSpPr/>
          <p:nvPr/>
        </p:nvSpPr>
        <p:spPr>
          <a:xfrm rot="3528582">
            <a:off x="8247659" y="1298654"/>
            <a:ext cx="496779" cy="418092"/>
          </a:xfrm>
          <a:custGeom>
            <a:avLst/>
            <a:gdLst/>
            <a:ahLst/>
            <a:cxnLst/>
            <a:rect l="l" t="t" r="r" b="b"/>
            <a:pathLst>
              <a:path w="285064" h="295275" extrusionOk="0">
                <a:moveTo>
                  <a:pt x="285065" y="147637"/>
                </a:moveTo>
                <a:cubicBezTo>
                  <a:pt x="285065" y="229175"/>
                  <a:pt x="221251" y="295275"/>
                  <a:pt x="142532" y="295275"/>
                </a:cubicBezTo>
                <a:cubicBezTo>
                  <a:pt x="63814" y="295275"/>
                  <a:pt x="0" y="229175"/>
                  <a:pt x="0" y="147637"/>
                </a:cubicBezTo>
                <a:cubicBezTo>
                  <a:pt x="0" y="66099"/>
                  <a:pt x="63814" y="0"/>
                  <a:pt x="142532" y="0"/>
                </a:cubicBezTo>
                <a:cubicBezTo>
                  <a:pt x="221251" y="0"/>
                  <a:pt x="285065" y="66099"/>
                  <a:pt x="285065" y="147637"/>
                </a:cubicBezTo>
                <a:close/>
              </a:path>
            </a:pathLst>
          </a:custGeom>
          <a:solidFill>
            <a:schemeClr val="lt1">
              <a:alpha val="45490"/>
            </a:scheme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144" name="Google Shape;144;p33"/>
          <p:cNvSpPr/>
          <p:nvPr/>
        </p:nvSpPr>
        <p:spPr>
          <a:xfrm rot="3528582">
            <a:off x="8805701" y="2374002"/>
            <a:ext cx="459593" cy="374318"/>
          </a:xfrm>
          <a:custGeom>
            <a:avLst/>
            <a:gdLst/>
            <a:ahLst/>
            <a:cxnLst/>
            <a:rect l="l" t="t" r="r" b="b"/>
            <a:pathLst>
              <a:path w="285064" h="285750" extrusionOk="0">
                <a:moveTo>
                  <a:pt x="285065" y="142875"/>
                </a:moveTo>
                <a:cubicBezTo>
                  <a:pt x="285065" y="221783"/>
                  <a:pt x="221251" y="285750"/>
                  <a:pt x="142532" y="285750"/>
                </a:cubicBezTo>
                <a:cubicBezTo>
                  <a:pt x="63814" y="285750"/>
                  <a:pt x="0" y="221783"/>
                  <a:pt x="0" y="142875"/>
                </a:cubicBezTo>
                <a:cubicBezTo>
                  <a:pt x="0" y="63967"/>
                  <a:pt x="63814" y="0"/>
                  <a:pt x="142532" y="0"/>
                </a:cubicBezTo>
                <a:cubicBezTo>
                  <a:pt x="221251" y="0"/>
                  <a:pt x="285065" y="63967"/>
                  <a:pt x="285065" y="142875"/>
                </a:cubicBezTo>
                <a:close/>
              </a:path>
            </a:pathLst>
          </a:custGeom>
          <a:solidFill>
            <a:schemeClr val="lt1">
              <a:alpha val="29019"/>
            </a:scheme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sp>
        <p:nvSpPr>
          <p:cNvPr id="145" name="Google Shape;145;p33"/>
          <p:cNvSpPr/>
          <p:nvPr/>
        </p:nvSpPr>
        <p:spPr>
          <a:xfrm rot="3528582">
            <a:off x="9337048" y="3155475"/>
            <a:ext cx="761731" cy="620394"/>
          </a:xfrm>
          <a:custGeom>
            <a:avLst/>
            <a:gdLst/>
            <a:ahLst/>
            <a:cxnLst/>
            <a:rect l="l" t="t" r="r" b="b"/>
            <a:pathLst>
              <a:path w="437099" h="438150" extrusionOk="0">
                <a:moveTo>
                  <a:pt x="437099" y="219075"/>
                </a:moveTo>
                <a:cubicBezTo>
                  <a:pt x="437099" y="340067"/>
                  <a:pt x="339251" y="438150"/>
                  <a:pt x="218550" y="438150"/>
                </a:cubicBezTo>
                <a:cubicBezTo>
                  <a:pt x="97848" y="438150"/>
                  <a:pt x="0" y="340067"/>
                  <a:pt x="0" y="219075"/>
                </a:cubicBezTo>
                <a:cubicBezTo>
                  <a:pt x="0" y="98083"/>
                  <a:pt x="97848" y="0"/>
                  <a:pt x="218550" y="0"/>
                </a:cubicBezTo>
                <a:cubicBezTo>
                  <a:pt x="339251" y="0"/>
                  <a:pt x="437099" y="98083"/>
                  <a:pt x="437099" y="219075"/>
                </a:cubicBezTo>
                <a:close/>
              </a:path>
            </a:pathLst>
          </a:custGeom>
          <a:solidFill>
            <a:srgbClr val="F2CE6E">
              <a:alpha val="36470"/>
            </a:srgbClr>
          </a:solidFill>
          <a:ln>
            <a:noFill/>
          </a:ln>
        </p:spPr>
        <p:txBody>
          <a:bodyPr spcFirstLastPara="1" wrap="square" lIns="74283" tIns="37131" rIns="74283" bIns="37131" anchor="ctr" anchorCtr="0">
            <a:noAutofit/>
          </a:bodyPr>
          <a:lstStyle/>
          <a:p>
            <a:pPr marL="0" marR="0" lvl="0" indent="0" algn="l" rtl="0">
              <a:spcBef>
                <a:spcPts val="0"/>
              </a:spcBef>
              <a:spcAft>
                <a:spcPts val="0"/>
              </a:spcAft>
              <a:buNone/>
            </a:pPr>
            <a:endParaRPr sz="1462">
              <a:solidFill>
                <a:schemeClr val="dk1"/>
              </a:solidFill>
              <a:latin typeface="Fira Sans"/>
              <a:ea typeface="Fira Sans"/>
              <a:cs typeface="Fira Sans"/>
              <a:sym typeface="Fira Sans"/>
            </a:endParaRPr>
          </a:p>
        </p:txBody>
      </p:sp>
      <p:pic>
        <p:nvPicPr>
          <p:cNvPr id="146" name="Google Shape;146;p33"/>
          <p:cNvPicPr preferRelativeResize="0"/>
          <p:nvPr/>
        </p:nvPicPr>
        <p:blipFill rotWithShape="1">
          <a:blip r:embed="rId2">
            <a:alphaModFix/>
          </a:blip>
          <a:srcRect/>
          <a:stretch/>
        </p:blipFill>
        <p:spPr>
          <a:xfrm>
            <a:off x="7468779" y="4635558"/>
            <a:ext cx="1462663" cy="1114409"/>
          </a:xfrm>
          <a:prstGeom prst="rect">
            <a:avLst/>
          </a:prstGeom>
          <a:noFill/>
          <a:ln>
            <a:noFill/>
          </a:ln>
        </p:spPr>
      </p:pic>
    </p:spTree>
    <p:extLst>
      <p:ext uri="{BB962C8B-B14F-4D97-AF65-F5344CB8AC3E}">
        <p14:creationId xmlns:p14="http://schemas.microsoft.com/office/powerpoint/2010/main" val="412117856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5_Jenom nadpis">
  <p:cSld name="5_Jenom nadpis">
    <p:spTree>
      <p:nvGrpSpPr>
        <p:cNvPr id="1" name="Shape 147"/>
        <p:cNvGrpSpPr/>
        <p:nvPr/>
      </p:nvGrpSpPr>
      <p:grpSpPr>
        <a:xfrm>
          <a:off x="0" y="0"/>
          <a:ext cx="0" cy="0"/>
          <a:chOff x="0" y="0"/>
          <a:chExt cx="0" cy="0"/>
        </a:xfrm>
      </p:grpSpPr>
      <p:sp>
        <p:nvSpPr>
          <p:cNvPr id="148" name="Google Shape;148;p34"/>
          <p:cNvSpPr txBox="1">
            <a:spLocks noGrp="1"/>
          </p:cNvSpPr>
          <p:nvPr>
            <p:ph type="title"/>
          </p:nvPr>
        </p:nvSpPr>
        <p:spPr>
          <a:xfrm>
            <a:off x="723604" y="2564904"/>
            <a:ext cx="4755955" cy="2952328"/>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rgbClr val="1D2123"/>
              </a:buClr>
              <a:buSzPts val="6000"/>
              <a:buFont typeface="IBM Plex Sans SemiBold"/>
              <a:buNone/>
              <a:defRPr sz="4875" b="1" i="0">
                <a:solidFill>
                  <a:srgbClr val="1D2123"/>
                </a:solidFill>
                <a:latin typeface="IBM Plex Sans SemiBold"/>
                <a:ea typeface="IBM Plex Sans SemiBold"/>
                <a:cs typeface="IBM Plex Sans SemiBold"/>
                <a:sym typeface="IBM Plex Sans SemiBold"/>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9" name="Google Shape;149;p34"/>
          <p:cNvPicPr preferRelativeResize="0"/>
          <p:nvPr/>
        </p:nvPicPr>
        <p:blipFill rotWithShape="1">
          <a:blip r:embed="rId2">
            <a:alphaModFix/>
          </a:blip>
          <a:srcRect/>
          <a:stretch/>
        </p:blipFill>
        <p:spPr>
          <a:xfrm>
            <a:off x="8463391" y="6340039"/>
            <a:ext cx="1120917" cy="210996"/>
          </a:xfrm>
          <a:prstGeom prst="rect">
            <a:avLst/>
          </a:prstGeom>
          <a:noFill/>
          <a:ln>
            <a:noFill/>
          </a:ln>
        </p:spPr>
      </p:pic>
    </p:spTree>
    <p:extLst>
      <p:ext uri="{BB962C8B-B14F-4D97-AF65-F5344CB8AC3E}">
        <p14:creationId xmlns:p14="http://schemas.microsoft.com/office/powerpoint/2010/main" val="40872940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Kontakt">
  <p:cSld name="Kontakt">
    <p:spTree>
      <p:nvGrpSpPr>
        <p:cNvPr id="1" name="Shape 150"/>
        <p:cNvGrpSpPr/>
        <p:nvPr/>
      </p:nvGrpSpPr>
      <p:grpSpPr>
        <a:xfrm>
          <a:off x="0" y="0"/>
          <a:ext cx="0" cy="0"/>
          <a:chOff x="0" y="0"/>
          <a:chExt cx="0" cy="0"/>
        </a:xfrm>
      </p:grpSpPr>
      <p:pic>
        <p:nvPicPr>
          <p:cNvPr id="151" name="Google Shape;151;p35" descr="Základová fotografie zdarma na téma barvy, bezešvý, děti"/>
          <p:cNvPicPr preferRelativeResize="0"/>
          <p:nvPr/>
        </p:nvPicPr>
        <p:blipFill rotWithShape="1">
          <a:blip r:embed="rId2">
            <a:alphaModFix/>
          </a:blip>
          <a:srcRect l="2062" t="11882" r="2104" b="41172"/>
          <a:stretch/>
        </p:blipFill>
        <p:spPr>
          <a:xfrm>
            <a:off x="0" y="-1"/>
            <a:ext cx="9740900" cy="6858000"/>
          </a:xfrm>
          <a:prstGeom prst="rect">
            <a:avLst/>
          </a:prstGeom>
          <a:noFill/>
          <a:ln>
            <a:noFill/>
          </a:ln>
        </p:spPr>
      </p:pic>
      <p:sp>
        <p:nvSpPr>
          <p:cNvPr id="4" name="Google Shape;15;p19">
            <a:extLst>
              <a:ext uri="{FF2B5EF4-FFF2-40B4-BE49-F238E27FC236}">
                <a16:creationId xmlns:a16="http://schemas.microsoft.com/office/drawing/2014/main" id="{55EECB0E-88D3-C980-13C8-FD44E541D90F}"/>
              </a:ext>
            </a:extLst>
          </p:cNvPr>
          <p:cNvSpPr/>
          <p:nvPr userDrawn="1"/>
        </p:nvSpPr>
        <p:spPr>
          <a:xfrm>
            <a:off x="1" y="0"/>
            <a:ext cx="9942942" cy="6858000"/>
          </a:xfrm>
          <a:prstGeom prst="rect">
            <a:avLst/>
          </a:prstGeom>
          <a:solidFill>
            <a:srgbClr val="052B5B">
              <a:alpha val="85098"/>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b="0" i="0" u="none" strike="noStrike" cap="none">
              <a:solidFill>
                <a:srgbClr val="7F7F7F"/>
              </a:solidFill>
              <a:latin typeface="Fira Sans"/>
              <a:ea typeface="Fira Sans"/>
              <a:cs typeface="Fira Sans"/>
              <a:sym typeface="Fira Sans"/>
            </a:endParaRPr>
          </a:p>
        </p:txBody>
      </p:sp>
      <p:sp>
        <p:nvSpPr>
          <p:cNvPr id="153" name="Google Shape;153;p35"/>
          <p:cNvSpPr txBox="1">
            <a:spLocks noGrp="1"/>
          </p:cNvSpPr>
          <p:nvPr>
            <p:ph type="ctrTitle"/>
          </p:nvPr>
        </p:nvSpPr>
        <p:spPr>
          <a:xfrm>
            <a:off x="731251" y="1539129"/>
            <a:ext cx="8458793" cy="915504"/>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6000"/>
              <a:buFont typeface="Inter ExtraBold"/>
              <a:buNone/>
              <a:defRPr sz="487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35"/>
          <p:cNvSpPr txBox="1">
            <a:spLocks noGrp="1"/>
          </p:cNvSpPr>
          <p:nvPr>
            <p:ph type="body" idx="1"/>
          </p:nvPr>
        </p:nvSpPr>
        <p:spPr>
          <a:xfrm>
            <a:off x="731250" y="3522497"/>
            <a:ext cx="4184531" cy="2092052"/>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lt1"/>
              </a:buClr>
              <a:buSzPts val="1600"/>
              <a:buNone/>
              <a:defRPr sz="1300">
                <a:solidFill>
                  <a:schemeClr val="lt1"/>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55" name="Google Shape;155;p35"/>
          <p:cNvSpPr/>
          <p:nvPr/>
        </p:nvSpPr>
        <p:spPr>
          <a:xfrm>
            <a:off x="9039225" y="6045200"/>
            <a:ext cx="701675" cy="650240"/>
          </a:xfrm>
          <a:prstGeom prst="rect">
            <a:avLst/>
          </a:prstGeom>
          <a:solidFill>
            <a:schemeClr val="dk2"/>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sp>
        <p:nvSpPr>
          <p:cNvPr id="159" name="Google Shape;159;p35"/>
          <p:cNvSpPr txBox="1"/>
          <p:nvPr/>
        </p:nvSpPr>
        <p:spPr>
          <a:xfrm>
            <a:off x="731250" y="6201045"/>
            <a:ext cx="4953000" cy="275042"/>
          </a:xfrm>
          <a:prstGeom prst="rect">
            <a:avLst/>
          </a:prstGeom>
          <a:noFill/>
          <a:ln>
            <a:noFill/>
          </a:ln>
        </p:spPr>
        <p:txBody>
          <a:bodyPr spcFirstLastPara="1" wrap="square" lIns="0" tIns="37131" rIns="0" bIns="37131" anchor="t" anchorCtr="0">
            <a:spAutoFit/>
          </a:bodyPr>
          <a:lstStyle/>
          <a:p>
            <a:pPr marL="0" marR="0" lvl="0" indent="0" algn="l" rtl="0">
              <a:spcBef>
                <a:spcPts val="0"/>
              </a:spcBef>
              <a:spcAft>
                <a:spcPts val="0"/>
              </a:spcAft>
              <a:buNone/>
            </a:pPr>
            <a:r>
              <a:rPr lang="cs-CZ" sz="1300">
                <a:solidFill>
                  <a:srgbClr val="0070C0"/>
                </a:solidFill>
                <a:latin typeface="Inter ExtraBold"/>
                <a:ea typeface="Inter ExtraBold"/>
                <a:cs typeface="Inter ExtraBold"/>
                <a:sym typeface="Inter ExtraBold"/>
              </a:rPr>
              <a:t> / </a:t>
            </a:r>
            <a:r>
              <a:rPr lang="cs-CZ" sz="1300" b="1" i="0" err="1">
                <a:solidFill>
                  <a:schemeClr val="bg1">
                    <a:lumMod val="95000"/>
                  </a:schemeClr>
                </a:solidFill>
                <a:latin typeface="Inter" panose="02000503000000020004" pitchFamily="2" charset="0"/>
                <a:ea typeface="Inter" panose="02000503000000020004" pitchFamily="2" charset="0"/>
                <a:cs typeface="Inter" panose="02000503000000020004" pitchFamily="2" charset="0"/>
                <a:sym typeface="Inter ExtraBold"/>
              </a:rPr>
              <a:t>www.paqresearch.cz</a:t>
            </a:r>
            <a:r>
              <a:rPr lang="cs-CZ" sz="1300" b="1" i="0">
                <a:solidFill>
                  <a:schemeClr val="bg1">
                    <a:lumMod val="95000"/>
                  </a:schemeClr>
                </a:solidFill>
                <a:latin typeface="Inter" panose="02000503000000020004" pitchFamily="2" charset="0"/>
                <a:ea typeface="Inter" panose="02000503000000020004" pitchFamily="2" charset="0"/>
                <a:cs typeface="Inter" panose="02000503000000020004" pitchFamily="2" charset="0"/>
                <a:sym typeface="Inter ExtraBold"/>
              </a:rPr>
              <a:t> </a:t>
            </a:r>
            <a:endParaRPr sz="1300" b="1" i="0">
              <a:solidFill>
                <a:schemeClr val="bg1">
                  <a:lumMod val="95000"/>
                </a:schemeClr>
              </a:solidFill>
              <a:latin typeface="Inter" panose="02000503000000020004" pitchFamily="2" charset="0"/>
              <a:ea typeface="Inter" panose="02000503000000020004" pitchFamily="2" charset="0"/>
              <a:cs typeface="Inter" panose="02000503000000020004" pitchFamily="2" charset="0"/>
              <a:sym typeface="Fira Sans"/>
            </a:endParaRPr>
          </a:p>
        </p:txBody>
      </p:sp>
      <p:sp>
        <p:nvSpPr>
          <p:cNvPr id="2" name="Google Shape;16;p19">
            <a:extLst>
              <a:ext uri="{FF2B5EF4-FFF2-40B4-BE49-F238E27FC236}">
                <a16:creationId xmlns:a16="http://schemas.microsoft.com/office/drawing/2014/main" id="{EEF11674-B265-9433-7EF7-15F9E961F8FC}"/>
              </a:ext>
            </a:extLst>
          </p:cNvPr>
          <p:cNvSpPr/>
          <p:nvPr userDrawn="1"/>
        </p:nvSpPr>
        <p:spPr>
          <a:xfrm>
            <a:off x="6157127" y="2852938"/>
            <a:ext cx="4412498" cy="5430767"/>
          </a:xfrm>
          <a:prstGeom prst="ellipse">
            <a:avLst/>
          </a:prstGeom>
          <a:solidFill>
            <a:srgbClr val="0D54A2">
              <a:alpha val="84705"/>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b="0" i="0" u="none" strike="noStrike" cap="none">
              <a:solidFill>
                <a:schemeClr val="lt1"/>
              </a:solidFill>
              <a:latin typeface="Fira Sans"/>
              <a:ea typeface="Fira Sans"/>
              <a:cs typeface="Fira Sans"/>
              <a:sym typeface="Fira Sans"/>
            </a:endParaRPr>
          </a:p>
        </p:txBody>
      </p:sp>
      <p:pic>
        <p:nvPicPr>
          <p:cNvPr id="3" name="Google Shape;17;p19">
            <a:extLst>
              <a:ext uri="{FF2B5EF4-FFF2-40B4-BE49-F238E27FC236}">
                <a16:creationId xmlns:a16="http://schemas.microsoft.com/office/drawing/2014/main" id="{102DD518-040E-E488-AC08-AB8449D29893}"/>
              </a:ext>
            </a:extLst>
          </p:cNvPr>
          <p:cNvPicPr preferRelativeResize="0"/>
          <p:nvPr userDrawn="1"/>
        </p:nvPicPr>
        <p:blipFill rotWithShape="1">
          <a:blip r:embed="rId3">
            <a:alphaModFix/>
          </a:blip>
          <a:srcRect/>
          <a:stretch/>
        </p:blipFill>
        <p:spPr>
          <a:xfrm>
            <a:off x="7468779" y="4635558"/>
            <a:ext cx="1462663" cy="1114409"/>
          </a:xfrm>
          <a:prstGeom prst="rect">
            <a:avLst/>
          </a:prstGeom>
          <a:noFill/>
          <a:ln>
            <a:noFill/>
          </a:ln>
        </p:spPr>
      </p:pic>
    </p:spTree>
    <p:extLst>
      <p:ext uri="{BB962C8B-B14F-4D97-AF65-F5344CB8AC3E}">
        <p14:creationId xmlns:p14="http://schemas.microsoft.com/office/powerpoint/2010/main" val="12224896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1_Kontakt">
  <p:cSld name="1_Kontakt">
    <p:spTree>
      <p:nvGrpSpPr>
        <p:cNvPr id="1" name="Shape 160"/>
        <p:cNvGrpSpPr/>
        <p:nvPr/>
      </p:nvGrpSpPr>
      <p:grpSpPr>
        <a:xfrm>
          <a:off x="0" y="0"/>
          <a:ext cx="0" cy="0"/>
          <a:chOff x="0" y="0"/>
          <a:chExt cx="0" cy="0"/>
        </a:xfrm>
      </p:grpSpPr>
      <p:pic>
        <p:nvPicPr>
          <p:cNvPr id="161" name="Google Shape;161;p36" descr="Základová fotografie zdarma na téma cíle, firma, góly"/>
          <p:cNvPicPr preferRelativeResize="0"/>
          <p:nvPr/>
        </p:nvPicPr>
        <p:blipFill rotWithShape="1">
          <a:blip r:embed="rId2">
            <a:alphaModFix/>
          </a:blip>
          <a:srcRect b="62552"/>
          <a:stretch/>
        </p:blipFill>
        <p:spPr>
          <a:xfrm>
            <a:off x="-34901" y="1"/>
            <a:ext cx="9940902" cy="6872601"/>
          </a:xfrm>
          <a:prstGeom prst="rect">
            <a:avLst/>
          </a:prstGeom>
          <a:noFill/>
          <a:ln>
            <a:noFill/>
          </a:ln>
        </p:spPr>
      </p:pic>
      <p:sp>
        <p:nvSpPr>
          <p:cNvPr id="162" name="Google Shape;162;p36"/>
          <p:cNvSpPr/>
          <p:nvPr/>
        </p:nvSpPr>
        <p:spPr>
          <a:xfrm>
            <a:off x="-34901" y="0"/>
            <a:ext cx="9940902" cy="6858000"/>
          </a:xfrm>
          <a:prstGeom prst="rect">
            <a:avLst/>
          </a:prstGeom>
          <a:solidFill>
            <a:srgbClr val="142F47">
              <a:alpha val="87058"/>
            </a:srgbClr>
          </a:solidFill>
          <a:ln w="12700" cap="flat" cmpd="sng">
            <a:solidFill>
              <a:srgbClr val="245074"/>
            </a:solidFill>
            <a:prstDash val="solid"/>
            <a:miter lim="800000"/>
            <a:headEnd type="none" w="sm" len="sm"/>
            <a:tailEnd type="none" w="sm" len="sm"/>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sp>
        <p:nvSpPr>
          <p:cNvPr id="163" name="Google Shape;163;p36"/>
          <p:cNvSpPr/>
          <p:nvPr/>
        </p:nvSpPr>
        <p:spPr>
          <a:xfrm>
            <a:off x="9039225" y="6045200"/>
            <a:ext cx="701675" cy="650240"/>
          </a:xfrm>
          <a:prstGeom prst="rect">
            <a:avLst/>
          </a:prstGeom>
          <a:solidFill>
            <a:schemeClr val="dk2"/>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sp>
        <p:nvSpPr>
          <p:cNvPr id="164" name="Google Shape;164;p36"/>
          <p:cNvSpPr/>
          <p:nvPr/>
        </p:nvSpPr>
        <p:spPr>
          <a:xfrm>
            <a:off x="6157127" y="2852938"/>
            <a:ext cx="4412498" cy="5430767"/>
          </a:xfrm>
          <a:prstGeom prst="ellipse">
            <a:avLst/>
          </a:prstGeom>
          <a:solidFill>
            <a:srgbClr val="16324A">
              <a:alpha val="74509"/>
            </a:srgbClr>
          </a:solidFill>
          <a:ln>
            <a:noFill/>
          </a:ln>
        </p:spPr>
        <p:txBody>
          <a:bodyPr spcFirstLastPara="1" wrap="square" lIns="74283" tIns="37131" rIns="74283" bIns="37131" anchor="ctr" anchorCtr="0">
            <a:noAutofit/>
          </a:bodyPr>
          <a:lstStyle/>
          <a:p>
            <a:pPr marL="0" marR="0" lvl="0" indent="0" algn="ctr" rtl="0">
              <a:spcBef>
                <a:spcPts val="0"/>
              </a:spcBef>
              <a:spcAft>
                <a:spcPts val="0"/>
              </a:spcAft>
              <a:buNone/>
            </a:pPr>
            <a:endParaRPr sz="1462">
              <a:solidFill>
                <a:schemeClr val="lt1"/>
              </a:solidFill>
              <a:latin typeface="Fira Sans"/>
              <a:ea typeface="Fira Sans"/>
              <a:cs typeface="Fira Sans"/>
              <a:sym typeface="Fira Sans"/>
            </a:endParaRPr>
          </a:p>
        </p:txBody>
      </p:sp>
      <p:pic>
        <p:nvPicPr>
          <p:cNvPr id="165" name="Google Shape;165;p36"/>
          <p:cNvPicPr preferRelativeResize="0"/>
          <p:nvPr/>
        </p:nvPicPr>
        <p:blipFill rotWithShape="1">
          <a:blip r:embed="rId3">
            <a:alphaModFix/>
          </a:blip>
          <a:srcRect l="33606" t="42685" r="18308" b="24374"/>
          <a:stretch/>
        </p:blipFill>
        <p:spPr>
          <a:xfrm>
            <a:off x="7393822" y="4593490"/>
            <a:ext cx="1873195" cy="1381831"/>
          </a:xfrm>
          <a:prstGeom prst="rect">
            <a:avLst/>
          </a:prstGeom>
          <a:noFill/>
          <a:ln>
            <a:noFill/>
          </a:ln>
        </p:spPr>
      </p:pic>
      <p:sp>
        <p:nvSpPr>
          <p:cNvPr id="166" name="Google Shape;166;p36"/>
          <p:cNvSpPr txBox="1">
            <a:spLocks noGrp="1"/>
          </p:cNvSpPr>
          <p:nvPr>
            <p:ph type="ctrTitle"/>
          </p:nvPr>
        </p:nvSpPr>
        <p:spPr>
          <a:xfrm>
            <a:off x="731251" y="1539129"/>
            <a:ext cx="8458793" cy="915504"/>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6000"/>
              <a:buFont typeface="Inter ExtraBold"/>
              <a:buNone/>
              <a:defRPr sz="487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 name="Google Shape;167;p36"/>
          <p:cNvSpPr txBox="1">
            <a:spLocks noGrp="1"/>
          </p:cNvSpPr>
          <p:nvPr>
            <p:ph type="body" idx="1"/>
          </p:nvPr>
        </p:nvSpPr>
        <p:spPr>
          <a:xfrm>
            <a:off x="731250" y="3522497"/>
            <a:ext cx="4184531" cy="2092052"/>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lt1"/>
              </a:buClr>
              <a:buSzPts val="1600"/>
              <a:buNone/>
              <a:defRPr sz="1300">
                <a:solidFill>
                  <a:schemeClr val="lt1"/>
                </a:solidFill>
              </a:defRPr>
            </a:lvl1pPr>
            <a:lvl2pPr marL="742927" lvl="1" indent="-278598" algn="l">
              <a:lnSpc>
                <a:spcPct val="100000"/>
              </a:lnSpc>
              <a:spcBef>
                <a:spcPts val="406"/>
              </a:spcBef>
              <a:spcAft>
                <a:spcPts val="0"/>
              </a:spcAft>
              <a:buSzPts val="1800"/>
              <a:buChar char="*"/>
              <a:defRPr>
                <a:solidFill>
                  <a:schemeClr val="lt1"/>
                </a:solidFill>
              </a:defRPr>
            </a:lvl2pPr>
            <a:lvl3pPr marL="1114391" lvl="2" indent="-268279" algn="l">
              <a:lnSpc>
                <a:spcPct val="100000"/>
              </a:lnSpc>
              <a:spcBef>
                <a:spcPts val="406"/>
              </a:spcBef>
              <a:spcAft>
                <a:spcPts val="0"/>
              </a:spcAft>
              <a:buSzPts val="1600"/>
              <a:buChar char="*"/>
              <a:defRPr>
                <a:solidFill>
                  <a:schemeClr val="lt1"/>
                </a:solidFill>
              </a:defRPr>
            </a:lvl3pPr>
            <a:lvl4pPr marL="1485854" lvl="3" indent="-257961" algn="l">
              <a:lnSpc>
                <a:spcPct val="100000"/>
              </a:lnSpc>
              <a:spcBef>
                <a:spcPts val="406"/>
              </a:spcBef>
              <a:spcAft>
                <a:spcPts val="0"/>
              </a:spcAft>
              <a:buSzPts val="1400"/>
              <a:buChar char="*"/>
              <a:defRPr>
                <a:solidFill>
                  <a:schemeClr val="lt1"/>
                </a:solidFill>
              </a:defRPr>
            </a:lvl4pPr>
            <a:lvl5pPr marL="1857318" lvl="4" indent="-257961" algn="l">
              <a:lnSpc>
                <a:spcPct val="100000"/>
              </a:lnSpc>
              <a:spcBef>
                <a:spcPts val="406"/>
              </a:spcBef>
              <a:spcAft>
                <a:spcPts val="0"/>
              </a:spcAft>
              <a:buSzPts val="1400"/>
              <a:buChar char="*"/>
              <a:defRPr>
                <a:solidFill>
                  <a:schemeClr val="lt1"/>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68" name="Google Shape;168;p36"/>
          <p:cNvSpPr txBox="1"/>
          <p:nvPr/>
        </p:nvSpPr>
        <p:spPr>
          <a:xfrm>
            <a:off x="731250" y="2874460"/>
            <a:ext cx="994611" cy="325056"/>
          </a:xfrm>
          <a:prstGeom prst="rect">
            <a:avLst/>
          </a:prstGeom>
          <a:noFill/>
          <a:ln>
            <a:noFill/>
          </a:ln>
        </p:spPr>
        <p:txBody>
          <a:bodyPr spcFirstLastPara="1" wrap="square" lIns="0" tIns="37131" rIns="74283" bIns="37131" anchor="t" anchorCtr="0">
            <a:spAutoFit/>
          </a:bodyPr>
          <a:lstStyle/>
          <a:p>
            <a:pPr marL="0" marR="0" lvl="0" indent="0" algn="l" rtl="0">
              <a:spcBef>
                <a:spcPts val="0"/>
              </a:spcBef>
              <a:spcAft>
                <a:spcPts val="0"/>
              </a:spcAft>
              <a:buNone/>
            </a:pPr>
            <a:r>
              <a:rPr lang="cs-CZ" sz="1625" b="0">
                <a:solidFill>
                  <a:schemeClr val="accent1"/>
                </a:solidFill>
                <a:latin typeface="Inter ExtraBold"/>
                <a:ea typeface="Inter ExtraBold"/>
                <a:cs typeface="Inter ExtraBold"/>
                <a:sym typeface="Inter ExtraBold"/>
              </a:rPr>
              <a:t>Autoři</a:t>
            </a:r>
            <a:endParaRPr sz="1625" b="0">
              <a:solidFill>
                <a:schemeClr val="accent1"/>
              </a:solidFill>
              <a:latin typeface="Inter ExtraBold"/>
              <a:ea typeface="Inter ExtraBold"/>
              <a:cs typeface="Inter ExtraBold"/>
              <a:sym typeface="Inter ExtraBold"/>
            </a:endParaRPr>
          </a:p>
        </p:txBody>
      </p:sp>
      <p:sp>
        <p:nvSpPr>
          <p:cNvPr id="169" name="Google Shape;169;p36"/>
          <p:cNvSpPr txBox="1"/>
          <p:nvPr/>
        </p:nvSpPr>
        <p:spPr>
          <a:xfrm>
            <a:off x="731250" y="6201045"/>
            <a:ext cx="4953000" cy="275042"/>
          </a:xfrm>
          <a:prstGeom prst="rect">
            <a:avLst/>
          </a:prstGeom>
          <a:noFill/>
          <a:ln>
            <a:noFill/>
          </a:ln>
        </p:spPr>
        <p:txBody>
          <a:bodyPr spcFirstLastPara="1" wrap="square" lIns="0" tIns="37131" rIns="0" bIns="37131" anchor="t" anchorCtr="0">
            <a:spAutoFit/>
          </a:bodyPr>
          <a:lstStyle/>
          <a:p>
            <a:pPr marL="0" marR="0" lvl="0" indent="0" algn="l" rtl="0">
              <a:spcBef>
                <a:spcPts val="0"/>
              </a:spcBef>
              <a:spcAft>
                <a:spcPts val="0"/>
              </a:spcAft>
              <a:buNone/>
            </a:pPr>
            <a:r>
              <a:rPr lang="cs-CZ" sz="1300">
                <a:solidFill>
                  <a:schemeClr val="accent1"/>
                </a:solidFill>
                <a:latin typeface="Inter ExtraBold"/>
                <a:ea typeface="Inter ExtraBold"/>
                <a:cs typeface="Inter ExtraBold"/>
                <a:sym typeface="Inter ExtraBold"/>
              </a:rPr>
              <a:t> / </a:t>
            </a:r>
            <a:r>
              <a:rPr lang="cs-CZ" sz="1300">
                <a:solidFill>
                  <a:srgbClr val="CCCCCC"/>
                </a:solidFill>
                <a:latin typeface="Inter ExtraBold"/>
                <a:ea typeface="Inter ExtraBold"/>
                <a:cs typeface="Inter ExtraBold"/>
                <a:sym typeface="Inter ExtraBold"/>
              </a:rPr>
              <a:t>www.paqresearch.cz </a:t>
            </a:r>
            <a:endParaRPr sz="1300">
              <a:solidFill>
                <a:srgbClr val="CCCCCC"/>
              </a:solidFill>
              <a:latin typeface="Fira Sans"/>
              <a:ea typeface="Fira Sans"/>
              <a:cs typeface="Fira Sans"/>
              <a:sym typeface="Fira Sans"/>
            </a:endParaRPr>
          </a:p>
        </p:txBody>
      </p:sp>
    </p:spTree>
    <p:extLst>
      <p:ext uri="{BB962C8B-B14F-4D97-AF65-F5344CB8AC3E}">
        <p14:creationId xmlns:p14="http://schemas.microsoft.com/office/powerpoint/2010/main" val="28946912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Nadpis a obsah">
  <p:cSld name="Nadpis a obsah">
    <p:spTree>
      <p:nvGrpSpPr>
        <p:cNvPr id="1" name="Shape 170"/>
        <p:cNvGrpSpPr/>
        <p:nvPr/>
      </p:nvGrpSpPr>
      <p:grpSpPr>
        <a:xfrm>
          <a:off x="0" y="0"/>
          <a:ext cx="0" cy="0"/>
          <a:chOff x="0" y="0"/>
          <a:chExt cx="0" cy="0"/>
        </a:xfrm>
      </p:grpSpPr>
      <p:sp>
        <p:nvSpPr>
          <p:cNvPr id="171" name="Google Shape;171;p37"/>
          <p:cNvSpPr txBox="1">
            <a:spLocks noGrp="1"/>
          </p:cNvSpPr>
          <p:nvPr>
            <p:ph type="body" idx="1"/>
          </p:nvPr>
        </p:nvSpPr>
        <p:spPr>
          <a:xfrm>
            <a:off x="723604" y="1844825"/>
            <a:ext cx="8441864" cy="4118681"/>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dk1"/>
              </a:buClr>
              <a:buSzPts val="1800"/>
              <a:buNone/>
              <a:defRPr/>
            </a:lvl1pPr>
            <a:lvl2pPr marL="742927" lvl="1" indent="-278598" algn="l">
              <a:lnSpc>
                <a:spcPct val="100000"/>
              </a:lnSpc>
              <a:spcBef>
                <a:spcPts val="406"/>
              </a:spcBef>
              <a:spcAft>
                <a:spcPts val="0"/>
              </a:spcAft>
              <a:buSzPts val="1800"/>
              <a:buChar char="*"/>
              <a:defRPr>
                <a:solidFill>
                  <a:srgbClr val="626D78"/>
                </a:solidFill>
              </a:defRPr>
            </a:lvl2pPr>
            <a:lvl3pPr marL="1114391" lvl="2" indent="-268279" algn="l">
              <a:lnSpc>
                <a:spcPct val="100000"/>
              </a:lnSpc>
              <a:spcBef>
                <a:spcPts val="406"/>
              </a:spcBef>
              <a:spcAft>
                <a:spcPts val="0"/>
              </a:spcAft>
              <a:buSzPts val="1600"/>
              <a:buChar char="*"/>
              <a:defRPr>
                <a:solidFill>
                  <a:srgbClr val="626D78"/>
                </a:solidFill>
              </a:defRPr>
            </a:lvl3pPr>
            <a:lvl4pPr marL="1485854" lvl="3" indent="-257961" algn="l">
              <a:lnSpc>
                <a:spcPct val="100000"/>
              </a:lnSpc>
              <a:spcBef>
                <a:spcPts val="406"/>
              </a:spcBef>
              <a:spcAft>
                <a:spcPts val="0"/>
              </a:spcAft>
              <a:buSzPts val="1400"/>
              <a:buChar char="*"/>
              <a:defRPr>
                <a:solidFill>
                  <a:srgbClr val="626D78"/>
                </a:solidFill>
              </a:defRPr>
            </a:lvl4pPr>
            <a:lvl5pPr marL="1857318" lvl="4" indent="-257961" algn="l">
              <a:lnSpc>
                <a:spcPct val="100000"/>
              </a:lnSpc>
              <a:spcBef>
                <a:spcPts val="406"/>
              </a:spcBef>
              <a:spcAft>
                <a:spcPts val="0"/>
              </a:spcAft>
              <a:buSzPts val="1400"/>
              <a:buChar char="*"/>
              <a:defRPr>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72" name="Google Shape;172;p37"/>
          <p:cNvSpPr txBox="1">
            <a:spLocks noGrp="1"/>
          </p:cNvSpPr>
          <p:nvPr>
            <p:ph type="sldNum" idx="12"/>
          </p:nvPr>
        </p:nvSpPr>
        <p:spPr>
          <a:xfrm>
            <a:off x="7594600" y="70804"/>
            <a:ext cx="222885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173" name="Google Shape;173;p37"/>
          <p:cNvSpPr txBox="1">
            <a:spLocks noGrp="1"/>
          </p:cNvSpPr>
          <p:nvPr>
            <p:ph type="body" idx="2"/>
          </p:nvPr>
        </p:nvSpPr>
        <p:spPr>
          <a:xfrm>
            <a:off x="723604" y="6176965"/>
            <a:ext cx="8149332" cy="538163"/>
          </a:xfrm>
          <a:prstGeom prst="rect">
            <a:avLst/>
          </a:prstGeom>
          <a:noFill/>
          <a:ln>
            <a:noFill/>
          </a:ln>
        </p:spPr>
        <p:txBody>
          <a:bodyPr spcFirstLastPara="1" wrap="square" lIns="0" tIns="0" rIns="0" bIns="0" anchor="b" anchorCtr="0">
            <a:noAutofit/>
          </a:bodyPr>
          <a:lstStyle>
            <a:lvl1pPr marL="371464" lvl="0" indent="-185732" algn="l">
              <a:lnSpc>
                <a:spcPct val="100000"/>
              </a:lnSpc>
              <a:spcBef>
                <a:spcPts val="812"/>
              </a:spcBef>
              <a:spcAft>
                <a:spcPts val="0"/>
              </a:spcAft>
              <a:buClr>
                <a:srgbClr val="BFBFBF"/>
              </a:buClr>
              <a:buSzPts val="900"/>
              <a:buNone/>
              <a:defRPr sz="731">
                <a:solidFill>
                  <a:srgbClr val="BFBFBF"/>
                </a:solidFill>
              </a:defRPr>
            </a:lvl1pPr>
            <a:lvl2pPr marL="742927" lvl="1" indent="-278598" algn="l">
              <a:lnSpc>
                <a:spcPct val="100000"/>
              </a:lnSpc>
              <a:spcBef>
                <a:spcPts val="406"/>
              </a:spcBef>
              <a:spcAft>
                <a:spcPts val="0"/>
              </a:spcAft>
              <a:buSzPts val="1800"/>
              <a:buChar char="*"/>
              <a:defRPr>
                <a:solidFill>
                  <a:srgbClr val="626D78"/>
                </a:solidFill>
              </a:defRPr>
            </a:lvl2pPr>
            <a:lvl3pPr marL="1114391" lvl="2" indent="-268279" algn="l">
              <a:lnSpc>
                <a:spcPct val="100000"/>
              </a:lnSpc>
              <a:spcBef>
                <a:spcPts val="406"/>
              </a:spcBef>
              <a:spcAft>
                <a:spcPts val="0"/>
              </a:spcAft>
              <a:buSzPts val="1600"/>
              <a:buChar char="*"/>
              <a:defRPr>
                <a:solidFill>
                  <a:srgbClr val="626D78"/>
                </a:solidFill>
              </a:defRPr>
            </a:lvl3pPr>
            <a:lvl4pPr marL="1485854" lvl="3" indent="-257961" algn="l">
              <a:lnSpc>
                <a:spcPct val="100000"/>
              </a:lnSpc>
              <a:spcBef>
                <a:spcPts val="406"/>
              </a:spcBef>
              <a:spcAft>
                <a:spcPts val="0"/>
              </a:spcAft>
              <a:buSzPts val="1400"/>
              <a:buChar char="*"/>
              <a:defRPr>
                <a:solidFill>
                  <a:srgbClr val="626D78"/>
                </a:solidFill>
              </a:defRPr>
            </a:lvl4pPr>
            <a:lvl5pPr marL="1857318" lvl="4" indent="-257961" algn="l">
              <a:lnSpc>
                <a:spcPct val="100000"/>
              </a:lnSpc>
              <a:spcBef>
                <a:spcPts val="406"/>
              </a:spcBef>
              <a:spcAft>
                <a:spcPts val="0"/>
              </a:spcAft>
              <a:buSzPts val="1400"/>
              <a:buChar char="*"/>
              <a:defRPr>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74" name="Google Shape;174;p37"/>
          <p:cNvSpPr txBox="1">
            <a:spLocks noGrp="1"/>
          </p:cNvSpPr>
          <p:nvPr>
            <p:ph type="title"/>
          </p:nvPr>
        </p:nvSpPr>
        <p:spPr>
          <a:xfrm>
            <a:off x="731969" y="890589"/>
            <a:ext cx="8441864" cy="771019"/>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4499081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1_Kategorie, Nadpis a text">
  <p:cSld name="1_Kategorie, Nadpis a text">
    <p:spTree>
      <p:nvGrpSpPr>
        <p:cNvPr id="1" name="Shape 175"/>
        <p:cNvGrpSpPr/>
        <p:nvPr/>
      </p:nvGrpSpPr>
      <p:grpSpPr>
        <a:xfrm>
          <a:off x="0" y="0"/>
          <a:ext cx="0" cy="0"/>
          <a:chOff x="0" y="0"/>
          <a:chExt cx="0" cy="0"/>
        </a:xfrm>
      </p:grpSpPr>
      <p:sp>
        <p:nvSpPr>
          <p:cNvPr id="176" name="Google Shape;176;p38"/>
          <p:cNvSpPr txBox="1">
            <a:spLocks noGrp="1"/>
          </p:cNvSpPr>
          <p:nvPr>
            <p:ph type="title"/>
          </p:nvPr>
        </p:nvSpPr>
        <p:spPr>
          <a:xfrm>
            <a:off x="736914" y="1210425"/>
            <a:ext cx="8467797" cy="56165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 name="Google Shape;177;p38"/>
          <p:cNvSpPr txBox="1">
            <a:spLocks noGrp="1"/>
          </p:cNvSpPr>
          <p:nvPr>
            <p:ph type="body" idx="1"/>
          </p:nvPr>
        </p:nvSpPr>
        <p:spPr>
          <a:xfrm>
            <a:off x="736914" y="1888783"/>
            <a:ext cx="8451951" cy="4074723"/>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chemeClr val="dk1"/>
              </a:buClr>
              <a:buSzPts val="900"/>
              <a:buNone/>
              <a:defRPr sz="731"/>
            </a:lvl1pPr>
            <a:lvl2pPr marL="742927" lvl="1" indent="-232165" algn="l">
              <a:lnSpc>
                <a:spcPct val="100000"/>
              </a:lnSpc>
              <a:spcBef>
                <a:spcPts val="406"/>
              </a:spcBef>
              <a:spcAft>
                <a:spcPts val="0"/>
              </a:spcAft>
              <a:buSzPts val="900"/>
              <a:buChar char="*"/>
              <a:defRPr sz="731">
                <a:solidFill>
                  <a:srgbClr val="626D78"/>
                </a:solidFill>
              </a:defRPr>
            </a:lvl2pPr>
            <a:lvl3pPr marL="1114391" lvl="2" indent="-232165" algn="l">
              <a:lnSpc>
                <a:spcPct val="100000"/>
              </a:lnSpc>
              <a:spcBef>
                <a:spcPts val="406"/>
              </a:spcBef>
              <a:spcAft>
                <a:spcPts val="0"/>
              </a:spcAft>
              <a:buSzPts val="900"/>
              <a:buChar char="*"/>
              <a:defRPr sz="731">
                <a:solidFill>
                  <a:srgbClr val="626D78"/>
                </a:solidFill>
              </a:defRPr>
            </a:lvl3pPr>
            <a:lvl4pPr marL="1485854" lvl="3" indent="-232165" algn="l">
              <a:lnSpc>
                <a:spcPct val="100000"/>
              </a:lnSpc>
              <a:spcBef>
                <a:spcPts val="406"/>
              </a:spcBef>
              <a:spcAft>
                <a:spcPts val="0"/>
              </a:spcAft>
              <a:buSzPts val="900"/>
              <a:buChar char="*"/>
              <a:defRPr sz="731">
                <a:solidFill>
                  <a:srgbClr val="626D78"/>
                </a:solidFill>
              </a:defRPr>
            </a:lvl4pPr>
            <a:lvl5pPr marL="1857318" lvl="4" indent="-232165" algn="l">
              <a:lnSpc>
                <a:spcPct val="100000"/>
              </a:lnSpc>
              <a:spcBef>
                <a:spcPts val="406"/>
              </a:spcBef>
              <a:spcAft>
                <a:spcPts val="0"/>
              </a:spcAft>
              <a:buSzPts val="900"/>
              <a:buChar char="*"/>
              <a:defRPr sz="731">
                <a:solidFill>
                  <a:srgbClr val="626D78"/>
                </a:solidFill>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
        <p:nvSpPr>
          <p:cNvPr id="178" name="Google Shape;178;p38"/>
          <p:cNvSpPr txBox="1">
            <a:spLocks noGrp="1"/>
          </p:cNvSpPr>
          <p:nvPr>
            <p:ph type="sldNum" idx="12"/>
          </p:nvPr>
        </p:nvSpPr>
        <p:spPr>
          <a:xfrm>
            <a:off x="7601378" y="18719"/>
            <a:ext cx="2097427" cy="365125"/>
          </a:xfrm>
          <a:prstGeom prst="rect">
            <a:avLst/>
          </a:prstGeom>
          <a:noFill/>
          <a:ln>
            <a:noFill/>
          </a:ln>
        </p:spPr>
        <p:txBody>
          <a:bodyPr spcFirstLastPara="1" wrap="square" lIns="0" tIns="45700" rIns="0" bIns="45700" anchor="t" anchorCtr="0">
            <a:noAutofit/>
          </a:bodyPr>
          <a:lstStyle>
            <a:lvl1pPr marL="0" marR="0" lvl="0" indent="0" algn="r" rtl="0">
              <a:spcBef>
                <a:spcPts val="0"/>
              </a:spcBef>
              <a:buNone/>
              <a:defRPr sz="1137" b="1">
                <a:solidFill>
                  <a:schemeClr val="accent1"/>
                </a:solidFill>
                <a:latin typeface="Fira Sans"/>
                <a:ea typeface="Fira Sans"/>
                <a:cs typeface="Fira Sans"/>
                <a:sym typeface="Fira Sans"/>
              </a:defRPr>
            </a:lvl1pPr>
            <a:lvl2pPr marL="0" marR="0" lvl="1" indent="0" algn="r" rtl="0">
              <a:spcBef>
                <a:spcPts val="0"/>
              </a:spcBef>
              <a:buNone/>
              <a:defRPr sz="1137" b="1">
                <a:solidFill>
                  <a:schemeClr val="accent1"/>
                </a:solidFill>
                <a:latin typeface="Fira Sans"/>
                <a:ea typeface="Fira Sans"/>
                <a:cs typeface="Fira Sans"/>
                <a:sym typeface="Fira Sans"/>
              </a:defRPr>
            </a:lvl2pPr>
            <a:lvl3pPr marL="0" marR="0" lvl="2" indent="0" algn="r" rtl="0">
              <a:spcBef>
                <a:spcPts val="0"/>
              </a:spcBef>
              <a:buNone/>
              <a:defRPr sz="1137" b="1">
                <a:solidFill>
                  <a:schemeClr val="accent1"/>
                </a:solidFill>
                <a:latin typeface="Fira Sans"/>
                <a:ea typeface="Fira Sans"/>
                <a:cs typeface="Fira Sans"/>
                <a:sym typeface="Fira Sans"/>
              </a:defRPr>
            </a:lvl3pPr>
            <a:lvl4pPr marL="0" marR="0" lvl="3" indent="0" algn="r" rtl="0">
              <a:spcBef>
                <a:spcPts val="0"/>
              </a:spcBef>
              <a:buNone/>
              <a:defRPr sz="1137" b="1">
                <a:solidFill>
                  <a:schemeClr val="accent1"/>
                </a:solidFill>
                <a:latin typeface="Fira Sans"/>
                <a:ea typeface="Fira Sans"/>
                <a:cs typeface="Fira Sans"/>
                <a:sym typeface="Fira Sans"/>
              </a:defRPr>
            </a:lvl4pPr>
            <a:lvl5pPr marL="0" marR="0" lvl="4" indent="0" algn="r" rtl="0">
              <a:spcBef>
                <a:spcPts val="0"/>
              </a:spcBef>
              <a:buNone/>
              <a:defRPr sz="1137" b="1">
                <a:solidFill>
                  <a:schemeClr val="accent1"/>
                </a:solidFill>
                <a:latin typeface="Fira Sans"/>
                <a:ea typeface="Fira Sans"/>
                <a:cs typeface="Fira Sans"/>
                <a:sym typeface="Fira Sans"/>
              </a:defRPr>
            </a:lvl5pPr>
            <a:lvl6pPr marL="0" marR="0" lvl="5" indent="0" algn="r" rtl="0">
              <a:spcBef>
                <a:spcPts val="0"/>
              </a:spcBef>
              <a:buNone/>
              <a:defRPr sz="1137" b="1">
                <a:solidFill>
                  <a:schemeClr val="accent1"/>
                </a:solidFill>
                <a:latin typeface="Fira Sans"/>
                <a:ea typeface="Fira Sans"/>
                <a:cs typeface="Fira Sans"/>
                <a:sym typeface="Fira Sans"/>
              </a:defRPr>
            </a:lvl6pPr>
            <a:lvl7pPr marL="0" marR="0" lvl="6" indent="0" algn="r" rtl="0">
              <a:spcBef>
                <a:spcPts val="0"/>
              </a:spcBef>
              <a:buNone/>
              <a:defRPr sz="1137" b="1">
                <a:solidFill>
                  <a:schemeClr val="accent1"/>
                </a:solidFill>
                <a:latin typeface="Fira Sans"/>
                <a:ea typeface="Fira Sans"/>
                <a:cs typeface="Fira Sans"/>
                <a:sym typeface="Fira Sans"/>
              </a:defRPr>
            </a:lvl7pPr>
            <a:lvl8pPr marL="0" marR="0" lvl="7" indent="0" algn="r" rtl="0">
              <a:spcBef>
                <a:spcPts val="0"/>
              </a:spcBef>
              <a:buNone/>
              <a:defRPr sz="1137" b="1">
                <a:solidFill>
                  <a:schemeClr val="accent1"/>
                </a:solidFill>
                <a:latin typeface="Fira Sans"/>
                <a:ea typeface="Fira Sans"/>
                <a:cs typeface="Fira Sans"/>
                <a:sym typeface="Fira Sans"/>
              </a:defRPr>
            </a:lvl8pPr>
            <a:lvl9pPr marL="0" marR="0" lvl="8" indent="0" algn="r" rtl="0">
              <a:spcBef>
                <a:spcPts val="0"/>
              </a:spcBef>
              <a:buNone/>
              <a:defRPr sz="1137" b="1">
                <a:solidFill>
                  <a:schemeClr val="accent1"/>
                </a:solidFill>
                <a:latin typeface="Fira Sans"/>
                <a:ea typeface="Fira Sans"/>
                <a:cs typeface="Fira Sans"/>
                <a:sym typeface="Fira Sans"/>
              </a:defRPr>
            </a:lvl9pPr>
          </a:lstStyle>
          <a:p>
            <a:fld id="{00000000-1234-1234-1234-123412341234}" type="slidenum">
              <a:rPr lang="cs-CZ" smtClean="0"/>
              <a:pPr/>
              <a:t>‹#›</a:t>
            </a:fld>
            <a:endParaRPr lang="cs-CZ"/>
          </a:p>
        </p:txBody>
      </p:sp>
      <p:sp>
        <p:nvSpPr>
          <p:cNvPr id="179" name="Google Shape;179;p38"/>
          <p:cNvSpPr txBox="1">
            <a:spLocks noGrp="1"/>
          </p:cNvSpPr>
          <p:nvPr>
            <p:ph type="body" idx="2"/>
          </p:nvPr>
        </p:nvSpPr>
        <p:spPr>
          <a:xfrm>
            <a:off x="736913" y="836714"/>
            <a:ext cx="2984820" cy="257007"/>
          </a:xfrm>
          <a:prstGeom prst="rect">
            <a:avLst/>
          </a:prstGeom>
          <a:noFill/>
          <a:ln>
            <a:noFill/>
          </a:ln>
        </p:spPr>
        <p:txBody>
          <a:bodyPr spcFirstLastPara="1" wrap="square" lIns="0" tIns="0" rIns="0" bIns="0" anchor="b" anchorCtr="0">
            <a:noAutofit/>
          </a:bodyPr>
          <a:lstStyle>
            <a:lvl1pPr marL="371464" lvl="0" indent="-185732" algn="l">
              <a:lnSpc>
                <a:spcPct val="100000"/>
              </a:lnSpc>
              <a:spcBef>
                <a:spcPts val="812"/>
              </a:spcBef>
              <a:spcAft>
                <a:spcPts val="0"/>
              </a:spcAft>
              <a:buClr>
                <a:schemeClr val="dk1"/>
              </a:buClr>
              <a:buSzPts val="1400"/>
              <a:buNone/>
              <a:defRPr sz="1137">
                <a:latin typeface="Inter"/>
                <a:ea typeface="Inter"/>
                <a:cs typeface="Inter"/>
                <a:sym typeface="Inter"/>
              </a:defRPr>
            </a:lvl1pPr>
            <a:lvl2pPr marL="742927" lvl="1" indent="-247642" algn="l">
              <a:lnSpc>
                <a:spcPct val="100000"/>
              </a:lnSpc>
              <a:spcBef>
                <a:spcPts val="406"/>
              </a:spcBef>
              <a:spcAft>
                <a:spcPts val="0"/>
              </a:spcAft>
              <a:buSzPts val="1200"/>
              <a:buChar char="*"/>
              <a:defRPr sz="975">
                <a:latin typeface="Inter"/>
                <a:ea typeface="Inter"/>
                <a:cs typeface="Inter"/>
                <a:sym typeface="Inter"/>
              </a:defRPr>
            </a:lvl2pPr>
            <a:lvl3pPr marL="1114391" lvl="2" indent="-247642" algn="l">
              <a:lnSpc>
                <a:spcPct val="100000"/>
              </a:lnSpc>
              <a:spcBef>
                <a:spcPts val="406"/>
              </a:spcBef>
              <a:spcAft>
                <a:spcPts val="0"/>
              </a:spcAft>
              <a:buSzPts val="1200"/>
              <a:buChar char="*"/>
              <a:defRPr sz="975">
                <a:latin typeface="Inter"/>
                <a:ea typeface="Inter"/>
                <a:cs typeface="Inter"/>
                <a:sym typeface="Inter"/>
              </a:defRPr>
            </a:lvl3pPr>
            <a:lvl4pPr marL="1485854" lvl="3" indent="-247642" algn="l">
              <a:lnSpc>
                <a:spcPct val="100000"/>
              </a:lnSpc>
              <a:spcBef>
                <a:spcPts val="406"/>
              </a:spcBef>
              <a:spcAft>
                <a:spcPts val="0"/>
              </a:spcAft>
              <a:buSzPts val="1200"/>
              <a:buChar char="*"/>
              <a:defRPr sz="975">
                <a:latin typeface="Inter"/>
                <a:ea typeface="Inter"/>
                <a:cs typeface="Inter"/>
                <a:sym typeface="Inter"/>
              </a:defRPr>
            </a:lvl4pPr>
            <a:lvl5pPr marL="1857318" lvl="4" indent="-247642" algn="l">
              <a:lnSpc>
                <a:spcPct val="100000"/>
              </a:lnSpc>
              <a:spcBef>
                <a:spcPts val="406"/>
              </a:spcBef>
              <a:spcAft>
                <a:spcPts val="0"/>
              </a:spcAft>
              <a:buSzPts val="1200"/>
              <a:buChar char="*"/>
              <a:defRPr sz="975">
                <a:latin typeface="Inter"/>
                <a:ea typeface="Inter"/>
                <a:cs typeface="Inter"/>
                <a:sym typeface="Inter"/>
              </a:defRPr>
            </a:lvl5pPr>
            <a:lvl6pPr marL="2228781" lvl="5" indent="-278598" algn="l">
              <a:lnSpc>
                <a:spcPct val="90000"/>
              </a:lnSpc>
              <a:spcBef>
                <a:spcPts val="406"/>
              </a:spcBef>
              <a:spcAft>
                <a:spcPts val="0"/>
              </a:spcAft>
              <a:buClr>
                <a:schemeClr val="dk1"/>
              </a:buClr>
              <a:buSzPts val="1800"/>
              <a:buChar char="•"/>
              <a:defRPr/>
            </a:lvl6pPr>
            <a:lvl7pPr marL="2600245" lvl="6" indent="-278598" algn="l">
              <a:lnSpc>
                <a:spcPct val="90000"/>
              </a:lnSpc>
              <a:spcBef>
                <a:spcPts val="406"/>
              </a:spcBef>
              <a:spcAft>
                <a:spcPts val="0"/>
              </a:spcAft>
              <a:buClr>
                <a:schemeClr val="dk1"/>
              </a:buClr>
              <a:buSzPts val="1800"/>
              <a:buChar char="•"/>
              <a:defRPr/>
            </a:lvl7pPr>
            <a:lvl8pPr marL="2971709" lvl="7" indent="-278598" algn="l">
              <a:lnSpc>
                <a:spcPct val="90000"/>
              </a:lnSpc>
              <a:spcBef>
                <a:spcPts val="406"/>
              </a:spcBef>
              <a:spcAft>
                <a:spcPts val="0"/>
              </a:spcAft>
              <a:buClr>
                <a:schemeClr val="dk1"/>
              </a:buClr>
              <a:buSzPts val="1800"/>
              <a:buChar char="•"/>
              <a:defRPr/>
            </a:lvl8pPr>
            <a:lvl9pPr marL="3343172" lvl="8" indent="-278598"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7720138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Záhlaví oddílu" type="secHead">
  <p:cSld name="Záhlaví oddílu">
    <p:spTree>
      <p:nvGrpSpPr>
        <p:cNvPr id="1" name="Shape 191"/>
        <p:cNvGrpSpPr/>
        <p:nvPr/>
      </p:nvGrpSpPr>
      <p:grpSpPr>
        <a:xfrm>
          <a:off x="0" y="0"/>
          <a:ext cx="0" cy="0"/>
          <a:chOff x="0" y="0"/>
          <a:chExt cx="0" cy="0"/>
        </a:xfrm>
      </p:grpSpPr>
      <p:sp>
        <p:nvSpPr>
          <p:cNvPr id="192" name="Google Shape;192;p41"/>
          <p:cNvSpPr txBox="1">
            <a:spLocks noGrp="1"/>
          </p:cNvSpPr>
          <p:nvPr>
            <p:ph type="title"/>
          </p:nvPr>
        </p:nvSpPr>
        <p:spPr>
          <a:xfrm>
            <a:off x="723604" y="1709741"/>
            <a:ext cx="8496200" cy="2852737"/>
          </a:xfrm>
          <a:prstGeom prst="rect">
            <a:avLst/>
          </a:prstGeom>
          <a:noFill/>
          <a:ln>
            <a:noFill/>
          </a:ln>
        </p:spPr>
        <p:txBody>
          <a:bodyPr spcFirstLastPara="1" wrap="square" lIns="0" tIns="0" rIns="0" bIns="0" anchor="b" anchorCtr="0">
            <a:normAutofit/>
          </a:bodyPr>
          <a:lstStyle>
            <a:lvl1pPr lvl="0" algn="l">
              <a:lnSpc>
                <a:spcPct val="100000"/>
              </a:lnSpc>
              <a:spcBef>
                <a:spcPts val="0"/>
              </a:spcBef>
              <a:spcAft>
                <a:spcPts val="0"/>
              </a:spcAft>
              <a:buClr>
                <a:schemeClr val="dk1"/>
              </a:buClr>
              <a:buSzPts val="6000"/>
              <a:buFont typeface="Inter ExtraBold"/>
              <a:buNone/>
              <a:defRPr sz="4875"/>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 name="Google Shape;193;p41"/>
          <p:cNvSpPr txBox="1">
            <a:spLocks noGrp="1"/>
          </p:cNvSpPr>
          <p:nvPr>
            <p:ph type="body" idx="1"/>
          </p:nvPr>
        </p:nvSpPr>
        <p:spPr>
          <a:xfrm>
            <a:off x="730448" y="4589465"/>
            <a:ext cx="8451951" cy="1374041"/>
          </a:xfrm>
          <a:prstGeom prst="rect">
            <a:avLst/>
          </a:prstGeom>
          <a:noFill/>
          <a:ln>
            <a:noFill/>
          </a:ln>
        </p:spPr>
        <p:txBody>
          <a:bodyPr spcFirstLastPara="1" wrap="square" lIns="0" tIns="0" rIns="0" bIns="0" anchor="t" anchorCtr="0">
            <a:noAutofit/>
          </a:bodyPr>
          <a:lstStyle>
            <a:lvl1pPr marL="371464" lvl="0" indent="-185732" algn="l">
              <a:lnSpc>
                <a:spcPct val="100000"/>
              </a:lnSpc>
              <a:spcBef>
                <a:spcPts val="812"/>
              </a:spcBef>
              <a:spcAft>
                <a:spcPts val="0"/>
              </a:spcAft>
              <a:buClr>
                <a:srgbClr val="898A8A"/>
              </a:buClr>
              <a:buSzPts val="2400"/>
              <a:buNone/>
              <a:defRPr sz="1950">
                <a:solidFill>
                  <a:srgbClr val="898A8A"/>
                </a:solidFill>
              </a:defRPr>
            </a:lvl1pPr>
            <a:lvl2pPr marL="742927" lvl="1" indent="-185732" algn="l">
              <a:lnSpc>
                <a:spcPct val="100000"/>
              </a:lnSpc>
              <a:spcBef>
                <a:spcPts val="406"/>
              </a:spcBef>
              <a:spcAft>
                <a:spcPts val="0"/>
              </a:spcAft>
              <a:buSzPts val="2000"/>
              <a:buNone/>
              <a:defRPr sz="1625">
                <a:solidFill>
                  <a:srgbClr val="898A8A"/>
                </a:solidFill>
              </a:defRPr>
            </a:lvl2pPr>
            <a:lvl3pPr marL="1114391" lvl="2" indent="-185732" algn="l">
              <a:lnSpc>
                <a:spcPct val="100000"/>
              </a:lnSpc>
              <a:spcBef>
                <a:spcPts val="406"/>
              </a:spcBef>
              <a:spcAft>
                <a:spcPts val="0"/>
              </a:spcAft>
              <a:buSzPts val="1800"/>
              <a:buNone/>
              <a:defRPr sz="1462">
                <a:solidFill>
                  <a:srgbClr val="898A8A"/>
                </a:solidFill>
              </a:defRPr>
            </a:lvl3pPr>
            <a:lvl4pPr marL="1485854" lvl="3" indent="-185732" algn="l">
              <a:lnSpc>
                <a:spcPct val="100000"/>
              </a:lnSpc>
              <a:spcBef>
                <a:spcPts val="406"/>
              </a:spcBef>
              <a:spcAft>
                <a:spcPts val="0"/>
              </a:spcAft>
              <a:buSzPts val="1600"/>
              <a:buNone/>
              <a:defRPr sz="1300">
                <a:solidFill>
                  <a:srgbClr val="898A8A"/>
                </a:solidFill>
              </a:defRPr>
            </a:lvl4pPr>
            <a:lvl5pPr marL="1857318" lvl="4" indent="-185732" algn="l">
              <a:lnSpc>
                <a:spcPct val="100000"/>
              </a:lnSpc>
              <a:spcBef>
                <a:spcPts val="406"/>
              </a:spcBef>
              <a:spcAft>
                <a:spcPts val="0"/>
              </a:spcAft>
              <a:buSzPts val="1600"/>
              <a:buNone/>
              <a:defRPr sz="1300">
                <a:solidFill>
                  <a:srgbClr val="898A8A"/>
                </a:solidFill>
              </a:defRPr>
            </a:lvl5pPr>
            <a:lvl6pPr marL="2228781" lvl="5" indent="-185732" algn="l">
              <a:lnSpc>
                <a:spcPct val="90000"/>
              </a:lnSpc>
              <a:spcBef>
                <a:spcPts val="406"/>
              </a:spcBef>
              <a:spcAft>
                <a:spcPts val="0"/>
              </a:spcAft>
              <a:buClr>
                <a:srgbClr val="898A8A"/>
              </a:buClr>
              <a:buSzPts val="1600"/>
              <a:buNone/>
              <a:defRPr sz="1300">
                <a:solidFill>
                  <a:srgbClr val="898A8A"/>
                </a:solidFill>
              </a:defRPr>
            </a:lvl6pPr>
            <a:lvl7pPr marL="2600245" lvl="6" indent="-185732" algn="l">
              <a:lnSpc>
                <a:spcPct val="90000"/>
              </a:lnSpc>
              <a:spcBef>
                <a:spcPts val="406"/>
              </a:spcBef>
              <a:spcAft>
                <a:spcPts val="0"/>
              </a:spcAft>
              <a:buClr>
                <a:srgbClr val="898A8A"/>
              </a:buClr>
              <a:buSzPts val="1600"/>
              <a:buNone/>
              <a:defRPr sz="1300">
                <a:solidFill>
                  <a:srgbClr val="898A8A"/>
                </a:solidFill>
              </a:defRPr>
            </a:lvl7pPr>
            <a:lvl8pPr marL="2971709" lvl="7" indent="-185732" algn="l">
              <a:lnSpc>
                <a:spcPct val="90000"/>
              </a:lnSpc>
              <a:spcBef>
                <a:spcPts val="406"/>
              </a:spcBef>
              <a:spcAft>
                <a:spcPts val="0"/>
              </a:spcAft>
              <a:buClr>
                <a:srgbClr val="898A8A"/>
              </a:buClr>
              <a:buSzPts val="1600"/>
              <a:buNone/>
              <a:defRPr sz="1300">
                <a:solidFill>
                  <a:srgbClr val="898A8A"/>
                </a:solidFill>
              </a:defRPr>
            </a:lvl8pPr>
            <a:lvl9pPr marL="3343172" lvl="8" indent="-185732" algn="l">
              <a:lnSpc>
                <a:spcPct val="90000"/>
              </a:lnSpc>
              <a:spcBef>
                <a:spcPts val="406"/>
              </a:spcBef>
              <a:spcAft>
                <a:spcPts val="0"/>
              </a:spcAft>
              <a:buClr>
                <a:srgbClr val="898A8A"/>
              </a:buClr>
              <a:buSzPts val="1600"/>
              <a:buNone/>
              <a:defRPr sz="1300">
                <a:solidFill>
                  <a:srgbClr val="898A8A"/>
                </a:solidFill>
              </a:defRPr>
            </a:lvl9pPr>
          </a:lstStyle>
          <a:p>
            <a:endParaRPr/>
          </a:p>
        </p:txBody>
      </p:sp>
      <p:sp>
        <p:nvSpPr>
          <p:cNvPr id="194" name="Google Shape;194;p41"/>
          <p:cNvSpPr txBox="1"/>
          <p:nvPr/>
        </p:nvSpPr>
        <p:spPr>
          <a:xfrm>
            <a:off x="230869" y="6262450"/>
            <a:ext cx="3194685" cy="225028"/>
          </a:xfrm>
          <a:prstGeom prst="rect">
            <a:avLst/>
          </a:prstGeom>
          <a:noFill/>
          <a:ln>
            <a:noFill/>
          </a:ln>
        </p:spPr>
        <p:txBody>
          <a:bodyPr spcFirstLastPara="1" wrap="square" lIns="74283" tIns="37131" rIns="74283" bIns="37131" anchor="ctr" anchorCtr="0">
            <a:spAutoFit/>
          </a:bodyPr>
          <a:lstStyle/>
          <a:p>
            <a:pPr marL="0" marR="0" lvl="0" indent="0" algn="l" rtl="0">
              <a:spcBef>
                <a:spcPts val="0"/>
              </a:spcBef>
              <a:spcAft>
                <a:spcPts val="0"/>
              </a:spcAft>
              <a:buNone/>
            </a:pPr>
            <a:r>
              <a:rPr lang="cs-CZ" sz="975">
                <a:solidFill>
                  <a:schemeClr val="accent1"/>
                </a:solidFill>
                <a:latin typeface="Inter"/>
                <a:ea typeface="Inter"/>
                <a:cs typeface="Inter"/>
                <a:sym typeface="Inter"/>
              </a:rPr>
              <a:t>//</a:t>
            </a:r>
            <a:r>
              <a:rPr lang="cs-CZ" sz="975">
                <a:solidFill>
                  <a:schemeClr val="dk1"/>
                </a:solidFill>
                <a:latin typeface="Inter"/>
                <a:ea typeface="Inter"/>
                <a:cs typeface="Inter"/>
                <a:sym typeface="Inter"/>
              </a:rPr>
              <a:t> </a:t>
            </a:r>
            <a:r>
              <a:rPr lang="cs-CZ" sz="975">
                <a:solidFill>
                  <a:srgbClr val="BFBFBF"/>
                </a:solidFill>
                <a:latin typeface="Inter"/>
                <a:ea typeface="Inter"/>
                <a:cs typeface="Inter"/>
                <a:sym typeface="Inter"/>
              </a:rPr>
              <a:t>www.paqresearch.cz</a:t>
            </a:r>
            <a:endParaRPr sz="1137"/>
          </a:p>
        </p:txBody>
      </p:sp>
    </p:spTree>
    <p:extLst>
      <p:ext uri="{BB962C8B-B14F-4D97-AF65-F5344CB8AC3E}">
        <p14:creationId xmlns:p14="http://schemas.microsoft.com/office/powerpoint/2010/main" val="2830611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theme" Target="../theme/theme2.xml"/><Relationship Id="rId1"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34" Type="http://schemas.openxmlformats.org/officeDocument/2006/relationships/oleObject" Target="../embeddings/oleObject1.bin"/><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tags" Target="../tags/tag1.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theme" Target="../theme/theme6.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image" Target="../media/image58.png"/><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image" Target="../media/image57.emf"/><Relationship Id="rId8" Type="http://schemas.openxmlformats.org/officeDocument/2006/relationships/slideLayout" Target="../slideLayouts/slideLayout8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image" Target="../media/image84.emf"/><Relationship Id="rId2" Type="http://schemas.openxmlformats.org/officeDocument/2006/relationships/slideLayout" Target="../slideLayouts/slideLayout112.xml"/><Relationship Id="rId16" Type="http://schemas.openxmlformats.org/officeDocument/2006/relationships/oleObject" Target="../embeddings/oleObject2.bin"/><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tags" Target="../tags/tag2.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Zástupný symbol pro číslo snímku 5"/>
          <p:cNvSpPr>
            <a:spLocks noGrp="1"/>
          </p:cNvSpPr>
          <p:nvPr>
            <p:ph type="sldNum" sz="quarter" idx="4"/>
          </p:nvPr>
        </p:nvSpPr>
        <p:spPr>
          <a:xfrm>
            <a:off x="7118022" y="5749931"/>
            <a:ext cx="2311400" cy="365125"/>
          </a:xfrm>
          <a:prstGeom prst="rect">
            <a:avLst/>
          </a:prstGeom>
        </p:spPr>
        <p:txBody>
          <a:bodyPr vert="horz" lIns="122950" tIns="61475" rIns="122950" bIns="61475" rtlCol="0" anchor="ctr"/>
          <a:lstStyle>
            <a:lvl1pPr algn="r">
              <a:defRPr sz="1300">
                <a:solidFill>
                  <a:schemeClr val="tx1">
                    <a:tint val="75000"/>
                  </a:schemeClr>
                </a:solidFill>
              </a:defRPr>
            </a:lvl1pPr>
          </a:lstStyle>
          <a:p>
            <a:fld id="{177AD5F7-9A70-43A8-B2E8-1F114AD105DD}" type="slidenum">
              <a:rPr lang="cs-CZ" smtClean="0"/>
              <a:pPr/>
              <a:t>‹#›</a:t>
            </a:fld>
            <a:endParaRPr lang="cs-CZ"/>
          </a:p>
        </p:txBody>
      </p:sp>
    </p:spTree>
  </p:cSld>
  <p:clrMap bg1="lt1" tx1="dk1" bg2="lt2" tx2="dk2" accent1="accent1" accent2="accent2" accent3="accent3" accent4="accent4" accent5="accent5" accent6="accent6" hlink="hlink" folHlink="folHlink"/>
  <p:sldLayoutIdLst>
    <p:sldLayoutId id="2147484002" r:id="rId1"/>
    <p:sldLayoutId id="2147484469" r:id="rId2"/>
    <p:sldLayoutId id="2147483661" r:id="rId3"/>
    <p:sldLayoutId id="2147484472" r:id="rId4"/>
    <p:sldLayoutId id="2147483660" r:id="rId5"/>
    <p:sldLayoutId id="2147484468" r:id="rId6"/>
    <p:sldLayoutId id="2147483662" r:id="rId7"/>
    <p:sldLayoutId id="2147483663" r:id="rId8"/>
    <p:sldLayoutId id="2147484471" r:id="rId9"/>
    <p:sldLayoutId id="2147483752" r:id="rId10"/>
    <p:sldLayoutId id="2147484265" r:id="rId11"/>
    <p:sldLayoutId id="2147484266" r:id="rId12"/>
    <p:sldLayoutId id="2147484474" r:id="rId13"/>
    <p:sldLayoutId id="2147484475" r:id="rId14"/>
    <p:sldLayoutId id="2147484725" r:id="rId15"/>
    <p:sldLayoutId id="2147484726" r:id="rId16"/>
    <p:sldLayoutId id="2147484727" r:id="rId17"/>
    <p:sldLayoutId id="2147484728" r:id="rId18"/>
    <p:sldLayoutId id="2147484729" r:id="rId19"/>
    <p:sldLayoutId id="2147484730" r:id="rId20"/>
    <p:sldLayoutId id="2147484731" r:id="rId21"/>
    <p:sldLayoutId id="2147484732" r:id="rId22"/>
    <p:sldLayoutId id="2147484733" r:id="rId23"/>
    <p:sldLayoutId id="2147484734" r:id="rId24"/>
    <p:sldLayoutId id="2147484735" r:id="rId25"/>
    <p:sldLayoutId id="2147484736" r:id="rId26"/>
    <p:sldLayoutId id="2147484737" r:id="rId27"/>
    <p:sldLayoutId id="2147484738" r:id="rId28"/>
    <p:sldLayoutId id="2147484739" r:id="rId29"/>
    <p:sldLayoutId id="2147484740" r:id="rId30"/>
    <p:sldLayoutId id="2147484741" r:id="rId31"/>
    <p:sldLayoutId id="2147484742" r:id="rId32"/>
    <p:sldLayoutId id="2147484743" r:id="rId33"/>
    <p:sldLayoutId id="2147484744" r:id="rId34"/>
    <p:sldLayoutId id="2147484745" r:id="rId35"/>
    <p:sldLayoutId id="2147484746" r:id="rId36"/>
    <p:sldLayoutId id="2147484747" r:id="rId37"/>
    <p:sldLayoutId id="2147484748" r:id="rId38"/>
    <p:sldLayoutId id="2147484749" r:id="rId39"/>
    <p:sldLayoutId id="2147484750" r:id="rId40"/>
    <p:sldLayoutId id="2147484751" r:id="rId41"/>
    <p:sldLayoutId id="2147484753" r:id="rId42"/>
    <p:sldLayoutId id="2147484754" r:id="rId43"/>
    <p:sldLayoutId id="2147484755" r:id="rId44"/>
  </p:sldLayoutIdLst>
  <p:txStyles>
    <p:titleStyle>
      <a:lvl1pPr algn="ctr" defTabSz="999093" rtl="0" eaLnBrk="1" latinLnBrk="0" hangingPunct="1">
        <a:spcBef>
          <a:spcPct val="0"/>
        </a:spcBef>
        <a:buNone/>
        <a:defRPr sz="4794" kern="1200">
          <a:solidFill>
            <a:schemeClr val="tx1"/>
          </a:solidFill>
          <a:latin typeface="+mj-lt"/>
          <a:ea typeface="+mj-ea"/>
          <a:cs typeface="+mj-cs"/>
        </a:defRPr>
      </a:lvl1pPr>
    </p:titleStyle>
    <p:bodyStyle>
      <a:lvl1pPr marL="374660" indent="-374660" algn="l" defTabSz="999093" rtl="0" eaLnBrk="1" latinLnBrk="0" hangingPunct="1">
        <a:spcBef>
          <a:spcPct val="20000"/>
        </a:spcBef>
        <a:buFont typeface="Arial" pitchFamily="34" charset="0"/>
        <a:buChar char="•"/>
        <a:defRPr sz="3494" kern="1200">
          <a:solidFill>
            <a:schemeClr val="tx1"/>
          </a:solidFill>
          <a:latin typeface="+mn-lt"/>
          <a:ea typeface="+mn-ea"/>
          <a:cs typeface="+mn-cs"/>
        </a:defRPr>
      </a:lvl1pPr>
      <a:lvl2pPr marL="811764" indent="-312216" algn="l" defTabSz="999093" rtl="0" eaLnBrk="1" latinLnBrk="0" hangingPunct="1">
        <a:spcBef>
          <a:spcPct val="20000"/>
        </a:spcBef>
        <a:buFont typeface="Arial" pitchFamily="34" charset="0"/>
        <a:buChar char="–"/>
        <a:defRPr sz="3088" kern="1200">
          <a:solidFill>
            <a:schemeClr val="tx1"/>
          </a:solidFill>
          <a:latin typeface="+mn-lt"/>
          <a:ea typeface="+mn-ea"/>
          <a:cs typeface="+mn-cs"/>
        </a:defRPr>
      </a:lvl2pPr>
      <a:lvl3pPr marL="1248867" indent="-249774" algn="l" defTabSz="99909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8414" indent="-249774" algn="l" defTabSz="999093" rtl="0" eaLnBrk="1" latinLnBrk="0" hangingPunct="1">
        <a:spcBef>
          <a:spcPct val="20000"/>
        </a:spcBef>
        <a:buFont typeface="Arial" pitchFamily="34" charset="0"/>
        <a:buChar char="–"/>
        <a:defRPr sz="2194" kern="1200">
          <a:solidFill>
            <a:schemeClr val="tx1"/>
          </a:solidFill>
          <a:latin typeface="+mn-lt"/>
          <a:ea typeface="+mn-ea"/>
          <a:cs typeface="+mn-cs"/>
        </a:defRPr>
      </a:lvl4pPr>
      <a:lvl5pPr marL="2247960" indent="-249774" algn="l" defTabSz="999093" rtl="0" eaLnBrk="1" latinLnBrk="0" hangingPunct="1">
        <a:spcBef>
          <a:spcPct val="20000"/>
        </a:spcBef>
        <a:buFont typeface="Arial" pitchFamily="34" charset="0"/>
        <a:buChar char="»"/>
        <a:defRPr sz="2194" kern="1200">
          <a:solidFill>
            <a:schemeClr val="tx1"/>
          </a:solidFill>
          <a:latin typeface="+mn-lt"/>
          <a:ea typeface="+mn-ea"/>
          <a:cs typeface="+mn-cs"/>
        </a:defRPr>
      </a:lvl5pPr>
      <a:lvl6pPr marL="2747507" indent="-249774" algn="l" defTabSz="999093" rtl="0" eaLnBrk="1" latinLnBrk="0" hangingPunct="1">
        <a:spcBef>
          <a:spcPct val="20000"/>
        </a:spcBef>
        <a:buFont typeface="Arial" pitchFamily="34" charset="0"/>
        <a:buChar char="•"/>
        <a:defRPr sz="2194" kern="1200">
          <a:solidFill>
            <a:schemeClr val="tx1"/>
          </a:solidFill>
          <a:latin typeface="+mn-lt"/>
          <a:ea typeface="+mn-ea"/>
          <a:cs typeface="+mn-cs"/>
        </a:defRPr>
      </a:lvl6pPr>
      <a:lvl7pPr marL="3247054" indent="-249774" algn="l" defTabSz="999093" rtl="0" eaLnBrk="1" latinLnBrk="0" hangingPunct="1">
        <a:spcBef>
          <a:spcPct val="20000"/>
        </a:spcBef>
        <a:buFont typeface="Arial" pitchFamily="34" charset="0"/>
        <a:buChar char="•"/>
        <a:defRPr sz="2194" kern="1200">
          <a:solidFill>
            <a:schemeClr val="tx1"/>
          </a:solidFill>
          <a:latin typeface="+mn-lt"/>
          <a:ea typeface="+mn-ea"/>
          <a:cs typeface="+mn-cs"/>
        </a:defRPr>
      </a:lvl7pPr>
      <a:lvl8pPr marL="3746600" indent="-249774" algn="l" defTabSz="999093" rtl="0" eaLnBrk="1" latinLnBrk="0" hangingPunct="1">
        <a:spcBef>
          <a:spcPct val="20000"/>
        </a:spcBef>
        <a:buFont typeface="Arial" pitchFamily="34" charset="0"/>
        <a:buChar char="•"/>
        <a:defRPr sz="2194" kern="1200">
          <a:solidFill>
            <a:schemeClr val="tx1"/>
          </a:solidFill>
          <a:latin typeface="+mn-lt"/>
          <a:ea typeface="+mn-ea"/>
          <a:cs typeface="+mn-cs"/>
        </a:defRPr>
      </a:lvl8pPr>
      <a:lvl9pPr marL="4246148" indent="-249774" algn="l" defTabSz="999093" rtl="0" eaLnBrk="1" latinLnBrk="0" hangingPunct="1">
        <a:spcBef>
          <a:spcPct val="20000"/>
        </a:spcBef>
        <a:buFont typeface="Arial" pitchFamily="34" charset="0"/>
        <a:buChar char="•"/>
        <a:defRPr sz="2194" kern="1200">
          <a:solidFill>
            <a:schemeClr val="tx1"/>
          </a:solidFill>
          <a:latin typeface="+mn-lt"/>
          <a:ea typeface="+mn-ea"/>
          <a:cs typeface="+mn-cs"/>
        </a:defRPr>
      </a:lvl9pPr>
    </p:bodyStyle>
    <p:otherStyle>
      <a:defPPr>
        <a:defRPr lang="cs-CZ"/>
      </a:defPPr>
      <a:lvl1pPr marL="0" algn="l" defTabSz="999093" rtl="0" eaLnBrk="1" latinLnBrk="0" hangingPunct="1">
        <a:defRPr sz="1950" kern="1200">
          <a:solidFill>
            <a:schemeClr val="tx1"/>
          </a:solidFill>
          <a:latin typeface="+mn-lt"/>
          <a:ea typeface="+mn-ea"/>
          <a:cs typeface="+mn-cs"/>
        </a:defRPr>
      </a:lvl1pPr>
      <a:lvl2pPr marL="499547" algn="l" defTabSz="999093" rtl="0" eaLnBrk="1" latinLnBrk="0" hangingPunct="1">
        <a:defRPr sz="1950" kern="1200">
          <a:solidFill>
            <a:schemeClr val="tx1"/>
          </a:solidFill>
          <a:latin typeface="+mn-lt"/>
          <a:ea typeface="+mn-ea"/>
          <a:cs typeface="+mn-cs"/>
        </a:defRPr>
      </a:lvl2pPr>
      <a:lvl3pPr marL="999093" algn="l" defTabSz="999093" rtl="0" eaLnBrk="1" latinLnBrk="0" hangingPunct="1">
        <a:defRPr sz="1950" kern="1200">
          <a:solidFill>
            <a:schemeClr val="tx1"/>
          </a:solidFill>
          <a:latin typeface="+mn-lt"/>
          <a:ea typeface="+mn-ea"/>
          <a:cs typeface="+mn-cs"/>
        </a:defRPr>
      </a:lvl3pPr>
      <a:lvl4pPr marL="1498640" algn="l" defTabSz="999093" rtl="0" eaLnBrk="1" latinLnBrk="0" hangingPunct="1">
        <a:defRPr sz="1950" kern="1200">
          <a:solidFill>
            <a:schemeClr val="tx1"/>
          </a:solidFill>
          <a:latin typeface="+mn-lt"/>
          <a:ea typeface="+mn-ea"/>
          <a:cs typeface="+mn-cs"/>
        </a:defRPr>
      </a:lvl4pPr>
      <a:lvl5pPr marL="1998187" algn="l" defTabSz="999093" rtl="0" eaLnBrk="1" latinLnBrk="0" hangingPunct="1">
        <a:defRPr sz="1950" kern="1200">
          <a:solidFill>
            <a:schemeClr val="tx1"/>
          </a:solidFill>
          <a:latin typeface="+mn-lt"/>
          <a:ea typeface="+mn-ea"/>
          <a:cs typeface="+mn-cs"/>
        </a:defRPr>
      </a:lvl5pPr>
      <a:lvl6pPr marL="2497734" algn="l" defTabSz="999093" rtl="0" eaLnBrk="1" latinLnBrk="0" hangingPunct="1">
        <a:defRPr sz="1950" kern="1200">
          <a:solidFill>
            <a:schemeClr val="tx1"/>
          </a:solidFill>
          <a:latin typeface="+mn-lt"/>
          <a:ea typeface="+mn-ea"/>
          <a:cs typeface="+mn-cs"/>
        </a:defRPr>
      </a:lvl6pPr>
      <a:lvl7pPr marL="2997281" algn="l" defTabSz="999093" rtl="0" eaLnBrk="1" latinLnBrk="0" hangingPunct="1">
        <a:defRPr sz="1950" kern="1200">
          <a:solidFill>
            <a:schemeClr val="tx1"/>
          </a:solidFill>
          <a:latin typeface="+mn-lt"/>
          <a:ea typeface="+mn-ea"/>
          <a:cs typeface="+mn-cs"/>
        </a:defRPr>
      </a:lvl7pPr>
      <a:lvl8pPr marL="3496827" algn="l" defTabSz="999093" rtl="0" eaLnBrk="1" latinLnBrk="0" hangingPunct="1">
        <a:defRPr sz="1950" kern="1200">
          <a:solidFill>
            <a:schemeClr val="tx1"/>
          </a:solidFill>
          <a:latin typeface="+mn-lt"/>
          <a:ea typeface="+mn-ea"/>
          <a:cs typeface="+mn-cs"/>
        </a:defRPr>
      </a:lvl8pPr>
      <a:lvl9pPr marL="3996374" algn="l" defTabSz="999093" rtl="0" eaLnBrk="1" latinLnBrk="0" hangingPunct="1">
        <a:defRPr sz="19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Obrázek 7">
            <a:extLst>
              <a:ext uri="{FF2B5EF4-FFF2-40B4-BE49-F238E27FC236}">
                <a16:creationId xmlns:a16="http://schemas.microsoft.com/office/drawing/2014/main" id="{F030FE8C-D9FD-F74B-A32F-C82A96DCB447}"/>
              </a:ext>
            </a:extLst>
          </p:cNvPr>
          <p:cNvPicPr>
            <a:picLocks noChangeAspect="1"/>
          </p:cNvPicPr>
          <p:nvPr userDrawn="1"/>
        </p:nvPicPr>
        <p:blipFill>
          <a:blip r:embed="rId3"/>
          <a:stretch>
            <a:fillRect/>
          </a:stretch>
        </p:blipFill>
        <p:spPr>
          <a:xfrm>
            <a:off x="0" y="0"/>
            <a:ext cx="9906000" cy="6858000"/>
          </a:xfrm>
          <a:prstGeom prst="rect">
            <a:avLst/>
          </a:prstGeom>
        </p:spPr>
      </p:pic>
    </p:spTree>
    <p:extLst>
      <p:ext uri="{BB962C8B-B14F-4D97-AF65-F5344CB8AC3E}">
        <p14:creationId xmlns:p14="http://schemas.microsoft.com/office/powerpoint/2010/main" val="258350168"/>
      </p:ext>
    </p:extLst>
  </p:cSld>
  <p:clrMap bg1="lt1" tx1="dk1" bg2="lt2" tx2="dk2" accent1="accent1" accent2="accent2" accent3="accent3" accent4="accent4" accent5="accent5" accent6="accent6" hlink="hlink" folHlink="folHlink"/>
  <p:sldLayoutIdLst>
    <p:sldLayoutId id="2147484641" r:id="rId1"/>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cs-CZ"/>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0590497"/>
      </p:ext>
    </p:extLst>
  </p:cSld>
  <p:clrMap bg1="lt1" tx1="dk1" bg2="lt2" tx2="dk2" accent1="accent1" accent2="accent2" accent3="accent3" accent4="accent4" accent5="accent5" accent6="accent6" hlink="hlink" folHlink="folHlink"/>
  <p:sldLayoutIdLst>
    <p:sldLayoutId id="2147484644" r:id="rId1"/>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cs-CZ"/>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Zástupný symbol pro nadpis 1">
            <a:extLst>
              <a:ext uri="{FF2B5EF4-FFF2-40B4-BE49-F238E27FC236}">
                <a16:creationId xmlns:a16="http://schemas.microsoft.com/office/drawing/2014/main" id="{1CAE4DD6-2206-4673-AF4C-E3CEBF6EF09E}"/>
              </a:ext>
            </a:extLst>
          </p:cNvPr>
          <p:cNvSpPr>
            <a:spLocks noGrp="1" noChangeArrowheads="1"/>
          </p:cNvSpPr>
          <p:nvPr>
            <p:ph type="title"/>
          </p:nvPr>
        </p:nvSpPr>
        <p:spPr bwMode="auto">
          <a:xfrm>
            <a:off x="681038" y="365128"/>
            <a:ext cx="8543925" cy="132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cs-CZ" altLang="cs-CZ"/>
              <a:t>Kliknutím lze upravit styl.</a:t>
            </a:r>
          </a:p>
        </p:txBody>
      </p:sp>
      <p:sp>
        <p:nvSpPr>
          <p:cNvPr id="1027" name="Zástupný symbol pro text 2">
            <a:extLst>
              <a:ext uri="{FF2B5EF4-FFF2-40B4-BE49-F238E27FC236}">
                <a16:creationId xmlns:a16="http://schemas.microsoft.com/office/drawing/2014/main" id="{D68CF91E-F1B2-4BDB-B933-1B5565DA9BC3}"/>
              </a:ext>
            </a:extLst>
          </p:cNvPr>
          <p:cNvSpPr>
            <a:spLocks noGrp="1" noChangeArrowheads="1"/>
          </p:cNvSpPr>
          <p:nvPr>
            <p:ph type="body" idx="1"/>
          </p:nvPr>
        </p:nvSpPr>
        <p:spPr bwMode="auto">
          <a:xfrm>
            <a:off x="681038" y="1825625"/>
            <a:ext cx="8543925" cy="435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cs-CZ" altLang="cs-CZ"/>
              <a:t>Upravte styly předlohy textu.</a:t>
            </a:r>
          </a:p>
          <a:p>
            <a:pPr lvl="1"/>
            <a:r>
              <a:rPr lang="cs-CZ" altLang="cs-CZ"/>
              <a:t>Druhá úroveň</a:t>
            </a:r>
          </a:p>
          <a:p>
            <a:pPr lvl="2"/>
            <a:r>
              <a:rPr lang="cs-CZ" altLang="cs-CZ"/>
              <a:t>Třetí úroveň</a:t>
            </a:r>
          </a:p>
          <a:p>
            <a:pPr lvl="3"/>
            <a:r>
              <a:rPr lang="cs-CZ" altLang="cs-CZ"/>
              <a:t>Čtvrtá úroveň</a:t>
            </a:r>
          </a:p>
          <a:p>
            <a:pPr lvl="4"/>
            <a:r>
              <a:rPr lang="cs-CZ" altLang="cs-CZ"/>
              <a:t>Pátá úroveň</a:t>
            </a:r>
          </a:p>
        </p:txBody>
      </p:sp>
      <p:sp>
        <p:nvSpPr>
          <p:cNvPr id="4" name="Zástupný symbol pro datum 3">
            <a:extLst>
              <a:ext uri="{FF2B5EF4-FFF2-40B4-BE49-F238E27FC236}">
                <a16:creationId xmlns:a16="http://schemas.microsoft.com/office/drawing/2014/main" id="{4D9C9998-4F1B-465D-9A87-54FBEDAAB49F}"/>
              </a:ext>
            </a:extLst>
          </p:cNvPr>
          <p:cNvSpPr>
            <a:spLocks noGrp="1"/>
          </p:cNvSpPr>
          <p:nvPr>
            <p:ph type="dt" sz="half" idx="2"/>
          </p:nvPr>
        </p:nvSpPr>
        <p:spPr>
          <a:xfrm>
            <a:off x="681038" y="6356353"/>
            <a:ext cx="2228850" cy="365125"/>
          </a:xfrm>
          <a:prstGeom prst="rect">
            <a:avLst/>
          </a:prstGeom>
        </p:spPr>
        <p:txBody>
          <a:bodyPr vert="horz" lIns="91440" tIns="45720" rIns="91440" bIns="45720" rtlCol="0" anchor="ctr"/>
          <a:lstStyle>
            <a:lvl1pPr algn="l" eaLnBrk="1" fontAlgn="auto" hangingPunct="1">
              <a:spcBef>
                <a:spcPts val="0"/>
              </a:spcBef>
              <a:spcAft>
                <a:spcPts val="0"/>
              </a:spcAft>
              <a:defRPr sz="975">
                <a:solidFill>
                  <a:schemeClr val="tx1">
                    <a:tint val="75000"/>
                  </a:schemeClr>
                </a:solidFill>
                <a:latin typeface="+mn-lt"/>
              </a:defRPr>
            </a:lvl1pPr>
          </a:lstStyle>
          <a:p>
            <a:pPr>
              <a:defRPr/>
            </a:pPr>
            <a:fld id="{89343596-CF38-40CB-992C-C2AF3309B603}" type="datetimeFigureOut">
              <a:rPr lang="cs-CZ"/>
              <a:pPr>
                <a:defRPr/>
              </a:pPr>
              <a:t>15.09.2025</a:t>
            </a:fld>
            <a:endParaRPr lang="cs-CZ"/>
          </a:p>
        </p:txBody>
      </p:sp>
      <p:sp>
        <p:nvSpPr>
          <p:cNvPr id="5" name="Zástupný symbol pro zápatí 4">
            <a:extLst>
              <a:ext uri="{FF2B5EF4-FFF2-40B4-BE49-F238E27FC236}">
                <a16:creationId xmlns:a16="http://schemas.microsoft.com/office/drawing/2014/main" id="{BB15349A-E7AD-455F-96A0-A76FD66CA3F9}"/>
              </a:ext>
            </a:extLst>
          </p:cNvPr>
          <p:cNvSpPr>
            <a:spLocks noGrp="1"/>
          </p:cNvSpPr>
          <p:nvPr>
            <p:ph type="ftr" sz="quarter" idx="3"/>
          </p:nvPr>
        </p:nvSpPr>
        <p:spPr>
          <a:xfrm>
            <a:off x="3281363" y="6356353"/>
            <a:ext cx="3343275" cy="365125"/>
          </a:xfrm>
          <a:prstGeom prst="rect">
            <a:avLst/>
          </a:prstGeom>
        </p:spPr>
        <p:txBody>
          <a:bodyPr vert="horz" lIns="91440" tIns="45720" rIns="91440" bIns="45720" rtlCol="0" anchor="ctr"/>
          <a:lstStyle>
            <a:lvl1pPr algn="ctr" eaLnBrk="1" fontAlgn="auto" hangingPunct="1">
              <a:spcBef>
                <a:spcPts val="0"/>
              </a:spcBef>
              <a:spcAft>
                <a:spcPts val="0"/>
              </a:spcAft>
              <a:defRPr sz="975">
                <a:solidFill>
                  <a:schemeClr val="tx1">
                    <a:tint val="75000"/>
                  </a:schemeClr>
                </a:solidFill>
                <a:latin typeface="+mn-lt"/>
              </a:defRPr>
            </a:lvl1pPr>
          </a:lstStyle>
          <a:p>
            <a:pPr>
              <a:defRPr/>
            </a:pPr>
            <a:endParaRPr lang="cs-CZ"/>
          </a:p>
        </p:txBody>
      </p:sp>
      <p:sp>
        <p:nvSpPr>
          <p:cNvPr id="6" name="Zástupný symbol pro číslo snímku 5">
            <a:extLst>
              <a:ext uri="{FF2B5EF4-FFF2-40B4-BE49-F238E27FC236}">
                <a16:creationId xmlns:a16="http://schemas.microsoft.com/office/drawing/2014/main" id="{1ED5F224-987E-4F47-9012-60BC30C88E4E}"/>
              </a:ext>
            </a:extLst>
          </p:cNvPr>
          <p:cNvSpPr>
            <a:spLocks noGrp="1"/>
          </p:cNvSpPr>
          <p:nvPr>
            <p:ph type="sldNum" sz="quarter" idx="4"/>
          </p:nvPr>
        </p:nvSpPr>
        <p:spPr>
          <a:xfrm>
            <a:off x="6996113" y="6356353"/>
            <a:ext cx="2228850" cy="365125"/>
          </a:xfrm>
          <a:prstGeom prst="rect">
            <a:avLst/>
          </a:prstGeom>
        </p:spPr>
        <p:txBody>
          <a:bodyPr vert="horz" lIns="91440" tIns="45720" rIns="91440" bIns="45720" rtlCol="0" anchor="ctr"/>
          <a:lstStyle>
            <a:lvl1pPr algn="r" eaLnBrk="1" fontAlgn="auto" hangingPunct="1">
              <a:spcBef>
                <a:spcPts val="0"/>
              </a:spcBef>
              <a:spcAft>
                <a:spcPts val="0"/>
              </a:spcAft>
              <a:defRPr sz="975">
                <a:solidFill>
                  <a:schemeClr val="tx1">
                    <a:tint val="75000"/>
                  </a:schemeClr>
                </a:solidFill>
                <a:latin typeface="+mn-lt"/>
              </a:defRPr>
            </a:lvl1pPr>
          </a:lstStyle>
          <a:p>
            <a:pPr>
              <a:defRPr/>
            </a:pPr>
            <a:fld id="{C5CC8C67-A9EA-4E5D-8FEF-08816B55882D}" type="slidenum">
              <a:rPr lang="cs-CZ"/>
              <a:pPr>
                <a:defRPr/>
              </a:pPr>
              <a:t>‹#›</a:t>
            </a:fld>
            <a:endParaRPr lang="cs-CZ"/>
          </a:p>
        </p:txBody>
      </p:sp>
    </p:spTree>
    <p:extLst>
      <p:ext uri="{BB962C8B-B14F-4D97-AF65-F5344CB8AC3E}">
        <p14:creationId xmlns:p14="http://schemas.microsoft.com/office/powerpoint/2010/main" val="1220450470"/>
      </p:ext>
    </p:extLst>
  </p:cSld>
  <p:clrMap bg1="lt1" tx1="dk1" bg2="lt2" tx2="dk2" accent1="accent1" accent2="accent2" accent3="accent3" accent4="accent4" accent5="accent5" accent6="accent6" hlink="hlink" folHlink="folHlink"/>
  <p:sldLayoutIdLst>
    <p:sldLayoutId id="2147484698" r:id="rId1"/>
    <p:sldLayoutId id="2147484699" r:id="rId2"/>
    <p:sldLayoutId id="2147484700" r:id="rId3"/>
    <p:sldLayoutId id="2147484701" r:id="rId4"/>
    <p:sldLayoutId id="2147484702" r:id="rId5"/>
    <p:sldLayoutId id="2147484703" r:id="rId6"/>
    <p:sldLayoutId id="2147484704" r:id="rId7"/>
    <p:sldLayoutId id="2147484705" r:id="rId8"/>
    <p:sldLayoutId id="2147484706" r:id="rId9"/>
    <p:sldLayoutId id="2147484707" r:id="rId10"/>
    <p:sldLayoutId id="2147484708" r:id="rId11"/>
    <p:sldLayoutId id="2147484709" r:id="rId12"/>
    <p:sldLayoutId id="2147484710" r:id="rId13"/>
    <p:sldLayoutId id="2147484711" r:id="rId14"/>
    <p:sldLayoutId id="2147484712" r:id="rId15"/>
    <p:sldLayoutId id="2147484713" r:id="rId16"/>
    <p:sldLayoutId id="2147484714" r:id="rId17"/>
    <p:sldLayoutId id="2147484715" r:id="rId18"/>
    <p:sldLayoutId id="2147484716" r:id="rId19"/>
    <p:sldLayoutId id="2147484717" r:id="rId20"/>
    <p:sldLayoutId id="2147484718" r:id="rId21"/>
  </p:sldLayoutIdLst>
  <p:transition spd="med">
    <p:fade/>
  </p:transition>
  <p:txStyles>
    <p:titleStyle>
      <a:lvl1pPr algn="l" rtl="0" eaLnBrk="0" fontAlgn="base" hangingPunct="0">
        <a:lnSpc>
          <a:spcPct val="90000"/>
        </a:lnSpc>
        <a:spcBef>
          <a:spcPct val="0"/>
        </a:spcBef>
        <a:spcAft>
          <a:spcPct val="0"/>
        </a:spcAft>
        <a:defRPr sz="3575" kern="1200">
          <a:solidFill>
            <a:schemeClr val="tx1"/>
          </a:solidFill>
          <a:latin typeface="+mj-lt"/>
          <a:ea typeface="+mj-ea"/>
          <a:cs typeface="+mj-cs"/>
        </a:defRPr>
      </a:lvl1pPr>
      <a:lvl2pPr algn="l" rtl="0" eaLnBrk="0" fontAlgn="base" hangingPunct="0">
        <a:lnSpc>
          <a:spcPct val="90000"/>
        </a:lnSpc>
        <a:spcBef>
          <a:spcPct val="0"/>
        </a:spcBef>
        <a:spcAft>
          <a:spcPct val="0"/>
        </a:spcAft>
        <a:defRPr sz="3575">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575">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575">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575">
          <a:solidFill>
            <a:schemeClr val="tx1"/>
          </a:solidFill>
          <a:latin typeface="Calibri Light" panose="020F0302020204030204" pitchFamily="34" charset="0"/>
        </a:defRPr>
      </a:lvl5pPr>
      <a:lvl6pPr marL="371475" algn="l" rtl="0" fontAlgn="base">
        <a:lnSpc>
          <a:spcPct val="90000"/>
        </a:lnSpc>
        <a:spcBef>
          <a:spcPct val="0"/>
        </a:spcBef>
        <a:spcAft>
          <a:spcPct val="0"/>
        </a:spcAft>
        <a:defRPr sz="3575">
          <a:solidFill>
            <a:schemeClr val="tx1"/>
          </a:solidFill>
          <a:latin typeface="Calibri Light" panose="020F0302020204030204" pitchFamily="34" charset="0"/>
        </a:defRPr>
      </a:lvl6pPr>
      <a:lvl7pPr marL="742950" algn="l" rtl="0" fontAlgn="base">
        <a:lnSpc>
          <a:spcPct val="90000"/>
        </a:lnSpc>
        <a:spcBef>
          <a:spcPct val="0"/>
        </a:spcBef>
        <a:spcAft>
          <a:spcPct val="0"/>
        </a:spcAft>
        <a:defRPr sz="3575">
          <a:solidFill>
            <a:schemeClr val="tx1"/>
          </a:solidFill>
          <a:latin typeface="Calibri Light" panose="020F0302020204030204" pitchFamily="34" charset="0"/>
        </a:defRPr>
      </a:lvl7pPr>
      <a:lvl8pPr marL="1114425" algn="l" rtl="0" fontAlgn="base">
        <a:lnSpc>
          <a:spcPct val="90000"/>
        </a:lnSpc>
        <a:spcBef>
          <a:spcPct val="0"/>
        </a:spcBef>
        <a:spcAft>
          <a:spcPct val="0"/>
        </a:spcAft>
        <a:defRPr sz="3575">
          <a:solidFill>
            <a:schemeClr val="tx1"/>
          </a:solidFill>
          <a:latin typeface="Calibri Light" panose="020F0302020204030204" pitchFamily="34" charset="0"/>
        </a:defRPr>
      </a:lvl8pPr>
      <a:lvl9pPr marL="1485900" algn="l" rtl="0" fontAlgn="base">
        <a:lnSpc>
          <a:spcPct val="90000"/>
        </a:lnSpc>
        <a:spcBef>
          <a:spcPct val="0"/>
        </a:spcBef>
        <a:spcAft>
          <a:spcPct val="0"/>
        </a:spcAft>
        <a:defRPr sz="3575">
          <a:solidFill>
            <a:schemeClr val="tx1"/>
          </a:solidFill>
          <a:latin typeface="Calibri Light" panose="020F0302020204030204" pitchFamily="34" charset="0"/>
        </a:defRPr>
      </a:lvl9pPr>
    </p:titleStyle>
    <p:bodyStyle>
      <a:lvl1pPr marL="185738" indent="-185738" algn="l" rtl="0" eaLnBrk="0" fontAlgn="base" hangingPunct="0">
        <a:lnSpc>
          <a:spcPct val="90000"/>
        </a:lnSpc>
        <a:spcBef>
          <a:spcPts val="813"/>
        </a:spcBef>
        <a:spcAft>
          <a:spcPct val="0"/>
        </a:spcAft>
        <a:buFont typeface="Arial" panose="020B0604020202020204" pitchFamily="34" charset="0"/>
        <a:buChar char="•"/>
        <a:defRPr sz="2275" kern="1200">
          <a:solidFill>
            <a:schemeClr val="tx1"/>
          </a:solidFill>
          <a:latin typeface="+mn-lt"/>
          <a:ea typeface="+mn-ea"/>
          <a:cs typeface="+mn-cs"/>
        </a:defRPr>
      </a:lvl1pPr>
      <a:lvl2pPr marL="557213" indent="-185738" algn="l" rtl="0" eaLnBrk="0" fontAlgn="base" hangingPunct="0">
        <a:lnSpc>
          <a:spcPct val="90000"/>
        </a:lnSpc>
        <a:spcBef>
          <a:spcPts val="406"/>
        </a:spcBef>
        <a:spcAft>
          <a:spcPct val="0"/>
        </a:spcAft>
        <a:buFont typeface="Arial" panose="020B0604020202020204" pitchFamily="34" charset="0"/>
        <a:buChar char="•"/>
        <a:defRPr sz="1950" kern="1200">
          <a:solidFill>
            <a:schemeClr val="tx1"/>
          </a:solidFill>
          <a:latin typeface="+mn-lt"/>
          <a:ea typeface="+mn-ea"/>
          <a:cs typeface="+mn-cs"/>
        </a:defRPr>
      </a:lvl2pPr>
      <a:lvl3pPr marL="928688" indent="-185738" algn="l" rtl="0" eaLnBrk="0" fontAlgn="base" hangingPunct="0">
        <a:lnSpc>
          <a:spcPct val="90000"/>
        </a:lnSpc>
        <a:spcBef>
          <a:spcPts val="406"/>
        </a:spcBef>
        <a:spcAft>
          <a:spcPct val="0"/>
        </a:spcAft>
        <a:buFont typeface="Arial" panose="020B0604020202020204" pitchFamily="34" charset="0"/>
        <a:buChar char="•"/>
        <a:defRPr sz="1625" kern="1200">
          <a:solidFill>
            <a:schemeClr val="tx1"/>
          </a:solidFill>
          <a:latin typeface="+mn-lt"/>
          <a:ea typeface="+mn-ea"/>
          <a:cs typeface="+mn-cs"/>
        </a:defRPr>
      </a:lvl3pPr>
      <a:lvl4pPr marL="1300163" indent="-185738" algn="l" rtl="0" eaLnBrk="0" fontAlgn="base" hangingPunct="0">
        <a:lnSpc>
          <a:spcPct val="90000"/>
        </a:lnSpc>
        <a:spcBef>
          <a:spcPts val="406"/>
        </a:spcBef>
        <a:spcAft>
          <a:spcPct val="0"/>
        </a:spcAft>
        <a:buFont typeface="Arial" panose="020B0604020202020204" pitchFamily="34" charset="0"/>
        <a:buChar char="•"/>
        <a:defRPr kern="1200">
          <a:solidFill>
            <a:schemeClr val="tx1"/>
          </a:solidFill>
          <a:latin typeface="+mn-lt"/>
          <a:ea typeface="+mn-ea"/>
          <a:cs typeface="+mn-cs"/>
        </a:defRPr>
      </a:lvl4pPr>
      <a:lvl5pPr marL="1671638" indent="-185738" algn="l" rtl="0" eaLnBrk="0" fontAlgn="base" hangingPunct="0">
        <a:lnSpc>
          <a:spcPct val="90000"/>
        </a:lnSpc>
        <a:spcBef>
          <a:spcPts val="406"/>
        </a:spcBef>
        <a:spcAft>
          <a:spcPct val="0"/>
        </a:spcAft>
        <a:buFont typeface="Arial" panose="020B0604020202020204" pitchFamily="34" charset="0"/>
        <a:buChar char="•"/>
        <a:defRPr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cs-CZ"/>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34ABB72-27EC-1D42-A110-EDC7D45E9EAA}"/>
              </a:ext>
            </a:extLst>
          </p:cNvPr>
          <p:cNvSpPr>
            <a:spLocks noGrp="1"/>
          </p:cNvSpPr>
          <p:nvPr>
            <p:ph type="title"/>
          </p:nvPr>
        </p:nvSpPr>
        <p:spPr>
          <a:xfrm>
            <a:off x="681038" y="365126"/>
            <a:ext cx="8543925"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3D1E339A-34C2-E348-802D-89519516CA8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5E60124-CD8B-A54F-8D0E-9DCC0430CEEB}"/>
              </a:ext>
            </a:extLst>
          </p:cNvPr>
          <p:cNvSpPr>
            <a:spLocks noGrp="1"/>
          </p:cNvSpPr>
          <p:nvPr>
            <p:ph type="dt" sz="half" idx="2"/>
          </p:nvPr>
        </p:nvSpPr>
        <p:spPr>
          <a:xfrm>
            <a:off x="681038" y="6356351"/>
            <a:ext cx="2228850" cy="365125"/>
          </a:xfrm>
          <a:prstGeom prst="rect">
            <a:avLst/>
          </a:prstGeom>
        </p:spPr>
        <p:txBody>
          <a:bodyPr vert="horz" lIns="91440" tIns="45720" rIns="91440" bIns="45720" rtlCol="0" anchor="ctr"/>
          <a:lstStyle>
            <a:lvl1pPr algn="l">
              <a:defRPr sz="975">
                <a:solidFill>
                  <a:schemeClr val="tx1">
                    <a:tint val="75000"/>
                  </a:schemeClr>
                </a:solidFill>
              </a:defRPr>
            </a:lvl1pPr>
          </a:lstStyle>
          <a:p>
            <a:endParaRPr lang="cs-CZ"/>
          </a:p>
        </p:txBody>
      </p:sp>
      <p:sp>
        <p:nvSpPr>
          <p:cNvPr id="5" name="Zástupný symbol pro zápatí 4">
            <a:extLst>
              <a:ext uri="{FF2B5EF4-FFF2-40B4-BE49-F238E27FC236}">
                <a16:creationId xmlns:a16="http://schemas.microsoft.com/office/drawing/2014/main" id="{55283494-C262-6745-A064-293D7DA76816}"/>
              </a:ext>
            </a:extLst>
          </p:cNvPr>
          <p:cNvSpPr>
            <a:spLocks noGrp="1"/>
          </p:cNvSpPr>
          <p:nvPr>
            <p:ph type="ftr" sz="quarter" idx="3"/>
          </p:nvPr>
        </p:nvSpPr>
        <p:spPr>
          <a:xfrm>
            <a:off x="3281363" y="6356351"/>
            <a:ext cx="3343275" cy="365125"/>
          </a:xfrm>
          <a:prstGeom prst="rect">
            <a:avLst/>
          </a:prstGeom>
        </p:spPr>
        <p:txBody>
          <a:bodyPr vert="horz" lIns="91440" tIns="45720" rIns="91440" bIns="45720" rtlCol="0" anchor="ctr"/>
          <a:lstStyle>
            <a:lvl1pPr algn="ctr">
              <a:defRPr sz="975">
                <a:solidFill>
                  <a:schemeClr val="tx1">
                    <a:tint val="75000"/>
                  </a:schemeClr>
                </a:solidFill>
              </a:defRPr>
            </a:lvl1pPr>
          </a:lstStyle>
          <a:p>
            <a:r>
              <a:rPr lang="cs-CZ"/>
              <a:t>NÁZEV PREZENTACE | Název kapitoly</a:t>
            </a:r>
          </a:p>
        </p:txBody>
      </p:sp>
      <p:sp>
        <p:nvSpPr>
          <p:cNvPr id="6" name="Zástupný symbol pro číslo snímku 5">
            <a:extLst>
              <a:ext uri="{FF2B5EF4-FFF2-40B4-BE49-F238E27FC236}">
                <a16:creationId xmlns:a16="http://schemas.microsoft.com/office/drawing/2014/main" id="{1EF41405-0E4A-9541-B389-FC612CF29957}"/>
              </a:ext>
            </a:extLst>
          </p:cNvPr>
          <p:cNvSpPr>
            <a:spLocks noGrp="1"/>
          </p:cNvSpPr>
          <p:nvPr>
            <p:ph type="sldNum" sz="quarter" idx="4"/>
          </p:nvPr>
        </p:nvSpPr>
        <p:spPr>
          <a:xfrm>
            <a:off x="6996113" y="6356351"/>
            <a:ext cx="222885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30D0A111-AE48-3F4A-8BD7-909FEF7F3D06}" type="slidenum">
              <a:rPr lang="cs-CZ" smtClean="0"/>
              <a:t>‹#›</a:t>
            </a:fld>
            <a:endParaRPr lang="cs-CZ"/>
          </a:p>
        </p:txBody>
      </p:sp>
    </p:spTree>
    <p:extLst>
      <p:ext uri="{BB962C8B-B14F-4D97-AF65-F5344CB8AC3E}">
        <p14:creationId xmlns:p14="http://schemas.microsoft.com/office/powerpoint/2010/main" val="1955811976"/>
      </p:ext>
    </p:extLst>
  </p:cSld>
  <p:clrMap bg1="lt1" tx1="dk1" bg2="lt2" tx2="dk2" accent1="accent1" accent2="accent2" accent3="accent3" accent4="accent4" accent5="accent5" accent6="accent6" hlink="hlink" folHlink="folHlink"/>
  <p:sldLayoutIdLst>
    <p:sldLayoutId id="2147484757" r:id="rId1"/>
    <p:sldLayoutId id="2147484758" r:id="rId2"/>
    <p:sldLayoutId id="2147484759" r:id="rId3"/>
    <p:sldLayoutId id="2147484760" r:id="rId4"/>
    <p:sldLayoutId id="2147484761" r:id="rId5"/>
    <p:sldLayoutId id="2147484762" r:id="rId6"/>
    <p:sldLayoutId id="2147484763" r:id="rId7"/>
    <p:sldLayoutId id="2147484764" r:id="rId8"/>
    <p:sldLayoutId id="2147484765" r:id="rId9"/>
    <p:sldLayoutId id="2147484766" r:id="rId10"/>
    <p:sldLayoutId id="2147484767" r:id="rId11"/>
    <p:sldLayoutId id="2147484768" r:id="rId12"/>
  </p:sldLayoutIdLst>
  <p:hf sldNum="0" hdr="0" dt="0"/>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cs-CZ"/>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33D7D20-2DE1-A722-7908-DDFFDA386C8B}"/>
              </a:ext>
            </a:extLst>
          </p:cNvPr>
          <p:cNvGraphicFramePr>
            <a:graphicFrameLocks noChangeAspect="1"/>
          </p:cNvGraphicFramePr>
          <p:nvPr userDrawn="1">
            <p:custDataLst>
              <p:tags r:id="rId33"/>
            </p:custDataLst>
            <p:extLst>
              <p:ext uri="{D42A27DB-BD31-4B8C-83A1-F6EECF244321}">
                <p14:modId xmlns:p14="http://schemas.microsoft.com/office/powerpoint/2010/main" val="1270438358"/>
              </p:ext>
            </p:extLst>
          </p:nvPr>
        </p:nvGraphicFramePr>
        <p:xfrm>
          <a:off x="1291" y="1589"/>
          <a:ext cx="1290" cy="1588"/>
        </p:xfrm>
        <a:graphic>
          <a:graphicData uri="http://schemas.openxmlformats.org/presentationml/2006/ole">
            <mc:AlternateContent xmlns:mc="http://schemas.openxmlformats.org/markup-compatibility/2006">
              <mc:Choice xmlns:v="urn:schemas-microsoft-com:vml" Requires="v">
                <p:oleObj name="think-cell Slide" r:id="rId34" imgW="425" imgH="424" progId="TCLayout.ActiveDocument.1">
                  <p:embed/>
                </p:oleObj>
              </mc:Choice>
              <mc:Fallback>
                <p:oleObj name="think-cell Slide" r:id="rId34" imgW="425" imgH="424" progId="TCLayout.ActiveDocument.1">
                  <p:embed/>
                  <p:pic>
                    <p:nvPicPr>
                      <p:cNvPr id="2" name="think-cell data - do not delete" hidden="1">
                        <a:extLst>
                          <a:ext uri="{FF2B5EF4-FFF2-40B4-BE49-F238E27FC236}">
                            <a16:creationId xmlns:a16="http://schemas.microsoft.com/office/drawing/2014/main" id="{B33D7D20-2DE1-A722-7908-DDFFDA386C8B}"/>
                          </a:ext>
                        </a:extLst>
                      </p:cNvPr>
                      <p:cNvPicPr/>
                      <p:nvPr/>
                    </p:nvPicPr>
                    <p:blipFill>
                      <a:blip r:embed="rId35"/>
                      <a:stretch>
                        <a:fillRect/>
                      </a:stretch>
                    </p:blipFill>
                    <p:spPr>
                      <a:xfrm>
                        <a:off x="1291" y="1589"/>
                        <a:ext cx="1290" cy="1588"/>
                      </a:xfrm>
                      <a:prstGeom prst="rect">
                        <a:avLst/>
                      </a:prstGeom>
                    </p:spPr>
                  </p:pic>
                </p:oleObj>
              </mc:Fallback>
            </mc:AlternateContent>
          </a:graphicData>
        </a:graphic>
      </p:graphicFrame>
      <p:sp>
        <p:nvSpPr>
          <p:cNvPr id="10" name="Google Shape;10;p18"/>
          <p:cNvSpPr txBox="1">
            <a:spLocks noGrp="1"/>
          </p:cNvSpPr>
          <p:nvPr>
            <p:ph type="title"/>
          </p:nvPr>
        </p:nvSpPr>
        <p:spPr>
          <a:xfrm>
            <a:off x="731969" y="890589"/>
            <a:ext cx="8441864" cy="771019"/>
          </a:xfrm>
          <a:prstGeom prst="rect">
            <a:avLst/>
          </a:prstGeom>
          <a:noFill/>
          <a:ln>
            <a:noFill/>
          </a:ln>
        </p:spPr>
        <p:txBody>
          <a:bodyPr spcFirstLastPara="1" wrap="square" lIns="0" tIns="0" rIns="0" bIns="0" anchor="ctr" anchorCtr="0">
            <a:normAutofit/>
          </a:bodyPr>
          <a:lstStyle>
            <a:lvl1pPr marR="0" lvl="0" algn="l" rtl="0">
              <a:lnSpc>
                <a:spcPct val="100000"/>
              </a:lnSpc>
              <a:spcBef>
                <a:spcPts val="0"/>
              </a:spcBef>
              <a:spcAft>
                <a:spcPts val="0"/>
              </a:spcAft>
              <a:buClr>
                <a:schemeClr val="dk1"/>
              </a:buClr>
              <a:buSzPts val="3200"/>
              <a:buFont typeface="Inter ExtraBold"/>
              <a:buNone/>
              <a:defRPr sz="3200" b="0" i="0" u="none" strike="noStrike" cap="none">
                <a:solidFill>
                  <a:schemeClr val="dk1"/>
                </a:solidFill>
                <a:latin typeface="Inter ExtraBold"/>
                <a:ea typeface="Inter ExtraBold"/>
                <a:cs typeface="Inter ExtraBold"/>
                <a:sym typeface="Inter ExtraBold"/>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8"/>
          <p:cNvSpPr txBox="1">
            <a:spLocks noGrp="1"/>
          </p:cNvSpPr>
          <p:nvPr>
            <p:ph type="body" idx="1"/>
          </p:nvPr>
        </p:nvSpPr>
        <p:spPr>
          <a:xfrm>
            <a:off x="731971" y="1781179"/>
            <a:ext cx="8442062" cy="4182327"/>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1000"/>
              </a:spcBef>
              <a:spcAft>
                <a:spcPts val="0"/>
              </a:spcAft>
              <a:buClr>
                <a:schemeClr val="dk1"/>
              </a:buClr>
              <a:buSzPts val="2000"/>
              <a:buFont typeface="Arial"/>
              <a:buNone/>
              <a:defRPr sz="2000" b="0" i="0" u="none" strike="noStrike" cap="none">
                <a:solidFill>
                  <a:schemeClr val="dk1"/>
                </a:solidFill>
                <a:latin typeface="Fira Sans"/>
                <a:ea typeface="Fira Sans"/>
                <a:cs typeface="Fira Sans"/>
                <a:sym typeface="Fira Sans"/>
              </a:defRPr>
            </a:lvl1pPr>
            <a:lvl2pPr marL="914400" marR="0" lvl="1" indent="-342900" algn="l" rtl="0">
              <a:lnSpc>
                <a:spcPct val="100000"/>
              </a:lnSpc>
              <a:spcBef>
                <a:spcPts val="500"/>
              </a:spcBef>
              <a:spcAft>
                <a:spcPts val="0"/>
              </a:spcAft>
              <a:buClr>
                <a:schemeClr val="accent1"/>
              </a:buClr>
              <a:buSzPts val="1800"/>
              <a:buFont typeface="Fira Sans"/>
              <a:buChar char="*"/>
              <a:defRPr sz="1800" b="0" i="0" u="none" strike="noStrike" cap="none">
                <a:solidFill>
                  <a:srgbClr val="626D78"/>
                </a:solidFill>
                <a:latin typeface="Fira Sans"/>
                <a:ea typeface="Fira Sans"/>
                <a:cs typeface="Fira Sans"/>
                <a:sym typeface="Fira Sans"/>
              </a:defRPr>
            </a:lvl2pPr>
            <a:lvl3pPr marL="1371600" marR="0" lvl="2" indent="-330200" algn="l" rtl="0">
              <a:lnSpc>
                <a:spcPct val="100000"/>
              </a:lnSpc>
              <a:spcBef>
                <a:spcPts val="500"/>
              </a:spcBef>
              <a:spcAft>
                <a:spcPts val="0"/>
              </a:spcAft>
              <a:buClr>
                <a:schemeClr val="accent1"/>
              </a:buClr>
              <a:buSzPts val="1600"/>
              <a:buFont typeface="Fira Sans"/>
              <a:buChar char="*"/>
              <a:defRPr sz="1600" b="0" i="0" u="none" strike="noStrike" cap="none">
                <a:solidFill>
                  <a:srgbClr val="626D78"/>
                </a:solidFill>
                <a:latin typeface="Fira Sans"/>
                <a:ea typeface="Fira Sans"/>
                <a:cs typeface="Fira Sans"/>
                <a:sym typeface="Fira Sans"/>
              </a:defRPr>
            </a:lvl3pPr>
            <a:lvl4pPr marL="1828800" marR="0" lvl="3" indent="-317500" algn="l" rtl="0">
              <a:lnSpc>
                <a:spcPct val="100000"/>
              </a:lnSpc>
              <a:spcBef>
                <a:spcPts val="500"/>
              </a:spcBef>
              <a:spcAft>
                <a:spcPts val="0"/>
              </a:spcAft>
              <a:buClr>
                <a:schemeClr val="accent1"/>
              </a:buClr>
              <a:buSzPts val="1400"/>
              <a:buFont typeface="Fira Sans"/>
              <a:buChar char="*"/>
              <a:defRPr sz="1400" b="0" i="0" u="none" strike="noStrike" cap="none">
                <a:solidFill>
                  <a:srgbClr val="626D78"/>
                </a:solidFill>
                <a:latin typeface="Fira Sans"/>
                <a:ea typeface="Fira Sans"/>
                <a:cs typeface="Fira Sans"/>
                <a:sym typeface="Fira Sans"/>
              </a:defRPr>
            </a:lvl4pPr>
            <a:lvl5pPr marL="2286000" marR="0" lvl="4" indent="-317500" algn="l" rtl="0">
              <a:lnSpc>
                <a:spcPct val="100000"/>
              </a:lnSpc>
              <a:spcBef>
                <a:spcPts val="500"/>
              </a:spcBef>
              <a:spcAft>
                <a:spcPts val="0"/>
              </a:spcAft>
              <a:buClr>
                <a:schemeClr val="accent1"/>
              </a:buClr>
              <a:buSzPts val="1400"/>
              <a:buFont typeface="Fira Sans"/>
              <a:buChar char="*"/>
              <a:defRPr sz="1400" b="0" i="0" u="none" strike="noStrike" cap="none">
                <a:solidFill>
                  <a:srgbClr val="626D78"/>
                </a:solidFill>
                <a:latin typeface="Fira Sans"/>
                <a:ea typeface="Fira Sans"/>
                <a:cs typeface="Fira Sans"/>
                <a:sym typeface="Fira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9pPr>
          </a:lstStyle>
          <a:p>
            <a:endParaRPr/>
          </a:p>
        </p:txBody>
      </p:sp>
      <p:pic>
        <p:nvPicPr>
          <p:cNvPr id="12" name="Google Shape;12;p18"/>
          <p:cNvPicPr preferRelativeResize="0"/>
          <p:nvPr/>
        </p:nvPicPr>
        <p:blipFill rotWithShape="1">
          <a:blip r:embed="rId36">
            <a:alphaModFix/>
          </a:blip>
          <a:srcRect/>
          <a:stretch/>
        </p:blipFill>
        <p:spPr>
          <a:xfrm>
            <a:off x="9089628" y="6165304"/>
            <a:ext cx="602399" cy="458971"/>
          </a:xfrm>
          <a:prstGeom prst="rect">
            <a:avLst/>
          </a:prstGeom>
          <a:noFill/>
          <a:ln>
            <a:noFill/>
          </a:ln>
        </p:spPr>
      </p:pic>
    </p:spTree>
    <p:extLst>
      <p:ext uri="{BB962C8B-B14F-4D97-AF65-F5344CB8AC3E}">
        <p14:creationId xmlns:p14="http://schemas.microsoft.com/office/powerpoint/2010/main" val="625687364"/>
      </p:ext>
    </p:extLst>
  </p:cSld>
  <p:clrMap bg1="lt1" tx1="dk1" bg2="dk2" tx2="lt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 id="2147484783" r:id="rId14"/>
    <p:sldLayoutId id="2147484784" r:id="rId15"/>
    <p:sldLayoutId id="2147484785" r:id="rId16"/>
    <p:sldLayoutId id="2147484786" r:id="rId17"/>
    <p:sldLayoutId id="2147484787" r:id="rId18"/>
    <p:sldLayoutId id="2147484788" r:id="rId19"/>
    <p:sldLayoutId id="2147484789" r:id="rId20"/>
    <p:sldLayoutId id="2147484790" r:id="rId21"/>
    <p:sldLayoutId id="2147484791" r:id="rId22"/>
    <p:sldLayoutId id="2147484792" r:id="rId23"/>
    <p:sldLayoutId id="2147484793" r:id="rId24"/>
    <p:sldLayoutId id="2147484794" r:id="rId25"/>
    <p:sldLayoutId id="2147484795" r:id="rId26"/>
    <p:sldLayoutId id="2147484796" r:id="rId27"/>
    <p:sldLayoutId id="2147484797" r:id="rId28"/>
    <p:sldLayoutId id="2147484798" r:id="rId29"/>
    <p:sldLayoutId id="2147484799" r:id="rId30"/>
    <p:sldLayoutId id="2147484800" r:id="rId3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7"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5"/>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126AFEB-813A-2900-2714-DA0134CC345E}"/>
              </a:ext>
            </a:extLst>
          </p:cNvPr>
          <p:cNvGraphicFramePr>
            <a:graphicFrameLocks noChangeAspect="1"/>
          </p:cNvGraphicFramePr>
          <p:nvPr userDrawn="1">
            <p:custDataLst>
              <p:tags r:id="rId15"/>
            </p:custDataLst>
            <p:extLst>
              <p:ext uri="{D42A27DB-BD31-4B8C-83A1-F6EECF244321}">
                <p14:modId xmlns:p14="http://schemas.microsoft.com/office/powerpoint/2010/main" val="580580212"/>
              </p:ext>
            </p:extLst>
          </p:nvPr>
        </p:nvGraphicFramePr>
        <p:xfrm>
          <a:off x="1721" y="2118"/>
          <a:ext cx="1720" cy="2117"/>
        </p:xfrm>
        <a:graphic>
          <a:graphicData uri="http://schemas.openxmlformats.org/presentationml/2006/ole">
            <mc:AlternateContent xmlns:mc="http://schemas.openxmlformats.org/markup-compatibility/2006">
              <mc:Choice xmlns:v="urn:schemas-microsoft-com:vml" Requires="v">
                <p:oleObj name="think-cell Slide" r:id="rId16" imgW="504" imgH="484" progId="TCLayout.ActiveDocument.1">
                  <p:embed/>
                </p:oleObj>
              </mc:Choice>
              <mc:Fallback>
                <p:oleObj name="think-cell Slide" r:id="rId16" imgW="504" imgH="484" progId="TCLayout.ActiveDocument.1">
                  <p:embed/>
                  <p:pic>
                    <p:nvPicPr>
                      <p:cNvPr id="3" name="think-cell data - do not delete" hidden="1">
                        <a:extLst>
                          <a:ext uri="{FF2B5EF4-FFF2-40B4-BE49-F238E27FC236}">
                            <a16:creationId xmlns:a16="http://schemas.microsoft.com/office/drawing/2014/main" id="{0126AFEB-813A-2900-2714-DA0134CC345E}"/>
                          </a:ext>
                        </a:extLst>
                      </p:cNvPr>
                      <p:cNvPicPr/>
                      <p:nvPr/>
                    </p:nvPicPr>
                    <p:blipFill>
                      <a:blip r:embed="rId17"/>
                      <a:stretch>
                        <a:fillRect/>
                      </a:stretch>
                    </p:blipFill>
                    <p:spPr>
                      <a:xfrm>
                        <a:off x="1721" y="2118"/>
                        <a:ext cx="1720" cy="2117"/>
                      </a:xfrm>
                      <a:prstGeom prst="rect">
                        <a:avLst/>
                      </a:prstGeom>
                    </p:spPr>
                  </p:pic>
                </p:oleObj>
              </mc:Fallback>
            </mc:AlternateContent>
          </a:graphicData>
        </a:graphic>
      </p:graphicFrame>
      <p:sp>
        <p:nvSpPr>
          <p:cNvPr id="6" name="Google Shape;6;p1"/>
          <p:cNvSpPr txBox="1">
            <a:spLocks noGrp="1"/>
          </p:cNvSpPr>
          <p:nvPr>
            <p:ph type="title"/>
          </p:nvPr>
        </p:nvSpPr>
        <p:spPr>
          <a:xfrm>
            <a:off x="337675" y="593367"/>
            <a:ext cx="9230650" cy="763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accent2"/>
              </a:buClr>
              <a:buSzPts val="3500"/>
              <a:buFont typeface="DM Serif Display"/>
              <a:buNone/>
              <a:defRPr sz="3500">
                <a:solidFill>
                  <a:schemeClr val="accent2"/>
                </a:solidFill>
                <a:latin typeface="DM Serif Display"/>
                <a:ea typeface="DM Serif Display"/>
                <a:cs typeface="DM Serif Display"/>
                <a:sym typeface="DM Serif Display"/>
              </a:defRPr>
            </a:lvl1pPr>
            <a:lvl2pPr lvl="1" rtl="0">
              <a:spcBef>
                <a:spcPts val="0"/>
              </a:spcBef>
              <a:spcAft>
                <a:spcPts val="0"/>
              </a:spcAft>
              <a:buClr>
                <a:schemeClr val="accent2"/>
              </a:buClr>
              <a:buSzPts val="3500"/>
              <a:buFont typeface="DM Serif Display"/>
              <a:buNone/>
              <a:defRPr sz="3500">
                <a:solidFill>
                  <a:schemeClr val="accent2"/>
                </a:solidFill>
                <a:latin typeface="DM Serif Display"/>
                <a:ea typeface="DM Serif Display"/>
                <a:cs typeface="DM Serif Display"/>
                <a:sym typeface="DM Serif Display"/>
              </a:defRPr>
            </a:lvl2pPr>
            <a:lvl3pPr lvl="2" rtl="0">
              <a:spcBef>
                <a:spcPts val="0"/>
              </a:spcBef>
              <a:spcAft>
                <a:spcPts val="0"/>
              </a:spcAft>
              <a:buClr>
                <a:schemeClr val="accent2"/>
              </a:buClr>
              <a:buSzPts val="3500"/>
              <a:buFont typeface="DM Serif Display"/>
              <a:buNone/>
              <a:defRPr sz="3500">
                <a:solidFill>
                  <a:schemeClr val="accent2"/>
                </a:solidFill>
                <a:latin typeface="DM Serif Display"/>
                <a:ea typeface="DM Serif Display"/>
                <a:cs typeface="DM Serif Display"/>
                <a:sym typeface="DM Serif Display"/>
              </a:defRPr>
            </a:lvl3pPr>
            <a:lvl4pPr lvl="3" rtl="0">
              <a:spcBef>
                <a:spcPts val="0"/>
              </a:spcBef>
              <a:spcAft>
                <a:spcPts val="0"/>
              </a:spcAft>
              <a:buClr>
                <a:schemeClr val="accent2"/>
              </a:buClr>
              <a:buSzPts val="3500"/>
              <a:buFont typeface="DM Serif Display"/>
              <a:buNone/>
              <a:defRPr sz="3500">
                <a:solidFill>
                  <a:schemeClr val="accent2"/>
                </a:solidFill>
                <a:latin typeface="DM Serif Display"/>
                <a:ea typeface="DM Serif Display"/>
                <a:cs typeface="DM Serif Display"/>
                <a:sym typeface="DM Serif Display"/>
              </a:defRPr>
            </a:lvl4pPr>
            <a:lvl5pPr lvl="4" rtl="0">
              <a:spcBef>
                <a:spcPts val="0"/>
              </a:spcBef>
              <a:spcAft>
                <a:spcPts val="0"/>
              </a:spcAft>
              <a:buClr>
                <a:schemeClr val="accent2"/>
              </a:buClr>
              <a:buSzPts val="3500"/>
              <a:buFont typeface="DM Serif Display"/>
              <a:buNone/>
              <a:defRPr sz="3500">
                <a:solidFill>
                  <a:schemeClr val="accent2"/>
                </a:solidFill>
                <a:latin typeface="DM Serif Display"/>
                <a:ea typeface="DM Serif Display"/>
                <a:cs typeface="DM Serif Display"/>
                <a:sym typeface="DM Serif Display"/>
              </a:defRPr>
            </a:lvl5pPr>
            <a:lvl6pPr lvl="5" rtl="0">
              <a:spcBef>
                <a:spcPts val="0"/>
              </a:spcBef>
              <a:spcAft>
                <a:spcPts val="0"/>
              </a:spcAft>
              <a:buClr>
                <a:schemeClr val="accent2"/>
              </a:buClr>
              <a:buSzPts val="3500"/>
              <a:buFont typeface="DM Serif Display"/>
              <a:buNone/>
              <a:defRPr sz="3500">
                <a:solidFill>
                  <a:schemeClr val="accent2"/>
                </a:solidFill>
                <a:latin typeface="DM Serif Display"/>
                <a:ea typeface="DM Serif Display"/>
                <a:cs typeface="DM Serif Display"/>
                <a:sym typeface="DM Serif Display"/>
              </a:defRPr>
            </a:lvl6pPr>
            <a:lvl7pPr lvl="6" rtl="0">
              <a:spcBef>
                <a:spcPts val="0"/>
              </a:spcBef>
              <a:spcAft>
                <a:spcPts val="0"/>
              </a:spcAft>
              <a:buClr>
                <a:schemeClr val="accent2"/>
              </a:buClr>
              <a:buSzPts val="3500"/>
              <a:buFont typeface="DM Serif Display"/>
              <a:buNone/>
              <a:defRPr sz="3500">
                <a:solidFill>
                  <a:schemeClr val="accent2"/>
                </a:solidFill>
                <a:latin typeface="DM Serif Display"/>
                <a:ea typeface="DM Serif Display"/>
                <a:cs typeface="DM Serif Display"/>
                <a:sym typeface="DM Serif Display"/>
              </a:defRPr>
            </a:lvl7pPr>
            <a:lvl8pPr lvl="7" rtl="0">
              <a:spcBef>
                <a:spcPts val="0"/>
              </a:spcBef>
              <a:spcAft>
                <a:spcPts val="0"/>
              </a:spcAft>
              <a:buClr>
                <a:schemeClr val="accent2"/>
              </a:buClr>
              <a:buSzPts val="3500"/>
              <a:buFont typeface="DM Serif Display"/>
              <a:buNone/>
              <a:defRPr sz="3500">
                <a:solidFill>
                  <a:schemeClr val="accent2"/>
                </a:solidFill>
                <a:latin typeface="DM Serif Display"/>
                <a:ea typeface="DM Serif Display"/>
                <a:cs typeface="DM Serif Display"/>
                <a:sym typeface="DM Serif Display"/>
              </a:defRPr>
            </a:lvl8pPr>
            <a:lvl9pPr lvl="8" rtl="0">
              <a:spcBef>
                <a:spcPts val="0"/>
              </a:spcBef>
              <a:spcAft>
                <a:spcPts val="0"/>
              </a:spcAft>
              <a:buClr>
                <a:schemeClr val="accent2"/>
              </a:buClr>
              <a:buSzPts val="3500"/>
              <a:buFont typeface="DM Serif Display"/>
              <a:buNone/>
              <a:defRPr sz="3500">
                <a:solidFill>
                  <a:schemeClr val="accent2"/>
                </a:solidFill>
                <a:latin typeface="DM Serif Display"/>
                <a:ea typeface="DM Serif Display"/>
                <a:cs typeface="DM Serif Display"/>
                <a:sym typeface="DM Serif Display"/>
              </a:defRPr>
            </a:lvl9pPr>
          </a:lstStyle>
          <a:p>
            <a:endParaRPr/>
          </a:p>
        </p:txBody>
      </p:sp>
      <p:sp>
        <p:nvSpPr>
          <p:cNvPr id="7" name="Google Shape;7;p1"/>
          <p:cNvSpPr txBox="1">
            <a:spLocks noGrp="1"/>
          </p:cNvSpPr>
          <p:nvPr>
            <p:ph type="body" idx="1"/>
          </p:nvPr>
        </p:nvSpPr>
        <p:spPr>
          <a:xfrm>
            <a:off x="337675" y="1536633"/>
            <a:ext cx="9230650" cy="4555200"/>
          </a:xfrm>
          <a:prstGeom prst="rect">
            <a:avLst/>
          </a:prstGeom>
          <a:noFill/>
          <a:ln>
            <a:noFill/>
          </a:ln>
        </p:spPr>
        <p:txBody>
          <a:bodyPr spcFirstLastPara="1" wrap="square" lIns="91425" tIns="91425" rIns="91425" bIns="91425" anchor="t" anchorCtr="0">
            <a:noAutofit/>
          </a:bodyPr>
          <a:lstStyle>
            <a:lvl1pPr marL="457200" lvl="0" indent="-317500">
              <a:lnSpc>
                <a:spcPct val="100000"/>
              </a:lnSpc>
              <a:spcBef>
                <a:spcPts val="0"/>
              </a:spcBef>
              <a:spcAft>
                <a:spcPts val="0"/>
              </a:spcAft>
              <a:buClr>
                <a:schemeClr val="accent2"/>
              </a:buClr>
              <a:buSzPts val="1400"/>
              <a:buFont typeface="Open Sans"/>
              <a:buChar char="●"/>
              <a:defRPr>
                <a:solidFill>
                  <a:schemeClr val="accent2"/>
                </a:solidFill>
                <a:latin typeface="Open Sans"/>
                <a:ea typeface="Open Sans"/>
                <a:cs typeface="Open Sans"/>
                <a:sym typeface="Open Sans"/>
              </a:defRPr>
            </a:lvl1pPr>
            <a:lvl2pPr marL="914400" lvl="1" indent="-317500">
              <a:lnSpc>
                <a:spcPct val="100000"/>
              </a:lnSpc>
              <a:spcBef>
                <a:spcPts val="1600"/>
              </a:spcBef>
              <a:spcAft>
                <a:spcPts val="0"/>
              </a:spcAft>
              <a:buClr>
                <a:schemeClr val="accent2"/>
              </a:buClr>
              <a:buSzPts val="1400"/>
              <a:buFont typeface="Open Sans"/>
              <a:buChar char="○"/>
              <a:defRPr>
                <a:solidFill>
                  <a:schemeClr val="accent2"/>
                </a:solidFill>
                <a:latin typeface="Open Sans"/>
                <a:ea typeface="Open Sans"/>
                <a:cs typeface="Open Sans"/>
                <a:sym typeface="Open Sans"/>
              </a:defRPr>
            </a:lvl2pPr>
            <a:lvl3pPr marL="1371600" lvl="2" indent="-317500">
              <a:lnSpc>
                <a:spcPct val="100000"/>
              </a:lnSpc>
              <a:spcBef>
                <a:spcPts val="1600"/>
              </a:spcBef>
              <a:spcAft>
                <a:spcPts val="0"/>
              </a:spcAft>
              <a:buClr>
                <a:schemeClr val="accent2"/>
              </a:buClr>
              <a:buSzPts val="1400"/>
              <a:buFont typeface="Open Sans"/>
              <a:buChar char="■"/>
              <a:defRPr>
                <a:solidFill>
                  <a:schemeClr val="accent2"/>
                </a:solidFill>
                <a:latin typeface="Open Sans"/>
                <a:ea typeface="Open Sans"/>
                <a:cs typeface="Open Sans"/>
                <a:sym typeface="Open Sans"/>
              </a:defRPr>
            </a:lvl3pPr>
            <a:lvl4pPr marL="1828800" lvl="3" indent="-317500">
              <a:lnSpc>
                <a:spcPct val="100000"/>
              </a:lnSpc>
              <a:spcBef>
                <a:spcPts val="1600"/>
              </a:spcBef>
              <a:spcAft>
                <a:spcPts val="0"/>
              </a:spcAft>
              <a:buClr>
                <a:schemeClr val="accent2"/>
              </a:buClr>
              <a:buSzPts val="1400"/>
              <a:buFont typeface="Open Sans"/>
              <a:buChar char="●"/>
              <a:defRPr>
                <a:solidFill>
                  <a:schemeClr val="accent2"/>
                </a:solidFill>
                <a:latin typeface="Open Sans"/>
                <a:ea typeface="Open Sans"/>
                <a:cs typeface="Open Sans"/>
                <a:sym typeface="Open Sans"/>
              </a:defRPr>
            </a:lvl4pPr>
            <a:lvl5pPr marL="2286000" lvl="4" indent="-317500">
              <a:lnSpc>
                <a:spcPct val="100000"/>
              </a:lnSpc>
              <a:spcBef>
                <a:spcPts val="1600"/>
              </a:spcBef>
              <a:spcAft>
                <a:spcPts val="0"/>
              </a:spcAft>
              <a:buClr>
                <a:schemeClr val="accent2"/>
              </a:buClr>
              <a:buSzPts val="1400"/>
              <a:buFont typeface="Open Sans"/>
              <a:buChar char="○"/>
              <a:defRPr>
                <a:solidFill>
                  <a:schemeClr val="accent2"/>
                </a:solidFill>
                <a:latin typeface="Open Sans"/>
                <a:ea typeface="Open Sans"/>
                <a:cs typeface="Open Sans"/>
                <a:sym typeface="Open Sans"/>
              </a:defRPr>
            </a:lvl5pPr>
            <a:lvl6pPr marL="2743200" lvl="5" indent="-317500">
              <a:lnSpc>
                <a:spcPct val="100000"/>
              </a:lnSpc>
              <a:spcBef>
                <a:spcPts val="1600"/>
              </a:spcBef>
              <a:spcAft>
                <a:spcPts val="0"/>
              </a:spcAft>
              <a:buClr>
                <a:schemeClr val="accent2"/>
              </a:buClr>
              <a:buSzPts val="1400"/>
              <a:buFont typeface="Open Sans"/>
              <a:buChar char="■"/>
              <a:defRPr>
                <a:solidFill>
                  <a:schemeClr val="accent2"/>
                </a:solidFill>
                <a:latin typeface="Open Sans"/>
                <a:ea typeface="Open Sans"/>
                <a:cs typeface="Open Sans"/>
                <a:sym typeface="Open Sans"/>
              </a:defRPr>
            </a:lvl6pPr>
            <a:lvl7pPr marL="3200400" lvl="6" indent="-317500">
              <a:lnSpc>
                <a:spcPct val="100000"/>
              </a:lnSpc>
              <a:spcBef>
                <a:spcPts val="1600"/>
              </a:spcBef>
              <a:spcAft>
                <a:spcPts val="0"/>
              </a:spcAft>
              <a:buClr>
                <a:schemeClr val="accent2"/>
              </a:buClr>
              <a:buSzPts val="1400"/>
              <a:buFont typeface="Open Sans"/>
              <a:buChar char="●"/>
              <a:defRPr>
                <a:solidFill>
                  <a:schemeClr val="accent2"/>
                </a:solidFill>
                <a:latin typeface="Open Sans"/>
                <a:ea typeface="Open Sans"/>
                <a:cs typeface="Open Sans"/>
                <a:sym typeface="Open Sans"/>
              </a:defRPr>
            </a:lvl7pPr>
            <a:lvl8pPr marL="3657600" lvl="7" indent="-317500">
              <a:lnSpc>
                <a:spcPct val="100000"/>
              </a:lnSpc>
              <a:spcBef>
                <a:spcPts val="1600"/>
              </a:spcBef>
              <a:spcAft>
                <a:spcPts val="0"/>
              </a:spcAft>
              <a:buClr>
                <a:schemeClr val="accent2"/>
              </a:buClr>
              <a:buSzPts val="1400"/>
              <a:buFont typeface="Open Sans"/>
              <a:buChar char="○"/>
              <a:defRPr>
                <a:solidFill>
                  <a:schemeClr val="accent2"/>
                </a:solidFill>
                <a:latin typeface="Open Sans"/>
                <a:ea typeface="Open Sans"/>
                <a:cs typeface="Open Sans"/>
                <a:sym typeface="Open Sans"/>
              </a:defRPr>
            </a:lvl8pPr>
            <a:lvl9pPr marL="4114800" lvl="8" indent="-317500">
              <a:lnSpc>
                <a:spcPct val="100000"/>
              </a:lnSpc>
              <a:spcBef>
                <a:spcPts val="1600"/>
              </a:spcBef>
              <a:spcAft>
                <a:spcPts val="1600"/>
              </a:spcAft>
              <a:buClr>
                <a:schemeClr val="accent2"/>
              </a:buClr>
              <a:buSzPts val="1400"/>
              <a:buFont typeface="Open Sans"/>
              <a:buChar char="■"/>
              <a:defRPr>
                <a:solidFill>
                  <a:schemeClr val="accent2"/>
                </a:solidFill>
                <a:latin typeface="Open Sans"/>
                <a:ea typeface="Open Sans"/>
                <a:cs typeface="Open Sans"/>
                <a:sym typeface="Open Sans"/>
              </a:defRPr>
            </a:lvl9pPr>
          </a:lstStyle>
          <a:p>
            <a:endParaRPr/>
          </a:p>
        </p:txBody>
      </p:sp>
    </p:spTree>
    <p:extLst>
      <p:ext uri="{BB962C8B-B14F-4D97-AF65-F5344CB8AC3E}">
        <p14:creationId xmlns:p14="http://schemas.microsoft.com/office/powerpoint/2010/main" val="498549778"/>
      </p:ext>
    </p:extLst>
  </p:cSld>
  <p:clrMap bg1="lt1" tx1="dk1" bg2="dk2" tx2="lt2" accent1="accent1" accent2="accent2" accent3="accent3" accent4="accent4" accent5="accent5" accent6="accent6" hlink="hlink" folHlink="folHlink"/>
  <p:sldLayoutIdLst>
    <p:sldLayoutId id="2147484802" r:id="rId1"/>
    <p:sldLayoutId id="2147484803" r:id="rId2"/>
    <p:sldLayoutId id="2147484804" r:id="rId3"/>
    <p:sldLayoutId id="2147484805" r:id="rId4"/>
    <p:sldLayoutId id="2147484806" r:id="rId5"/>
    <p:sldLayoutId id="2147484807" r:id="rId6"/>
    <p:sldLayoutId id="2147484808" r:id="rId7"/>
    <p:sldLayoutId id="2147484809" r:id="rId8"/>
    <p:sldLayoutId id="2147484810" r:id="rId9"/>
    <p:sldLayoutId id="2147484811" r:id="rId10"/>
    <p:sldLayoutId id="2147484812" r:id="rId11"/>
    <p:sldLayoutId id="2147484813" r:id="rId12"/>
    <p:sldLayoutId id="2147484814"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xml"/><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14.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69.xml"/></Relationships>
</file>

<file path=ppt/slides/_rels/slide15.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4.xml"/><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6.xml"/><Relationship Id="rId1" Type="http://schemas.openxmlformats.org/officeDocument/2006/relationships/slideLayout" Target="../slideLayouts/slideLayout69.xml"/><Relationship Id="rId6" Type="http://schemas.openxmlformats.org/officeDocument/2006/relationships/hyperlink" Target="https://crr.gov.cz/kontakty/konzultacni-servis/" TargetMode="External"/><Relationship Id="rId5" Type="http://schemas.openxmlformats.org/officeDocument/2006/relationships/hyperlink" Target="https://crr.gov.cz/irop/projekt-a-kontrola/kontrolni-listy/" TargetMode="External"/><Relationship Id="rId4" Type="http://schemas.openxmlformats.org/officeDocument/2006/relationships/hyperlink" Target="https://irop.gov.cz/cs/vyzvy-2021-2027"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98.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102.svg"/><Relationship Id="rId5" Type="http://schemas.openxmlformats.org/officeDocument/2006/relationships/image" Target="../media/image101.png"/><Relationship Id="rId10" Type="http://schemas.openxmlformats.org/officeDocument/2006/relationships/image" Target="../media/image106.svg"/><Relationship Id="rId4" Type="http://schemas.openxmlformats.org/officeDocument/2006/relationships/image" Target="../media/image100.svg"/><Relationship Id="rId9" Type="http://schemas.openxmlformats.org/officeDocument/2006/relationships/image" Target="../media/image105.png"/></Relationships>
</file>

<file path=ppt/slides/_rels/slide2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4.xml"/><Relationship Id="rId1" Type="http://schemas.openxmlformats.org/officeDocument/2006/relationships/themeOverride" Target="../theme/themeOverride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6.xml"/><Relationship Id="rId7" Type="http://schemas.openxmlformats.org/officeDocument/2006/relationships/diagramColors" Target="../diagrams/colors2.xml"/><Relationship Id="rId2" Type="http://schemas.openxmlformats.org/officeDocument/2006/relationships/slideLayout" Target="../slideLayouts/slideLayout4.xml"/><Relationship Id="rId1" Type="http://schemas.openxmlformats.org/officeDocument/2006/relationships/themeOverride" Target="../theme/themeOverride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1.xml"/><Relationship Id="rId1" Type="http://schemas.openxmlformats.org/officeDocument/2006/relationships/tags" Target="../tags/tag3.xml"/><Relationship Id="rId6" Type="http://schemas.openxmlformats.org/officeDocument/2006/relationships/image" Target="../media/image109.jpeg"/><Relationship Id="rId5" Type="http://schemas.openxmlformats.org/officeDocument/2006/relationships/image" Target="../media/image57.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6.xml"/><Relationship Id="rId7" Type="http://schemas.openxmlformats.org/officeDocument/2006/relationships/slideLayout" Target="../slideLayouts/slideLayout12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chart" Target="../charts/chart3.xml"/><Relationship Id="rId5" Type="http://schemas.openxmlformats.org/officeDocument/2006/relationships/tags" Target="../tags/tag8.xml"/><Relationship Id="rId10" Type="http://schemas.openxmlformats.org/officeDocument/2006/relationships/image" Target="../media/image110.emf"/><Relationship Id="rId4" Type="http://schemas.openxmlformats.org/officeDocument/2006/relationships/tags" Target="../tags/tag7.xml"/><Relationship Id="rId9" Type="http://schemas.openxmlformats.org/officeDocument/2006/relationships/oleObject" Target="../embeddings/oleObject4.bin"/></Relationships>
</file>

<file path=ppt/slides/_rels/slide39.xml.rels><?xml version="1.0" encoding="UTF-8" standalone="yes"?>
<Relationships xmlns="http://schemas.openxmlformats.org/package/2006/relationships"><Relationship Id="rId3" Type="http://schemas.openxmlformats.org/officeDocument/2006/relationships/chart" Target="../charts/chart4.xml"/><Relationship Id="rId7" Type="http://schemas.openxmlformats.org/officeDocument/2006/relationships/image" Target="../media/image113.png"/><Relationship Id="rId2" Type="http://schemas.openxmlformats.org/officeDocument/2006/relationships/notesSlide" Target="../notesSlides/notesSlide19.xml"/><Relationship Id="rId1" Type="http://schemas.openxmlformats.org/officeDocument/2006/relationships/slideLayout" Target="../slideLayouts/slideLayout123.xml"/><Relationship Id="rId6" Type="http://schemas.openxmlformats.org/officeDocument/2006/relationships/image" Target="../media/image112.png"/><Relationship Id="rId5" Type="http://schemas.openxmlformats.org/officeDocument/2006/relationships/image" Target="../media/image111.jpeg"/><Relationship Id="rId4" Type="http://schemas.openxmlformats.org/officeDocument/2006/relationships/chart" Target="../charts/char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3.xml"/></Relationships>
</file>

<file path=ppt/slides/_rels/slide41.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12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115.svg"/></Relationships>
</file>

<file path=ppt/slides/_rels/slide42.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12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115.svg"/></Relationships>
</file>

<file path=ppt/slides/_rels/slide4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3.xml"/><Relationship Id="rId1" Type="http://schemas.openxmlformats.org/officeDocument/2006/relationships/slideLayout" Target="../slideLayouts/slideLayout123.xml"/></Relationships>
</file>

<file path=ppt/slides/_rels/slide4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4.xml"/><Relationship Id="rId1" Type="http://schemas.openxmlformats.org/officeDocument/2006/relationships/slideLayout" Target="../slideLayouts/slideLayout111.xml"/></Relationships>
</file>

<file path=ppt/slides/_rels/slide4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25.xml"/><Relationship Id="rId1" Type="http://schemas.openxmlformats.org/officeDocument/2006/relationships/slideLayout" Target="../slideLayouts/slideLayout123.xml"/><Relationship Id="rId4" Type="http://schemas.openxmlformats.org/officeDocument/2006/relationships/chart" Target="../charts/chart6.xml"/></Relationships>
</file>

<file path=ppt/slides/_rels/slide4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6.xml"/><Relationship Id="rId1" Type="http://schemas.openxmlformats.org/officeDocument/2006/relationships/slideLayout" Target="../slideLayouts/slideLayout123.xml"/><Relationship Id="rId4" Type="http://schemas.openxmlformats.org/officeDocument/2006/relationships/image" Target="../media/image111.jpeg"/></Relationships>
</file>

<file path=ppt/slides/_rels/slide4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7.xml"/><Relationship Id="rId1" Type="http://schemas.openxmlformats.org/officeDocument/2006/relationships/slideLayout" Target="../slideLayouts/slideLayout123.xml"/><Relationship Id="rId4" Type="http://schemas.openxmlformats.org/officeDocument/2006/relationships/image" Target="../media/image111.jpeg"/></Relationships>
</file>

<file path=ppt/slides/_rels/slide4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123.xml"/></Relationships>
</file>

<file path=ppt/slides/_rels/slide4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29.xml"/><Relationship Id="rId1" Type="http://schemas.openxmlformats.org/officeDocument/2006/relationships/slideLayout" Target="../slideLayouts/slideLayout123.xml"/><Relationship Id="rId4" Type="http://schemas.openxmlformats.org/officeDocument/2006/relationships/image" Target="../media/image121.png"/></Relationships>
</file>

<file path=ppt/slides/_rels/slide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0.xml"/><Relationship Id="rId1" Type="http://schemas.openxmlformats.org/officeDocument/2006/relationships/slideLayout" Target="../slideLayouts/slideLayout12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115.svg"/></Relationships>
</file>

<file path=ppt/slides/_rels/slide51.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13.xml"/></Relationships>
</file>

<file path=ppt/slides/_rels/slide52.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1.xml"/><Relationship Id="rId1" Type="http://schemas.openxmlformats.org/officeDocument/2006/relationships/slideLayout" Target="../slideLayouts/slideLayout12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115.svg"/></Relationships>
</file>

<file path=ppt/slides/_rels/slide53.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2.xml"/><Relationship Id="rId1" Type="http://schemas.openxmlformats.org/officeDocument/2006/relationships/slideLayout" Target="../slideLayouts/slideLayout12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 Id="rId9" Type="http://schemas.openxmlformats.org/officeDocument/2006/relationships/image" Target="../media/image115.svg"/></Relationships>
</file>

<file path=ppt/slides/_rels/slide54.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13.xml"/></Relationships>
</file>

<file path=ppt/slides/_rels/slide55.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3.xml"/><Relationship Id="rId1" Type="http://schemas.openxmlformats.org/officeDocument/2006/relationships/slideLayout" Target="../slideLayouts/slideLayout12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115.svg"/></Relationships>
</file>

<file path=ppt/slides/_rels/slide56.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13.xml"/></Relationships>
</file>

<file path=ppt/slides/_rels/slide57.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4.xml"/><Relationship Id="rId1" Type="http://schemas.openxmlformats.org/officeDocument/2006/relationships/slideLayout" Target="../slideLayouts/slideLayout12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 Id="rId9" Type="http://schemas.openxmlformats.org/officeDocument/2006/relationships/image" Target="../media/image115.svg"/></Relationships>
</file>

<file path=ppt/slides/_rels/slide58.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13.xml"/></Relationships>
</file>

<file path=ppt/slides/_rels/slide59.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5.xml"/><Relationship Id="rId1" Type="http://schemas.openxmlformats.org/officeDocument/2006/relationships/slideLayout" Target="../slideLayouts/slideLayout12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 Id="rId9" Type="http://schemas.openxmlformats.org/officeDocument/2006/relationships/image" Target="../media/image115.svg"/></Relationships>
</file>

<file path=ppt/slides/_rels/slide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6.xml"/><Relationship Id="rId1" Type="http://schemas.openxmlformats.org/officeDocument/2006/relationships/slideLayout" Target="../slideLayouts/slideLayout12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 Id="rId9" Type="http://schemas.openxmlformats.org/officeDocument/2006/relationships/image" Target="../media/image115.sv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7.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odnadpis 1"/>
          <p:cNvSpPr>
            <a:spLocks noGrp="1"/>
          </p:cNvSpPr>
          <p:nvPr>
            <p:ph type="subTitle" idx="1"/>
          </p:nvPr>
        </p:nvSpPr>
        <p:spPr>
          <a:xfrm>
            <a:off x="556182" y="5410986"/>
            <a:ext cx="5203596" cy="413742"/>
          </a:xfrm>
        </p:spPr>
        <p:txBody>
          <a:bodyPr lIns="74961" tIns="45720" rIns="91440" bIns="45720" anchor="t">
            <a:normAutofit/>
          </a:bodyPr>
          <a:lstStyle/>
          <a:p>
            <a:pPr hangingPunct="0">
              <a:lnSpc>
                <a:spcPts val="1700"/>
              </a:lnSpc>
              <a:spcAft>
                <a:spcPts val="800"/>
              </a:spcAft>
            </a:pPr>
            <a:r>
              <a:rPr lang="cs-CZ" sz="1400">
                <a:cs typeface="Times New Roman" panose="02020603050405020304" pitchFamily="18" charset="0"/>
              </a:rPr>
              <a:t>Praha, 10. září 2025</a:t>
            </a:r>
          </a:p>
        </p:txBody>
      </p:sp>
      <p:sp>
        <p:nvSpPr>
          <p:cNvPr id="3" name="Nadpis 2"/>
          <p:cNvSpPr>
            <a:spLocks noGrp="1"/>
          </p:cNvSpPr>
          <p:nvPr>
            <p:ph type="title"/>
          </p:nvPr>
        </p:nvSpPr>
        <p:spPr>
          <a:xfrm>
            <a:off x="1178117" y="2651760"/>
            <a:ext cx="7205653" cy="901926"/>
          </a:xfrm>
        </p:spPr>
        <p:txBody>
          <a:bodyPr lIns="74961" tIns="45720" rIns="91440" bIns="45720" anchor="t">
            <a:normAutofit fontScale="90000"/>
          </a:bodyPr>
          <a:lstStyle/>
          <a:p>
            <a:pPr algn="ctr"/>
            <a:r>
              <a:rPr lang="cs-CZ" sz="3600">
                <a:latin typeface="Arial"/>
                <a:cs typeface="Arial"/>
              </a:rPr>
              <a:t>Transformační komise</a:t>
            </a:r>
            <a:br>
              <a:rPr lang="cs-CZ">
                <a:latin typeface="Arial"/>
                <a:cs typeface="Arial"/>
              </a:rPr>
            </a:br>
            <a:endParaRPr lang="cs-CZ"/>
          </a:p>
        </p:txBody>
      </p:sp>
    </p:spTree>
    <p:extLst>
      <p:ext uri="{BB962C8B-B14F-4D97-AF65-F5344CB8AC3E}">
        <p14:creationId xmlns:p14="http://schemas.microsoft.com/office/powerpoint/2010/main" val="1293841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72F3E4-156E-0045-911B-1B54C82DBB8B}"/>
              </a:ext>
            </a:extLst>
          </p:cNvPr>
          <p:cNvSpPr>
            <a:spLocks noGrp="1"/>
          </p:cNvSpPr>
          <p:nvPr>
            <p:ph type="ctrTitle"/>
          </p:nvPr>
        </p:nvSpPr>
        <p:spPr>
          <a:xfrm>
            <a:off x="630837" y="2197155"/>
            <a:ext cx="5998563" cy="2450881"/>
          </a:xfrm>
        </p:spPr>
        <p:txBody>
          <a:bodyPr>
            <a:noAutofit/>
          </a:bodyPr>
          <a:lstStyle/>
          <a:p>
            <a:pPr>
              <a:lnSpc>
                <a:spcPct val="150000"/>
              </a:lnSpc>
            </a:pPr>
            <a:br>
              <a:rPr lang="cs-CZ"/>
            </a:br>
            <a:br>
              <a:rPr lang="cs-CZ"/>
            </a:br>
            <a:br>
              <a:rPr lang="cs-CZ"/>
            </a:br>
            <a:br>
              <a:rPr lang="cs-CZ"/>
            </a:br>
            <a:br>
              <a:rPr lang="cs-CZ"/>
            </a:br>
            <a:br>
              <a:rPr lang="cs-CZ"/>
            </a:br>
            <a:br>
              <a:rPr lang="cs-CZ"/>
            </a:br>
            <a:br>
              <a:rPr lang="cs-CZ"/>
            </a:br>
            <a:br>
              <a:rPr lang="cs-CZ"/>
            </a:br>
            <a:br>
              <a:rPr lang="cs-CZ"/>
            </a:br>
            <a:br>
              <a:rPr lang="cs-CZ"/>
            </a:br>
            <a:br>
              <a:rPr lang="cs-CZ"/>
            </a:br>
            <a:r>
              <a:rPr lang="cs-CZ" sz="3575"/>
              <a:t>Rozšíření podpory </a:t>
            </a:r>
            <a:br>
              <a:rPr lang="cs-CZ" sz="3575"/>
            </a:br>
            <a:r>
              <a:rPr lang="cs-CZ" sz="3575"/>
              <a:t>cestovního ruchu v IROP </a:t>
            </a:r>
            <a:br>
              <a:rPr lang="cs-CZ"/>
            </a:br>
            <a:endParaRPr lang="cs-CZ"/>
          </a:p>
        </p:txBody>
      </p:sp>
      <p:sp>
        <p:nvSpPr>
          <p:cNvPr id="3" name="Podnadpis 2">
            <a:extLst>
              <a:ext uri="{FF2B5EF4-FFF2-40B4-BE49-F238E27FC236}">
                <a16:creationId xmlns:a16="http://schemas.microsoft.com/office/drawing/2014/main" id="{B70EB2BE-A47F-6743-A95B-DD2D721E2B5C}"/>
              </a:ext>
            </a:extLst>
          </p:cNvPr>
          <p:cNvSpPr>
            <a:spLocks noGrp="1"/>
          </p:cNvSpPr>
          <p:nvPr>
            <p:ph type="subTitle" idx="1"/>
          </p:nvPr>
        </p:nvSpPr>
        <p:spPr>
          <a:xfrm>
            <a:off x="630837" y="4383307"/>
            <a:ext cx="5757863" cy="563617"/>
          </a:xfrm>
        </p:spPr>
        <p:txBody>
          <a:bodyPr>
            <a:normAutofit fontScale="25000" lnSpcReduction="20000"/>
          </a:bodyPr>
          <a:lstStyle/>
          <a:p>
            <a:endParaRPr lang="cs-CZ"/>
          </a:p>
          <a:p>
            <a:r>
              <a:rPr lang="cs-CZ" sz="6500"/>
              <a:t>Řídicí orgán IROP</a:t>
            </a:r>
          </a:p>
          <a:p>
            <a:r>
              <a:rPr lang="cs-CZ" sz="6500"/>
              <a:t>Praha, 10. 9. 2025</a:t>
            </a:r>
          </a:p>
          <a:p>
            <a:endParaRPr lang="cs-CZ" sz="6500"/>
          </a:p>
        </p:txBody>
      </p:sp>
    </p:spTree>
    <p:extLst>
      <p:ext uri="{BB962C8B-B14F-4D97-AF65-F5344CB8AC3E}">
        <p14:creationId xmlns:p14="http://schemas.microsoft.com/office/powerpoint/2010/main" val="26971216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F8122D1-6CB8-214A-B842-D4DC0DF3AD99}"/>
              </a:ext>
            </a:extLst>
          </p:cNvPr>
          <p:cNvSpPr>
            <a:spLocks noGrp="1"/>
          </p:cNvSpPr>
          <p:nvPr>
            <p:ph type="title"/>
          </p:nvPr>
        </p:nvSpPr>
        <p:spPr>
          <a:xfrm>
            <a:off x="4768203" y="1567592"/>
            <a:ext cx="4423560" cy="1139507"/>
          </a:xfrm>
        </p:spPr>
        <p:txBody>
          <a:bodyPr vert="horz" lIns="74295" tIns="37148" rIns="74295" bIns="37148" rtlCol="0" anchor="t">
            <a:normAutofit/>
          </a:bodyPr>
          <a:lstStyle/>
          <a:p>
            <a:r>
              <a:rPr lang="cs-CZ" sz="2925" dirty="0">
                <a:solidFill>
                  <a:schemeClr val="accent1"/>
                </a:solidFill>
              </a:rPr>
              <a:t>V</a:t>
            </a:r>
            <a:r>
              <a:rPr lang="en-US" sz="2925" dirty="0" err="1">
                <a:solidFill>
                  <a:schemeClr val="accent1"/>
                </a:solidFill>
              </a:rPr>
              <a:t>ýzvy</a:t>
            </a:r>
            <a:r>
              <a:rPr lang="en-US" sz="2925" dirty="0">
                <a:solidFill>
                  <a:schemeClr val="accent1"/>
                </a:solidFill>
              </a:rPr>
              <a:t> pro </a:t>
            </a:r>
            <a:r>
              <a:rPr lang="en-US" sz="2600" dirty="0" err="1">
                <a:solidFill>
                  <a:schemeClr val="accent1"/>
                </a:solidFill>
              </a:rPr>
              <a:t>cestovní</a:t>
            </a:r>
            <a:r>
              <a:rPr lang="en-US" sz="2925" dirty="0">
                <a:solidFill>
                  <a:schemeClr val="accent1"/>
                </a:solidFill>
              </a:rPr>
              <a:t> </a:t>
            </a:r>
            <a:r>
              <a:rPr lang="en-US" sz="2925" dirty="0" err="1">
                <a:solidFill>
                  <a:schemeClr val="accent1"/>
                </a:solidFill>
              </a:rPr>
              <a:t>ruch</a:t>
            </a:r>
            <a:r>
              <a:rPr lang="en-US" sz="2925" dirty="0">
                <a:solidFill>
                  <a:schemeClr val="accent1"/>
                </a:solidFill>
              </a:rPr>
              <a:t> v IROP</a:t>
            </a:r>
          </a:p>
        </p:txBody>
      </p:sp>
      <p:pic>
        <p:nvPicPr>
          <p:cNvPr id="7" name="Obrázek 6" descr="Obsah obrázku venku, příroda, budova, krajina&#10;&#10;Popis byl vytvořen automaticky">
            <a:extLst>
              <a:ext uri="{FF2B5EF4-FFF2-40B4-BE49-F238E27FC236}">
                <a16:creationId xmlns:a16="http://schemas.microsoft.com/office/drawing/2014/main" id="{22796A9D-B3E5-631B-356D-6AB7518A97BF}"/>
              </a:ext>
            </a:extLst>
          </p:cNvPr>
          <p:cNvPicPr>
            <a:picLocks noChangeAspect="1"/>
          </p:cNvPicPr>
          <p:nvPr/>
        </p:nvPicPr>
        <p:blipFill rotWithShape="1">
          <a:blip r:embed="rId2"/>
          <a:srcRect r="151" b="2"/>
          <a:stretch/>
        </p:blipFill>
        <p:spPr>
          <a:xfrm rot="5400000">
            <a:off x="-763705" y="763703"/>
            <a:ext cx="6137115" cy="4609708"/>
          </a:xfrm>
          <a:prstGeom prst="rect">
            <a:avLst/>
          </a:prstGeom>
        </p:spPr>
      </p:pic>
      <p:cxnSp>
        <p:nvCxnSpPr>
          <p:cNvPr id="22" name="Straight Connector 21">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852004" y="1350744"/>
            <a:ext cx="598763"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Zástupný obsah 2">
            <a:extLst>
              <a:ext uri="{FF2B5EF4-FFF2-40B4-BE49-F238E27FC236}">
                <a16:creationId xmlns:a16="http://schemas.microsoft.com/office/drawing/2014/main" id="{9B638AC5-A4E4-5341-8E12-C244565085E1}"/>
              </a:ext>
            </a:extLst>
          </p:cNvPr>
          <p:cNvSpPr>
            <a:spLocks noGrp="1"/>
          </p:cNvSpPr>
          <p:nvPr>
            <p:ph idx="1"/>
          </p:nvPr>
        </p:nvSpPr>
        <p:spPr>
          <a:xfrm>
            <a:off x="4768203" y="2715768"/>
            <a:ext cx="4423560" cy="2917856"/>
          </a:xfrm>
        </p:spPr>
        <p:txBody>
          <a:bodyPr vert="horz" lIns="74295" tIns="37148" rIns="74295" bIns="37148" rtlCol="0">
            <a:normAutofit/>
          </a:bodyPr>
          <a:lstStyle/>
          <a:p>
            <a:pPr marL="310853" indent="-278606">
              <a:spcBef>
                <a:spcPts val="488"/>
              </a:spcBef>
              <a:buFont typeface="Wingdings" panose="05000000000000000000" pitchFamily="2" charset="2"/>
              <a:buChar char="§"/>
              <a:defRPr/>
            </a:pPr>
            <a:r>
              <a:rPr lang="cs-CZ" sz="1625" b="1" dirty="0">
                <a:solidFill>
                  <a:schemeClr val="accent1"/>
                </a:solidFill>
              </a:rPr>
              <a:t>81. výzva Cestovní ruch (MRR)  </a:t>
            </a:r>
            <a:r>
              <a:rPr lang="cs-CZ" sz="1625" dirty="0">
                <a:solidFill>
                  <a:schemeClr val="accent1"/>
                </a:solidFill>
              </a:rPr>
              <a:t>– příjem žádostí do </a:t>
            </a:r>
            <a:r>
              <a:rPr lang="cs-CZ" sz="1625" b="1" dirty="0">
                <a:solidFill>
                  <a:schemeClr val="accent1"/>
                </a:solidFill>
              </a:rPr>
              <a:t>14. 1. 2026</a:t>
            </a:r>
          </a:p>
          <a:p>
            <a:pPr marL="310853" indent="-278606">
              <a:spcBef>
                <a:spcPts val="488"/>
              </a:spcBef>
              <a:buFont typeface="Wingdings" panose="05000000000000000000" pitchFamily="2" charset="2"/>
              <a:buChar char="§"/>
              <a:defRPr/>
            </a:pPr>
            <a:r>
              <a:rPr lang="cs-CZ" sz="1625" b="1" dirty="0">
                <a:solidFill>
                  <a:schemeClr val="tx1">
                    <a:lumMod val="50000"/>
                    <a:lumOff val="50000"/>
                  </a:schemeClr>
                </a:solidFill>
              </a:rPr>
              <a:t>82. výzva Cestovní ruch (PR)</a:t>
            </a:r>
            <a:r>
              <a:rPr lang="cs-CZ" sz="1625" dirty="0">
                <a:solidFill>
                  <a:schemeClr val="tx1">
                    <a:lumMod val="50000"/>
                    <a:lumOff val="50000"/>
                  </a:schemeClr>
                </a:solidFill>
              </a:rPr>
              <a:t>     – příjem žádostí do 14. 1. 2026</a:t>
            </a:r>
          </a:p>
          <a:p>
            <a:pPr marL="310853" indent="-278606">
              <a:spcBef>
                <a:spcPts val="488"/>
              </a:spcBef>
              <a:buFont typeface="Wingdings" panose="05000000000000000000" pitchFamily="2" charset="2"/>
              <a:buChar char="§"/>
              <a:defRPr/>
            </a:pPr>
            <a:r>
              <a:rPr lang="en-US" sz="1625" b="1" dirty="0">
                <a:solidFill>
                  <a:schemeClr val="tx1">
                    <a:lumMod val="50000"/>
                    <a:lumOff val="50000"/>
                  </a:schemeClr>
                </a:solidFill>
              </a:rPr>
              <a:t>86</a:t>
            </a:r>
            <a:r>
              <a:rPr lang="cs-CZ" sz="1625" b="1" dirty="0">
                <a:solidFill>
                  <a:schemeClr val="tx1">
                    <a:lumMod val="50000"/>
                    <a:lumOff val="50000"/>
                  </a:schemeClr>
                </a:solidFill>
              </a:rPr>
              <a:t>. výzva Cestovní ruch (CLLD) </a:t>
            </a:r>
            <a:r>
              <a:rPr lang="cs-CZ" sz="1625" dirty="0">
                <a:solidFill>
                  <a:schemeClr val="tx1">
                    <a:lumMod val="50000"/>
                    <a:lumOff val="50000"/>
                  </a:schemeClr>
                </a:solidFill>
              </a:rPr>
              <a:t>– příjem žádostí do 31. 12. 2027</a:t>
            </a:r>
          </a:p>
          <a:p>
            <a:pPr marL="310853" indent="-278606">
              <a:spcBef>
                <a:spcPts val="488"/>
              </a:spcBef>
              <a:buFont typeface="Wingdings" panose="05000000000000000000" pitchFamily="2" charset="2"/>
              <a:buChar char="§"/>
              <a:defRPr/>
            </a:pPr>
            <a:r>
              <a:rPr lang="cs-CZ" sz="1625" b="1" dirty="0">
                <a:solidFill>
                  <a:schemeClr val="tx1">
                    <a:lumMod val="50000"/>
                    <a:lumOff val="50000"/>
                  </a:schemeClr>
                </a:solidFill>
              </a:rPr>
              <a:t>90. výzva Cestovní ruch (ITI)      </a:t>
            </a:r>
            <a:r>
              <a:rPr lang="cs-CZ" sz="1625" dirty="0">
                <a:solidFill>
                  <a:schemeClr val="tx1">
                    <a:lumMod val="50000"/>
                    <a:lumOff val="50000"/>
                  </a:schemeClr>
                </a:solidFill>
              </a:rPr>
              <a:t>– příjem žádostí do 31. 12. 2027</a:t>
            </a:r>
            <a:endParaRPr lang="en-US" sz="1625" dirty="0">
              <a:solidFill>
                <a:schemeClr val="tx1"/>
              </a:solidFill>
            </a:endParaRPr>
          </a:p>
          <a:p>
            <a:pPr marL="0">
              <a:buFont typeface="Arial" panose="020B0604020202020204" pitchFamily="34" charset="0"/>
              <a:buChar char="•"/>
            </a:pPr>
            <a:endParaRPr lang="en-US" sz="1625" b="1" dirty="0">
              <a:solidFill>
                <a:schemeClr val="tx1"/>
              </a:solidFill>
            </a:endParaRPr>
          </a:p>
        </p:txBody>
      </p:sp>
    </p:spTree>
    <p:extLst>
      <p:ext uri="{BB962C8B-B14F-4D97-AF65-F5344CB8AC3E}">
        <p14:creationId xmlns:p14="http://schemas.microsoft.com/office/powerpoint/2010/main" val="882091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F8122D1-6CB8-214A-B842-D4DC0DF3AD99}"/>
              </a:ext>
            </a:extLst>
          </p:cNvPr>
          <p:cNvSpPr>
            <a:spLocks noGrp="1"/>
          </p:cNvSpPr>
          <p:nvPr>
            <p:ph type="title"/>
          </p:nvPr>
        </p:nvSpPr>
        <p:spPr>
          <a:xfrm>
            <a:off x="681037" y="-49194"/>
            <a:ext cx="8543925" cy="1325563"/>
          </a:xfrm>
        </p:spPr>
        <p:txBody>
          <a:bodyPr>
            <a:normAutofit/>
          </a:bodyPr>
          <a:lstStyle/>
          <a:p>
            <a:r>
              <a:rPr lang="cs-CZ" sz="2925" dirty="0"/>
              <a:t>81. výzva – nově rozšířená o Strukturálně postižené </a:t>
            </a:r>
            <a:r>
              <a:rPr lang="cs-CZ" sz="2763" dirty="0"/>
              <a:t>kraje</a:t>
            </a:r>
            <a:r>
              <a:rPr lang="cs-CZ" sz="2925" dirty="0"/>
              <a:t> (původně jen HSOÚ)</a:t>
            </a:r>
          </a:p>
        </p:txBody>
      </p:sp>
      <p:pic>
        <p:nvPicPr>
          <p:cNvPr id="2052" name="Picture 4">
            <a:extLst>
              <a:ext uri="{FF2B5EF4-FFF2-40B4-BE49-F238E27FC236}">
                <a16:creationId xmlns:a16="http://schemas.microsoft.com/office/drawing/2014/main" id="{0F80E805-E83D-8FDA-B88B-DD89E550D3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8452" y="1073415"/>
            <a:ext cx="7122542" cy="50350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65275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F8122D1-6CB8-214A-B842-D4DC0DF3AD99}"/>
              </a:ext>
            </a:extLst>
          </p:cNvPr>
          <p:cNvSpPr>
            <a:spLocks noGrp="1"/>
          </p:cNvSpPr>
          <p:nvPr>
            <p:ph type="title"/>
          </p:nvPr>
        </p:nvSpPr>
        <p:spPr>
          <a:xfrm>
            <a:off x="1208314" y="365126"/>
            <a:ext cx="8016649" cy="1325563"/>
          </a:xfrm>
        </p:spPr>
        <p:txBody>
          <a:bodyPr>
            <a:normAutofit/>
          </a:bodyPr>
          <a:lstStyle/>
          <a:p>
            <a:r>
              <a:rPr lang="cs-CZ" sz="3413" dirty="0"/>
              <a:t>Podporované aktivity</a:t>
            </a:r>
          </a:p>
        </p:txBody>
      </p:sp>
      <p:sp>
        <p:nvSpPr>
          <p:cNvPr id="3" name="Zástupný obsah 2">
            <a:extLst>
              <a:ext uri="{FF2B5EF4-FFF2-40B4-BE49-F238E27FC236}">
                <a16:creationId xmlns:a16="http://schemas.microsoft.com/office/drawing/2014/main" id="{9B638AC5-A4E4-5341-8E12-C244565085E1}"/>
              </a:ext>
            </a:extLst>
          </p:cNvPr>
          <p:cNvSpPr>
            <a:spLocks noGrp="1"/>
          </p:cNvSpPr>
          <p:nvPr>
            <p:ph idx="1"/>
          </p:nvPr>
        </p:nvSpPr>
        <p:spPr>
          <a:xfrm>
            <a:off x="681037" y="2126258"/>
            <a:ext cx="9014092" cy="3535462"/>
          </a:xfrm>
        </p:spPr>
        <p:txBody>
          <a:bodyPr>
            <a:normAutofit/>
          </a:bodyPr>
          <a:lstStyle/>
          <a:p>
            <a:pPr marL="371475" indent="-371475">
              <a:buAutoNum type="arabicPeriod"/>
            </a:pPr>
            <a:endParaRPr lang="cs-CZ" sz="1950"/>
          </a:p>
          <a:p>
            <a:pPr marL="0" indent="0">
              <a:buNone/>
            </a:pPr>
            <a:endParaRPr lang="cs-CZ" sz="1950"/>
          </a:p>
          <a:p>
            <a:pPr marL="0" indent="0">
              <a:buNone/>
            </a:pPr>
            <a:endParaRPr lang="cs-CZ" sz="1950"/>
          </a:p>
        </p:txBody>
      </p:sp>
      <p:sp>
        <p:nvSpPr>
          <p:cNvPr id="6" name="TextovéPole 5">
            <a:extLst>
              <a:ext uri="{FF2B5EF4-FFF2-40B4-BE49-F238E27FC236}">
                <a16:creationId xmlns:a16="http://schemas.microsoft.com/office/drawing/2014/main" id="{2962026E-A51D-45A7-B4B1-24ABAE703E3F}"/>
              </a:ext>
            </a:extLst>
          </p:cNvPr>
          <p:cNvSpPr txBox="1"/>
          <p:nvPr/>
        </p:nvSpPr>
        <p:spPr>
          <a:xfrm>
            <a:off x="757661" y="1571324"/>
            <a:ext cx="8467301" cy="4324261"/>
          </a:xfrm>
          <a:prstGeom prst="rect">
            <a:avLst/>
          </a:prstGeom>
          <a:noFill/>
        </p:spPr>
        <p:txBody>
          <a:bodyPr wrap="square">
            <a:spAutoFit/>
          </a:bodyPr>
          <a:lstStyle/>
          <a:p>
            <a:pPr marL="371475" lvl="1" algn="just" defTabSz="742950">
              <a:spcBef>
                <a:spcPts val="488"/>
              </a:spcBef>
              <a:spcAft>
                <a:spcPts val="488"/>
              </a:spcAft>
            </a:pPr>
            <a:r>
              <a:rPr lang="cs-CZ" sz="2000" b="1" dirty="0">
                <a:solidFill>
                  <a:srgbClr val="80377C"/>
                </a:solidFill>
                <a:latin typeface="Arial" panose="020B0604020202020204" pitchFamily="34" charset="0"/>
                <a:ea typeface="SimSun" panose="02010600030101010101" pitchFamily="2" charset="-122"/>
                <a:cs typeface="Times New Roman" panose="02020603050405020304" pitchFamily="18" charset="0"/>
              </a:rPr>
              <a:t>Veřejná infrastruktura udržitelného cestovního ruchu </a:t>
            </a:r>
          </a:p>
          <a:p>
            <a:pPr marL="371475" lvl="1" algn="just" defTabSz="742950">
              <a:spcBef>
                <a:spcPts val="488"/>
              </a:spcBef>
              <a:spcAft>
                <a:spcPts val="488"/>
              </a:spcAft>
            </a:pPr>
            <a:r>
              <a:rPr lang="cs-CZ" sz="1800" dirty="0">
                <a:solidFill>
                  <a:srgbClr val="000000">
                    <a:lumMod val="50000"/>
                    <a:lumOff val="50000"/>
                  </a:srgbClr>
                </a:solidFill>
                <a:latin typeface="Arial" panose="020B0604020202020204"/>
              </a:rPr>
              <a:t>= nepodnikatelská/nezisková infrastruktura pro návštěvníky i rezidenty</a:t>
            </a:r>
          </a:p>
          <a:p>
            <a:pPr marL="975122" lvl="2" indent="-232172" algn="just" defTabSz="742950">
              <a:spcBef>
                <a:spcPts val="488"/>
              </a:spcBef>
              <a:spcAft>
                <a:spcPts val="488"/>
              </a:spcAft>
              <a:buFont typeface="Wingdings" panose="05000000000000000000" pitchFamily="2" charset="2"/>
              <a:buChar char="§"/>
            </a:pPr>
            <a:r>
              <a:rPr lang="cs-CZ" sz="1800" b="1" dirty="0">
                <a:solidFill>
                  <a:srgbClr val="7F3A7B"/>
                </a:solidFill>
                <a:latin typeface="Arial" panose="020B0604020202020204" pitchFamily="34" charset="0"/>
                <a:ea typeface="SimSun" panose="02010600030101010101" pitchFamily="2" charset="-122"/>
                <a:cs typeface="Times New Roman" panose="02020603050405020304" pitchFamily="18" charset="0"/>
              </a:rPr>
              <a:t>odpočívadla</a:t>
            </a:r>
          </a:p>
          <a:p>
            <a:pPr marL="975122" lvl="2" indent="-232172" algn="just" defTabSz="742950">
              <a:spcBef>
                <a:spcPts val="488"/>
              </a:spcBef>
              <a:spcAft>
                <a:spcPts val="488"/>
              </a:spcAft>
              <a:buFont typeface="Wingdings" panose="05000000000000000000" pitchFamily="2" charset="2"/>
              <a:buChar char="§"/>
            </a:pPr>
            <a:r>
              <a:rPr lang="cs-CZ" sz="1800" b="1" dirty="0">
                <a:solidFill>
                  <a:srgbClr val="7F3A7B"/>
                </a:solidFill>
                <a:latin typeface="Arial" panose="020B0604020202020204" pitchFamily="34" charset="0"/>
                <a:ea typeface="SimSun" panose="02010600030101010101" pitchFamily="2" charset="-122"/>
                <a:cs typeface="Times New Roman" panose="02020603050405020304" pitchFamily="18" charset="0"/>
              </a:rPr>
              <a:t>parkoviště</a:t>
            </a:r>
          </a:p>
          <a:p>
            <a:pPr marL="975122" lvl="2" indent="-232172" algn="just" defTabSz="742950">
              <a:spcBef>
                <a:spcPts val="488"/>
              </a:spcBef>
              <a:spcAft>
                <a:spcPts val="488"/>
              </a:spcAft>
              <a:buFont typeface="Wingdings" panose="05000000000000000000" pitchFamily="2" charset="2"/>
              <a:buChar char="§"/>
            </a:pPr>
            <a:r>
              <a:rPr lang="cs-CZ" sz="1800" b="1" dirty="0">
                <a:solidFill>
                  <a:srgbClr val="7F3A7B"/>
                </a:solidFill>
                <a:latin typeface="Arial" panose="020B0604020202020204" pitchFamily="34" charset="0"/>
                <a:ea typeface="SimSun" panose="02010600030101010101" pitchFamily="2" charset="-122"/>
                <a:cs typeface="Times New Roman" panose="02020603050405020304" pitchFamily="18" charset="0"/>
              </a:rPr>
              <a:t>sociální zařízení</a:t>
            </a:r>
          </a:p>
          <a:p>
            <a:pPr marL="975122" lvl="2" indent="-232172" algn="just" defTabSz="742950">
              <a:spcBef>
                <a:spcPts val="488"/>
              </a:spcBef>
              <a:spcAft>
                <a:spcPts val="488"/>
              </a:spcAft>
              <a:buFont typeface="Wingdings" panose="05000000000000000000" pitchFamily="2" charset="2"/>
              <a:buChar char="§"/>
            </a:pPr>
            <a:r>
              <a:rPr lang="cs-CZ" sz="1800" b="1" dirty="0">
                <a:solidFill>
                  <a:srgbClr val="7F3A7B"/>
                </a:solidFill>
                <a:latin typeface="Arial" panose="020B0604020202020204" pitchFamily="34" charset="0"/>
                <a:ea typeface="SimSun" panose="02010600030101010101" pitchFamily="2" charset="-122"/>
                <a:cs typeface="Times New Roman" panose="02020603050405020304" pitchFamily="18" charset="0"/>
              </a:rPr>
              <a:t>veřejná infrastruktura pro vodáckou a vodní turistiku / rekreační plavbu</a:t>
            </a:r>
          </a:p>
          <a:p>
            <a:pPr marL="975122" lvl="2" indent="-232172" algn="just" defTabSz="742950">
              <a:spcBef>
                <a:spcPts val="488"/>
              </a:spcBef>
              <a:spcAft>
                <a:spcPts val="488"/>
              </a:spcAft>
              <a:buFont typeface="Wingdings" panose="05000000000000000000" pitchFamily="2" charset="2"/>
              <a:buChar char="§"/>
            </a:pPr>
            <a:r>
              <a:rPr lang="cs-CZ" sz="1800" b="1" dirty="0">
                <a:solidFill>
                  <a:srgbClr val="7F3A7B"/>
                </a:solidFill>
                <a:latin typeface="Arial" panose="020B0604020202020204" pitchFamily="34" charset="0"/>
                <a:ea typeface="SimSun" panose="02010600030101010101" pitchFamily="2" charset="-122"/>
                <a:cs typeface="Times New Roman" panose="02020603050405020304" pitchFamily="18" charset="0"/>
              </a:rPr>
              <a:t>turistické trasy a jejich značení</a:t>
            </a:r>
          </a:p>
          <a:p>
            <a:pPr marL="975122" lvl="2" indent="-232172" algn="just" defTabSz="742950">
              <a:spcBef>
                <a:spcPts val="488"/>
              </a:spcBef>
              <a:spcAft>
                <a:spcPts val="488"/>
              </a:spcAft>
              <a:buFont typeface="Wingdings" panose="05000000000000000000" pitchFamily="2" charset="2"/>
              <a:buChar char="§"/>
            </a:pPr>
            <a:r>
              <a:rPr lang="cs-CZ" sz="1800" b="1" dirty="0">
                <a:solidFill>
                  <a:srgbClr val="7F3A7B"/>
                </a:solidFill>
                <a:latin typeface="Arial" panose="020B0604020202020204" pitchFamily="34" charset="0"/>
                <a:ea typeface="SimSun" panose="02010600030101010101" pitchFamily="2" charset="-122"/>
                <a:cs typeface="Times New Roman" panose="02020603050405020304" pitchFamily="18" charset="0"/>
              </a:rPr>
              <a:t>naučné stezky</a:t>
            </a:r>
          </a:p>
          <a:p>
            <a:pPr marL="975122" lvl="2" indent="-232172" algn="just" defTabSz="742950">
              <a:spcBef>
                <a:spcPts val="488"/>
              </a:spcBef>
              <a:spcAft>
                <a:spcPts val="488"/>
              </a:spcAft>
              <a:buFont typeface="Wingdings" panose="05000000000000000000" pitchFamily="2" charset="2"/>
              <a:buChar char="§"/>
            </a:pPr>
            <a:r>
              <a:rPr lang="cs-CZ" sz="1800" b="1" dirty="0">
                <a:solidFill>
                  <a:srgbClr val="7F3A7B"/>
                </a:solidFill>
                <a:latin typeface="Arial" panose="020B0604020202020204" pitchFamily="34" charset="0"/>
                <a:ea typeface="SimSun" panose="02010600030101010101" pitchFamily="2" charset="-122"/>
                <a:cs typeface="Times New Roman" panose="02020603050405020304" pitchFamily="18" charset="0"/>
              </a:rPr>
              <a:t>navigační systémy</a:t>
            </a:r>
          </a:p>
          <a:p>
            <a:pPr marL="975122" lvl="2" indent="-232172" algn="just" defTabSz="742950">
              <a:spcBef>
                <a:spcPts val="488"/>
              </a:spcBef>
              <a:spcAft>
                <a:spcPts val="488"/>
              </a:spcAft>
              <a:buFont typeface="Wingdings" panose="05000000000000000000" pitchFamily="2" charset="2"/>
              <a:buChar char="§"/>
            </a:pPr>
            <a:r>
              <a:rPr lang="cs-CZ" sz="1800" b="1" dirty="0">
                <a:solidFill>
                  <a:srgbClr val="7F3A7B"/>
                </a:solidFill>
                <a:latin typeface="Arial" panose="020B0604020202020204" pitchFamily="34" charset="0"/>
                <a:ea typeface="SimSun" panose="02010600030101010101" pitchFamily="2" charset="-122"/>
                <a:cs typeface="Times New Roman" panose="02020603050405020304" pitchFamily="18" charset="0"/>
              </a:rPr>
              <a:t>turistická informační centra </a:t>
            </a:r>
            <a:endParaRPr lang="cs-CZ" sz="1800" dirty="0">
              <a:solidFill>
                <a:srgbClr val="000000">
                  <a:lumMod val="50000"/>
                  <a:lumOff val="50000"/>
                </a:srgbClr>
              </a:solidFill>
              <a:latin typeface="Arial" panose="020B060402020202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607901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F8122D1-6CB8-214A-B842-D4DC0DF3AD99}"/>
              </a:ext>
            </a:extLst>
          </p:cNvPr>
          <p:cNvSpPr>
            <a:spLocks noGrp="1"/>
          </p:cNvSpPr>
          <p:nvPr>
            <p:ph type="title"/>
          </p:nvPr>
        </p:nvSpPr>
        <p:spPr>
          <a:xfrm>
            <a:off x="4768203" y="910843"/>
            <a:ext cx="4423560" cy="1139507"/>
          </a:xfrm>
        </p:spPr>
        <p:txBody>
          <a:bodyPr vert="horz" lIns="74295" tIns="37148" rIns="74295" bIns="37148" rtlCol="0" anchor="t">
            <a:normAutofit/>
          </a:bodyPr>
          <a:lstStyle/>
          <a:p>
            <a:r>
              <a:rPr lang="cs-CZ" sz="3088">
                <a:solidFill>
                  <a:schemeClr val="accent1"/>
                </a:solidFill>
              </a:rPr>
              <a:t>Oprávnění žadatelé</a:t>
            </a:r>
            <a:endParaRPr lang="en-US" sz="3088">
              <a:solidFill>
                <a:schemeClr val="accent1"/>
              </a:solidFill>
            </a:endParaRPr>
          </a:p>
        </p:txBody>
      </p:sp>
      <p:sp>
        <p:nvSpPr>
          <p:cNvPr id="3" name="Zástupný obsah 2">
            <a:extLst>
              <a:ext uri="{FF2B5EF4-FFF2-40B4-BE49-F238E27FC236}">
                <a16:creationId xmlns:a16="http://schemas.microsoft.com/office/drawing/2014/main" id="{9B638AC5-A4E4-5341-8E12-C244565085E1}"/>
              </a:ext>
            </a:extLst>
          </p:cNvPr>
          <p:cNvSpPr>
            <a:spLocks noGrp="1"/>
          </p:cNvSpPr>
          <p:nvPr>
            <p:ph idx="1"/>
          </p:nvPr>
        </p:nvSpPr>
        <p:spPr>
          <a:xfrm>
            <a:off x="4449161" y="1649691"/>
            <a:ext cx="4742602" cy="4364609"/>
          </a:xfrm>
        </p:spPr>
        <p:txBody>
          <a:bodyPr vert="horz" lIns="74295" tIns="37148" rIns="74295" bIns="37148" rtlCol="0">
            <a:normAutofit/>
          </a:bodyPr>
          <a:lstStyle/>
          <a:p>
            <a:pPr marL="603647" lvl="1" indent="-232172" algn="just">
              <a:spcBef>
                <a:spcPts val="488"/>
              </a:spcBef>
              <a:spcAft>
                <a:spcPts val="488"/>
              </a:spcAft>
              <a:buFont typeface="Wingdings" panose="05000000000000000000" pitchFamily="2" charset="2"/>
              <a:buChar char="§"/>
            </a:pPr>
            <a:r>
              <a:rPr lang="cs-CZ" sz="1800">
                <a:solidFill>
                  <a:schemeClr val="tx1">
                    <a:lumMod val="50000"/>
                    <a:lumOff val="50000"/>
                  </a:schemeClr>
                </a:solidFill>
              </a:rPr>
              <a:t>obce </a:t>
            </a:r>
          </a:p>
          <a:p>
            <a:pPr marL="603647" lvl="1" indent="-232172" algn="just">
              <a:spcBef>
                <a:spcPts val="488"/>
              </a:spcBef>
              <a:spcAft>
                <a:spcPts val="488"/>
              </a:spcAft>
              <a:buFont typeface="Wingdings" panose="05000000000000000000" pitchFamily="2" charset="2"/>
              <a:buChar char="§"/>
            </a:pPr>
            <a:r>
              <a:rPr lang="cs-CZ" sz="1800">
                <a:solidFill>
                  <a:schemeClr val="tx1">
                    <a:lumMod val="50000"/>
                    <a:lumOff val="50000"/>
                  </a:schemeClr>
                </a:solidFill>
              </a:rPr>
              <a:t>dobrovolné svazky obcí</a:t>
            </a:r>
          </a:p>
          <a:p>
            <a:pPr marL="603647" lvl="1" indent="-232172" algn="just">
              <a:spcBef>
                <a:spcPts val="488"/>
              </a:spcBef>
              <a:spcAft>
                <a:spcPts val="488"/>
              </a:spcAft>
              <a:buFont typeface="Wingdings" panose="05000000000000000000" pitchFamily="2" charset="2"/>
              <a:buChar char="§"/>
            </a:pPr>
            <a:r>
              <a:rPr lang="cs-CZ" sz="1800">
                <a:solidFill>
                  <a:schemeClr val="tx1">
                    <a:lumMod val="50000"/>
                    <a:lumOff val="50000"/>
                  </a:schemeClr>
                </a:solidFill>
              </a:rPr>
              <a:t>kraje</a:t>
            </a:r>
          </a:p>
          <a:p>
            <a:pPr marL="603647" lvl="1" indent="-232172" algn="just">
              <a:spcBef>
                <a:spcPts val="488"/>
              </a:spcBef>
              <a:spcAft>
                <a:spcPts val="488"/>
              </a:spcAft>
              <a:buFont typeface="Wingdings" panose="05000000000000000000" pitchFamily="2" charset="2"/>
              <a:buChar char="§"/>
            </a:pPr>
            <a:r>
              <a:rPr lang="cs-CZ" sz="1800">
                <a:solidFill>
                  <a:schemeClr val="tx1">
                    <a:lumMod val="50000"/>
                    <a:lumOff val="50000"/>
                  </a:schemeClr>
                </a:solidFill>
              </a:rPr>
              <a:t>organizace zřizované / zakládané obcemi / kraji </a:t>
            </a:r>
          </a:p>
          <a:p>
            <a:pPr marL="603647" lvl="1" indent="-232172" algn="just">
              <a:spcBef>
                <a:spcPts val="488"/>
              </a:spcBef>
              <a:spcAft>
                <a:spcPts val="488"/>
              </a:spcAft>
              <a:buFont typeface="Wingdings" panose="05000000000000000000" pitchFamily="2" charset="2"/>
              <a:buChar char="§"/>
            </a:pPr>
            <a:r>
              <a:rPr lang="cs-CZ" sz="1800">
                <a:solidFill>
                  <a:schemeClr val="tx1">
                    <a:lumMod val="50000"/>
                    <a:lumOff val="50000"/>
                  </a:schemeClr>
                </a:solidFill>
              </a:rPr>
              <a:t>OSS, příspěvkové organizace OSS</a:t>
            </a:r>
          </a:p>
          <a:p>
            <a:pPr marL="603647" lvl="1" indent="-232172" algn="just">
              <a:spcBef>
                <a:spcPts val="488"/>
              </a:spcBef>
              <a:spcAft>
                <a:spcPts val="488"/>
              </a:spcAft>
              <a:buFont typeface="Wingdings" panose="05000000000000000000" pitchFamily="2" charset="2"/>
              <a:buChar char="§"/>
            </a:pPr>
            <a:r>
              <a:rPr lang="cs-CZ" sz="1800">
                <a:solidFill>
                  <a:schemeClr val="tx1">
                    <a:lumMod val="50000"/>
                    <a:lumOff val="50000"/>
                  </a:schemeClr>
                </a:solidFill>
              </a:rPr>
              <a:t>NNO činné v cest. ruchu min. 2 roky</a:t>
            </a:r>
          </a:p>
          <a:p>
            <a:pPr marL="603647" lvl="1" indent="-232172" algn="just">
              <a:spcBef>
                <a:spcPts val="488"/>
              </a:spcBef>
              <a:spcAft>
                <a:spcPts val="488"/>
              </a:spcAft>
              <a:buFont typeface="Wingdings" panose="05000000000000000000" pitchFamily="2" charset="2"/>
              <a:buChar char="§"/>
            </a:pPr>
            <a:r>
              <a:rPr lang="cs-CZ" sz="1800">
                <a:solidFill>
                  <a:schemeClr val="tx1">
                    <a:lumMod val="50000"/>
                    <a:lumOff val="50000"/>
                  </a:schemeClr>
                </a:solidFill>
              </a:rPr>
              <a:t>církve, církevní organizace</a:t>
            </a:r>
          </a:p>
          <a:p>
            <a:pPr marL="603647" lvl="1" indent="-232172" algn="just">
              <a:spcBef>
                <a:spcPts val="488"/>
              </a:spcBef>
              <a:spcAft>
                <a:spcPts val="488"/>
              </a:spcAft>
              <a:buFont typeface="Wingdings" panose="05000000000000000000" pitchFamily="2" charset="2"/>
              <a:buChar char="§"/>
            </a:pPr>
            <a:r>
              <a:rPr lang="cs-CZ" sz="1800">
                <a:solidFill>
                  <a:schemeClr val="tx1">
                    <a:lumMod val="50000"/>
                    <a:lumOff val="50000"/>
                  </a:schemeClr>
                </a:solidFill>
              </a:rPr>
              <a:t>státní podniky</a:t>
            </a:r>
          </a:p>
          <a:p>
            <a:pPr marL="371475" lvl="1" indent="0" algn="just">
              <a:spcBef>
                <a:spcPts val="488"/>
              </a:spcBef>
              <a:spcAft>
                <a:spcPts val="488"/>
              </a:spcAft>
              <a:buNone/>
            </a:pPr>
            <a:r>
              <a:rPr lang="cs-CZ" sz="1800" b="1">
                <a:solidFill>
                  <a:schemeClr val="tx1">
                    <a:lumMod val="50000"/>
                    <a:lumOff val="50000"/>
                  </a:schemeClr>
                </a:solidFill>
              </a:rPr>
              <a:t>	</a:t>
            </a:r>
          </a:p>
          <a:p>
            <a:pPr marL="371475" lvl="1" indent="0" algn="just">
              <a:spcBef>
                <a:spcPts val="488"/>
              </a:spcBef>
              <a:spcAft>
                <a:spcPts val="488"/>
              </a:spcAft>
              <a:buNone/>
            </a:pPr>
            <a:r>
              <a:rPr lang="cs-CZ" sz="1800" b="1">
                <a:solidFill>
                  <a:schemeClr val="tx1">
                    <a:lumMod val="50000"/>
                    <a:lumOff val="50000"/>
                  </a:schemeClr>
                </a:solidFill>
              </a:rPr>
              <a:t>Velikost projektů</a:t>
            </a:r>
            <a:r>
              <a:rPr lang="cs-CZ" sz="1800">
                <a:solidFill>
                  <a:schemeClr val="tx1">
                    <a:lumMod val="50000"/>
                    <a:lumOff val="50000"/>
                  </a:schemeClr>
                </a:solidFill>
              </a:rPr>
              <a:t>: 1 – 20 mil. Kč</a:t>
            </a:r>
          </a:p>
          <a:p>
            <a:pPr marL="0">
              <a:buFont typeface="Arial" panose="020B0604020202020204" pitchFamily="34" charset="0"/>
              <a:buChar char="•"/>
            </a:pPr>
            <a:endParaRPr lang="en-US" sz="2000" b="1">
              <a:solidFill>
                <a:schemeClr val="tx1"/>
              </a:solidFill>
            </a:endParaRPr>
          </a:p>
        </p:txBody>
      </p:sp>
      <p:pic>
        <p:nvPicPr>
          <p:cNvPr id="4" name="Obrázek 3" descr="Obsah obrázku venku, tráva, mrak, obloha&#10;&#10;Popis byl vytvořen automaticky">
            <a:extLst>
              <a:ext uri="{FF2B5EF4-FFF2-40B4-BE49-F238E27FC236}">
                <a16:creationId xmlns:a16="http://schemas.microsoft.com/office/drawing/2014/main" id="{D0A60169-141E-D04E-B738-5BCDC34C30AD}"/>
              </a:ext>
            </a:extLst>
          </p:cNvPr>
          <p:cNvPicPr>
            <a:picLocks noChangeAspect="1"/>
          </p:cNvPicPr>
          <p:nvPr/>
        </p:nvPicPr>
        <p:blipFill rotWithShape="1">
          <a:blip r:embed="rId2"/>
          <a:srcRect r="2" b="152"/>
          <a:stretch/>
        </p:blipFill>
        <p:spPr>
          <a:xfrm>
            <a:off x="0" y="1"/>
            <a:ext cx="4602434" cy="6127422"/>
          </a:xfrm>
          <a:prstGeom prst="rect">
            <a:avLst/>
          </a:prstGeom>
        </p:spPr>
      </p:pic>
    </p:spTree>
    <p:extLst>
      <p:ext uri="{BB962C8B-B14F-4D97-AF65-F5344CB8AC3E}">
        <p14:creationId xmlns:p14="http://schemas.microsoft.com/office/powerpoint/2010/main" val="1841840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852004" y="1350744"/>
            <a:ext cx="598763"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Zástupný obsah 2">
            <a:extLst>
              <a:ext uri="{FF2B5EF4-FFF2-40B4-BE49-F238E27FC236}">
                <a16:creationId xmlns:a16="http://schemas.microsoft.com/office/drawing/2014/main" id="{D0BF20ED-234D-461C-BC4A-297D1910996B}"/>
              </a:ext>
            </a:extLst>
          </p:cNvPr>
          <p:cNvSpPr>
            <a:spLocks noGrp="1"/>
          </p:cNvSpPr>
          <p:nvPr>
            <p:ph idx="1"/>
          </p:nvPr>
        </p:nvSpPr>
        <p:spPr>
          <a:xfrm>
            <a:off x="4768202" y="1782452"/>
            <a:ext cx="4517199" cy="2902669"/>
          </a:xfrm>
        </p:spPr>
        <p:txBody>
          <a:bodyPr vert="horz" lIns="74295" tIns="37148" rIns="74295" bIns="37148" numCol="1" rtlCol="0">
            <a:normAutofit/>
          </a:bodyPr>
          <a:lstStyle/>
          <a:p>
            <a:pPr>
              <a:buFont typeface="Arial" panose="020B0604020202020204" pitchFamily="34" charset="0"/>
              <a:buChar char="•"/>
            </a:pPr>
            <a:r>
              <a:rPr lang="cs-CZ" sz="2000">
                <a:solidFill>
                  <a:schemeClr val="tx1">
                    <a:lumMod val="50000"/>
                    <a:lumOff val="50000"/>
                  </a:schemeClr>
                </a:solidFill>
                <a:latin typeface="Arial" panose="020B0604020202020204" pitchFamily="34" charset="0"/>
                <a:ea typeface="SimSun" panose="02010600030101010101" pitchFamily="2" charset="-122"/>
                <a:cs typeface="Arial" panose="020B0604020202020204" pitchFamily="34" charset="0"/>
              </a:rPr>
              <a:t>Projekty mohou být realizovány i ve zvláště chráněných územích </a:t>
            </a:r>
          </a:p>
          <a:p>
            <a:pPr>
              <a:buFont typeface="Arial" panose="020B0604020202020204" pitchFamily="34" charset="0"/>
              <a:buChar char="•"/>
            </a:pPr>
            <a:r>
              <a:rPr lang="cs-CZ" sz="2000">
                <a:solidFill>
                  <a:schemeClr val="tx1">
                    <a:lumMod val="50000"/>
                    <a:lumOff val="50000"/>
                  </a:schemeClr>
                </a:solidFill>
                <a:latin typeface="Arial" panose="020B0604020202020204" pitchFamily="34" charset="0"/>
                <a:ea typeface="SimSun" panose="02010600030101010101" pitchFamily="2" charset="-122"/>
                <a:cs typeface="Arial" panose="020B0604020202020204" pitchFamily="34" charset="0"/>
              </a:rPr>
              <a:t>Nutno průběžně komunikovat záměr s příslušným regionálním pracovištěm Správy CHKO, Správou NP nebo s příslušným krajským úřadem</a:t>
            </a:r>
          </a:p>
        </p:txBody>
      </p:sp>
      <p:pic>
        <p:nvPicPr>
          <p:cNvPr id="3" name="Obrázek 2" descr="Obsah obrázku venku, obloha, strom, tráva&#10;&#10;Popis byl vytvořen automaticky">
            <a:extLst>
              <a:ext uri="{FF2B5EF4-FFF2-40B4-BE49-F238E27FC236}">
                <a16:creationId xmlns:a16="http://schemas.microsoft.com/office/drawing/2014/main" id="{4A6A43C7-57C4-2AA0-E40E-BF35E70A568C}"/>
              </a:ext>
            </a:extLst>
          </p:cNvPr>
          <p:cNvPicPr>
            <a:picLocks noChangeAspect="1"/>
          </p:cNvPicPr>
          <p:nvPr/>
        </p:nvPicPr>
        <p:blipFill rotWithShape="1">
          <a:blip r:embed="rId3"/>
          <a:srcRect r="2" b="152"/>
          <a:stretch/>
        </p:blipFill>
        <p:spPr>
          <a:xfrm>
            <a:off x="0" y="642946"/>
            <a:ext cx="4185333" cy="5572117"/>
          </a:xfrm>
          <a:prstGeom prst="rect">
            <a:avLst/>
          </a:prstGeom>
        </p:spPr>
      </p:pic>
      <p:sp>
        <p:nvSpPr>
          <p:cNvPr id="11" name="Nadpis 1">
            <a:extLst>
              <a:ext uri="{FF2B5EF4-FFF2-40B4-BE49-F238E27FC236}">
                <a16:creationId xmlns:a16="http://schemas.microsoft.com/office/drawing/2014/main" id="{B922781F-0DE3-49B1-A897-1EDD0C054D31}"/>
              </a:ext>
            </a:extLst>
          </p:cNvPr>
          <p:cNvSpPr>
            <a:spLocks noGrp="1"/>
          </p:cNvSpPr>
          <p:nvPr>
            <p:ph type="title"/>
          </p:nvPr>
        </p:nvSpPr>
        <p:spPr>
          <a:xfrm>
            <a:off x="4768203" y="642946"/>
            <a:ext cx="4036432" cy="1139507"/>
          </a:xfrm>
          <a:solidFill>
            <a:schemeClr val="bg1"/>
          </a:solidFill>
        </p:spPr>
        <p:txBody>
          <a:bodyPr vert="horz" lIns="74295" tIns="37148" rIns="74295" bIns="37148" rtlCol="0" anchor="t">
            <a:normAutofit/>
          </a:bodyPr>
          <a:lstStyle/>
          <a:p>
            <a:r>
              <a:rPr lang="cs-CZ" sz="3088">
                <a:solidFill>
                  <a:schemeClr val="accent1"/>
                </a:solidFill>
              </a:rPr>
              <a:t>Zvláště chráněná území</a:t>
            </a:r>
            <a:endParaRPr lang="en-US" sz="3088">
              <a:solidFill>
                <a:schemeClr val="accent1"/>
              </a:solidFill>
            </a:endParaRPr>
          </a:p>
        </p:txBody>
      </p:sp>
    </p:spTree>
    <p:extLst>
      <p:ext uri="{BB962C8B-B14F-4D97-AF65-F5344CB8AC3E}">
        <p14:creationId xmlns:p14="http://schemas.microsoft.com/office/powerpoint/2010/main" val="2280240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F8122D1-6CB8-214A-B842-D4DC0DF3AD99}"/>
              </a:ext>
            </a:extLst>
          </p:cNvPr>
          <p:cNvSpPr>
            <a:spLocks noGrp="1"/>
          </p:cNvSpPr>
          <p:nvPr>
            <p:ph type="title"/>
          </p:nvPr>
        </p:nvSpPr>
        <p:spPr/>
        <p:txBody>
          <a:bodyPr>
            <a:normAutofit/>
          </a:bodyPr>
          <a:lstStyle/>
          <a:p>
            <a:r>
              <a:rPr lang="cs-CZ" sz="3250"/>
              <a:t>Aktuální stav výzev v cestovním ruchu</a:t>
            </a:r>
          </a:p>
        </p:txBody>
      </p:sp>
      <p:sp>
        <p:nvSpPr>
          <p:cNvPr id="3" name="Zástupný obsah 2">
            <a:extLst>
              <a:ext uri="{FF2B5EF4-FFF2-40B4-BE49-F238E27FC236}">
                <a16:creationId xmlns:a16="http://schemas.microsoft.com/office/drawing/2014/main" id="{9B638AC5-A4E4-5341-8E12-C244565085E1}"/>
              </a:ext>
            </a:extLst>
          </p:cNvPr>
          <p:cNvSpPr>
            <a:spLocks noGrp="1"/>
          </p:cNvSpPr>
          <p:nvPr>
            <p:ph idx="1"/>
          </p:nvPr>
        </p:nvSpPr>
        <p:spPr>
          <a:xfrm>
            <a:off x="681037" y="2303203"/>
            <a:ext cx="9014092" cy="2638231"/>
          </a:xfrm>
        </p:spPr>
        <p:txBody>
          <a:bodyPr>
            <a:normAutofit/>
          </a:bodyPr>
          <a:lstStyle/>
          <a:p>
            <a:pPr marL="0" indent="0">
              <a:buNone/>
            </a:pPr>
            <a:endParaRPr lang="cs-CZ" sz="1950"/>
          </a:p>
          <a:p>
            <a:pPr marL="0" indent="0">
              <a:buNone/>
            </a:pPr>
            <a:endParaRPr lang="cs-CZ" sz="1950"/>
          </a:p>
        </p:txBody>
      </p:sp>
      <p:graphicFrame>
        <p:nvGraphicFramePr>
          <p:cNvPr id="4" name="Tabulka 6">
            <a:extLst>
              <a:ext uri="{FF2B5EF4-FFF2-40B4-BE49-F238E27FC236}">
                <a16:creationId xmlns:a16="http://schemas.microsoft.com/office/drawing/2014/main" id="{2E0F99C7-2EF5-FD36-1B2A-D9C10E9B148F}"/>
              </a:ext>
            </a:extLst>
          </p:cNvPr>
          <p:cNvGraphicFramePr>
            <a:graphicFrameLocks noGrp="1"/>
          </p:cNvGraphicFramePr>
          <p:nvPr>
            <p:extLst>
              <p:ext uri="{D42A27DB-BD31-4B8C-83A1-F6EECF244321}">
                <p14:modId xmlns:p14="http://schemas.microsoft.com/office/powerpoint/2010/main" val="1880336024"/>
              </p:ext>
            </p:extLst>
          </p:nvPr>
        </p:nvGraphicFramePr>
        <p:xfrm>
          <a:off x="933255" y="2103739"/>
          <a:ext cx="7852525" cy="2920746"/>
        </p:xfrm>
        <a:graphic>
          <a:graphicData uri="http://schemas.openxmlformats.org/drawingml/2006/table">
            <a:tbl>
              <a:tblPr firstRow="1" bandRow="1">
                <a:tableStyleId>{5C22544A-7EE6-4342-B048-85BDC9FD1C3A}</a:tableStyleId>
              </a:tblPr>
              <a:tblGrid>
                <a:gridCol w="1961757">
                  <a:extLst>
                    <a:ext uri="{9D8B030D-6E8A-4147-A177-3AD203B41FA5}">
                      <a16:colId xmlns:a16="http://schemas.microsoft.com/office/drawing/2014/main" val="286620855"/>
                    </a:ext>
                  </a:extLst>
                </a:gridCol>
                <a:gridCol w="2037991">
                  <a:extLst>
                    <a:ext uri="{9D8B030D-6E8A-4147-A177-3AD203B41FA5}">
                      <a16:colId xmlns:a16="http://schemas.microsoft.com/office/drawing/2014/main" val="2975816880"/>
                    </a:ext>
                  </a:extLst>
                </a:gridCol>
                <a:gridCol w="2167402">
                  <a:extLst>
                    <a:ext uri="{9D8B030D-6E8A-4147-A177-3AD203B41FA5}">
                      <a16:colId xmlns:a16="http://schemas.microsoft.com/office/drawing/2014/main" val="964124571"/>
                    </a:ext>
                  </a:extLst>
                </a:gridCol>
                <a:gridCol w="1685375">
                  <a:extLst>
                    <a:ext uri="{9D8B030D-6E8A-4147-A177-3AD203B41FA5}">
                      <a16:colId xmlns:a16="http://schemas.microsoft.com/office/drawing/2014/main" val="3246358954"/>
                    </a:ext>
                  </a:extLst>
                </a:gridCol>
              </a:tblGrid>
              <a:tr h="1237278">
                <a:tc>
                  <a:txBody>
                    <a:bodyPr/>
                    <a:lstStyle/>
                    <a:p>
                      <a:pPr algn="ctr"/>
                      <a:r>
                        <a:rPr lang="cs-CZ" sz="1600"/>
                        <a:t>Výzva IROP</a:t>
                      </a:r>
                    </a:p>
                  </a:txBody>
                  <a:tcPr marL="74295" marR="74295" marT="37148" marB="37148" anchor="ctr"/>
                </a:tc>
                <a:tc>
                  <a:txBody>
                    <a:bodyPr/>
                    <a:lstStyle/>
                    <a:p>
                      <a:pPr algn="ctr"/>
                      <a:r>
                        <a:rPr lang="cs-CZ" sz="1600"/>
                        <a:t>Počet předložených žádostí</a:t>
                      </a:r>
                    </a:p>
                  </a:txBody>
                  <a:tcPr marL="74295" marR="74295" marT="37148" marB="3714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600"/>
                        <a:t>Celková alokace výzvy (podíl EU)</a:t>
                      </a:r>
                    </a:p>
                    <a:p>
                      <a:pPr algn="ctr"/>
                      <a:endParaRPr lang="cs-CZ" sz="1600"/>
                    </a:p>
                  </a:txBody>
                  <a:tcPr marL="74295" marR="74295" marT="37148" marB="37148" anchor="ctr"/>
                </a:tc>
                <a:tc>
                  <a:txBody>
                    <a:bodyPr/>
                    <a:lstStyle/>
                    <a:p>
                      <a:pPr algn="ctr"/>
                      <a:r>
                        <a:rPr lang="cs-CZ" sz="1600"/>
                        <a:t>Zbývá z alokace</a:t>
                      </a:r>
                    </a:p>
                  </a:txBody>
                  <a:tcPr marL="74295" marR="74295" marT="37148" marB="37148" anchor="ctr"/>
                </a:tc>
                <a:extLst>
                  <a:ext uri="{0D108BD9-81ED-4DB2-BD59-A6C34878D82A}">
                    <a16:rowId xmlns:a16="http://schemas.microsoft.com/office/drawing/2014/main" val="48612599"/>
                  </a:ext>
                </a:extLst>
              </a:tr>
              <a:tr h="561156">
                <a:tc>
                  <a:txBody>
                    <a:bodyPr/>
                    <a:lstStyle/>
                    <a:p>
                      <a:r>
                        <a:rPr lang="cs-CZ" sz="2000" b="1" kern="1200">
                          <a:solidFill>
                            <a:schemeClr val="tx1">
                              <a:lumMod val="65000"/>
                              <a:lumOff val="35000"/>
                            </a:schemeClr>
                          </a:solidFill>
                          <a:latin typeface="+mn-lt"/>
                          <a:ea typeface="+mn-ea"/>
                          <a:cs typeface="+mn-cs"/>
                        </a:rPr>
                        <a:t>81. výzva MRR</a:t>
                      </a:r>
                    </a:p>
                  </a:txBody>
                  <a:tcPr marL="74295" marR="74295" marT="37148" marB="37148"/>
                </a:tc>
                <a:tc>
                  <a:txBody>
                    <a:bodyPr/>
                    <a:lstStyle/>
                    <a:p>
                      <a:pPr algn="r"/>
                      <a:r>
                        <a:rPr lang="cs-CZ" sz="2000" b="1" kern="1200">
                          <a:solidFill>
                            <a:schemeClr val="tx1">
                              <a:lumMod val="65000"/>
                              <a:lumOff val="35000"/>
                            </a:schemeClr>
                          </a:solidFill>
                          <a:latin typeface="+mn-lt"/>
                          <a:ea typeface="+mn-ea"/>
                          <a:cs typeface="+mn-cs"/>
                        </a:rPr>
                        <a:t>43</a:t>
                      </a:r>
                    </a:p>
                  </a:txBody>
                  <a:tcPr marL="74295" marR="74295" marT="37148" marB="37148"/>
                </a:tc>
                <a:tc>
                  <a:txBody>
                    <a:bodyPr/>
                    <a:lstStyle/>
                    <a:p>
                      <a:pPr algn="r"/>
                      <a:r>
                        <a:rPr lang="cs-CZ" sz="2000" b="1" kern="1200">
                          <a:solidFill>
                            <a:schemeClr val="tx1">
                              <a:lumMod val="65000"/>
                              <a:lumOff val="35000"/>
                            </a:schemeClr>
                          </a:solidFill>
                          <a:latin typeface="+mn-lt"/>
                          <a:ea typeface="+mn-ea"/>
                          <a:cs typeface="+mn-cs"/>
                        </a:rPr>
                        <a:t>560 mil. Kč</a:t>
                      </a:r>
                    </a:p>
                  </a:txBody>
                  <a:tcPr marL="74295" marR="74295" marT="37148" marB="37148"/>
                </a:tc>
                <a:tc>
                  <a:txBody>
                    <a:bodyPr/>
                    <a:lstStyle/>
                    <a:p>
                      <a:pPr algn="r"/>
                      <a:r>
                        <a:rPr lang="cs-CZ" sz="2000" b="1" kern="1200">
                          <a:solidFill>
                            <a:schemeClr val="tx1">
                              <a:lumMod val="65000"/>
                              <a:lumOff val="35000"/>
                            </a:schemeClr>
                          </a:solidFill>
                          <a:latin typeface="+mn-lt"/>
                          <a:ea typeface="+mn-ea"/>
                          <a:cs typeface="+mn-cs"/>
                        </a:rPr>
                        <a:t>343 mil. Kč</a:t>
                      </a:r>
                    </a:p>
                  </a:txBody>
                  <a:tcPr marL="74295" marR="74295" marT="37148" marB="37148"/>
                </a:tc>
                <a:extLst>
                  <a:ext uri="{0D108BD9-81ED-4DB2-BD59-A6C34878D82A}">
                    <a16:rowId xmlns:a16="http://schemas.microsoft.com/office/drawing/2014/main" val="527823636"/>
                  </a:ext>
                </a:extLst>
              </a:tr>
              <a:tr h="561156">
                <a:tc>
                  <a:txBody>
                    <a:bodyPr/>
                    <a:lstStyle/>
                    <a:p>
                      <a:r>
                        <a:rPr lang="cs-CZ" sz="2000" kern="1200">
                          <a:solidFill>
                            <a:schemeClr val="tx1">
                              <a:lumMod val="65000"/>
                              <a:lumOff val="35000"/>
                            </a:schemeClr>
                          </a:solidFill>
                          <a:latin typeface="+mn-lt"/>
                          <a:ea typeface="+mn-ea"/>
                          <a:cs typeface="+mn-cs"/>
                        </a:rPr>
                        <a:t>86. výzva CLLD</a:t>
                      </a:r>
                    </a:p>
                  </a:txBody>
                  <a:tcPr marL="74295" marR="74295" marT="37148" marB="37148"/>
                </a:tc>
                <a:tc>
                  <a:txBody>
                    <a:bodyPr/>
                    <a:lstStyle/>
                    <a:p>
                      <a:pPr algn="r"/>
                      <a:r>
                        <a:rPr lang="cs-CZ" sz="2000" kern="1200">
                          <a:solidFill>
                            <a:schemeClr val="tx1">
                              <a:lumMod val="65000"/>
                              <a:lumOff val="35000"/>
                            </a:schemeClr>
                          </a:solidFill>
                          <a:latin typeface="+mn-lt"/>
                          <a:ea typeface="+mn-ea"/>
                          <a:cs typeface="+mn-cs"/>
                        </a:rPr>
                        <a:t>138</a:t>
                      </a:r>
                    </a:p>
                  </a:txBody>
                  <a:tcPr marL="74295" marR="74295" marT="37148" marB="37148"/>
                </a:tc>
                <a:tc>
                  <a:txBody>
                    <a:bodyPr/>
                    <a:lstStyle/>
                    <a:p>
                      <a:pPr algn="r"/>
                      <a:r>
                        <a:rPr lang="cs-CZ" sz="2000" kern="1200">
                          <a:solidFill>
                            <a:schemeClr val="tx1">
                              <a:lumMod val="65000"/>
                              <a:lumOff val="35000"/>
                            </a:schemeClr>
                          </a:solidFill>
                          <a:latin typeface="+mn-lt"/>
                          <a:ea typeface="+mn-ea"/>
                          <a:cs typeface="+mn-cs"/>
                        </a:rPr>
                        <a:t>610 mil. Kč</a:t>
                      </a:r>
                    </a:p>
                  </a:txBody>
                  <a:tcPr marL="74295" marR="74295" marT="37148" marB="37148"/>
                </a:tc>
                <a:tc>
                  <a:txBody>
                    <a:bodyPr/>
                    <a:lstStyle/>
                    <a:p>
                      <a:pPr algn="r"/>
                      <a:r>
                        <a:rPr lang="cs-CZ" sz="2000" kern="1200">
                          <a:solidFill>
                            <a:schemeClr val="tx1">
                              <a:lumMod val="65000"/>
                              <a:lumOff val="35000"/>
                            </a:schemeClr>
                          </a:solidFill>
                          <a:latin typeface="+mn-lt"/>
                          <a:ea typeface="+mn-ea"/>
                          <a:cs typeface="+mn-cs"/>
                        </a:rPr>
                        <a:t>405 mil. Kč</a:t>
                      </a:r>
                    </a:p>
                  </a:txBody>
                  <a:tcPr marL="74295" marR="74295" marT="37148" marB="37148"/>
                </a:tc>
                <a:extLst>
                  <a:ext uri="{0D108BD9-81ED-4DB2-BD59-A6C34878D82A}">
                    <a16:rowId xmlns:a16="http://schemas.microsoft.com/office/drawing/2014/main" val="3452841764"/>
                  </a:ext>
                </a:extLst>
              </a:tr>
              <a:tr h="561156">
                <a:tc>
                  <a:txBody>
                    <a:bodyPr/>
                    <a:lstStyle/>
                    <a:p>
                      <a:r>
                        <a:rPr lang="cs-CZ" sz="2000" kern="1200">
                          <a:solidFill>
                            <a:schemeClr val="tx1">
                              <a:lumMod val="65000"/>
                              <a:lumOff val="35000"/>
                            </a:schemeClr>
                          </a:solidFill>
                          <a:latin typeface="+mn-lt"/>
                          <a:ea typeface="+mn-ea"/>
                          <a:cs typeface="+mn-cs"/>
                        </a:rPr>
                        <a:t>90. výzva ITI</a:t>
                      </a:r>
                    </a:p>
                  </a:txBody>
                  <a:tcPr marL="74295" marR="74295" marT="37148" marB="37148"/>
                </a:tc>
                <a:tc>
                  <a:txBody>
                    <a:bodyPr/>
                    <a:lstStyle/>
                    <a:p>
                      <a:pPr algn="r"/>
                      <a:r>
                        <a:rPr lang="cs-CZ" sz="2000" kern="1200">
                          <a:solidFill>
                            <a:schemeClr val="tx1">
                              <a:lumMod val="65000"/>
                              <a:lumOff val="35000"/>
                            </a:schemeClr>
                          </a:solidFill>
                          <a:latin typeface="+mn-lt"/>
                          <a:ea typeface="+mn-ea"/>
                          <a:cs typeface="+mn-cs"/>
                        </a:rPr>
                        <a:t>22</a:t>
                      </a:r>
                    </a:p>
                  </a:txBody>
                  <a:tcPr marL="74295" marR="74295" marT="37148" marB="37148"/>
                </a:tc>
                <a:tc>
                  <a:txBody>
                    <a:bodyPr/>
                    <a:lstStyle/>
                    <a:p>
                      <a:pPr algn="r"/>
                      <a:r>
                        <a:rPr lang="cs-CZ" sz="2000" kern="1200">
                          <a:solidFill>
                            <a:schemeClr val="tx1">
                              <a:lumMod val="65000"/>
                              <a:lumOff val="35000"/>
                            </a:schemeClr>
                          </a:solidFill>
                          <a:latin typeface="+mn-lt"/>
                          <a:ea typeface="+mn-ea"/>
                          <a:cs typeface="+mn-cs"/>
                        </a:rPr>
                        <a:t>469 mil. Kč</a:t>
                      </a:r>
                    </a:p>
                  </a:txBody>
                  <a:tcPr marL="74295" marR="74295" marT="37148" marB="37148"/>
                </a:tc>
                <a:tc>
                  <a:txBody>
                    <a:bodyPr/>
                    <a:lstStyle/>
                    <a:p>
                      <a:pPr algn="r"/>
                      <a:r>
                        <a:rPr lang="cs-CZ" sz="2000" kern="1200">
                          <a:solidFill>
                            <a:schemeClr val="tx1">
                              <a:lumMod val="65000"/>
                              <a:lumOff val="35000"/>
                            </a:schemeClr>
                          </a:solidFill>
                          <a:latin typeface="+mn-lt"/>
                          <a:ea typeface="+mn-ea"/>
                          <a:cs typeface="+mn-cs"/>
                        </a:rPr>
                        <a:t>225 mil. Kč</a:t>
                      </a:r>
                    </a:p>
                  </a:txBody>
                  <a:tcPr marL="74295" marR="74295" marT="37148" marB="37148"/>
                </a:tc>
                <a:extLst>
                  <a:ext uri="{0D108BD9-81ED-4DB2-BD59-A6C34878D82A}">
                    <a16:rowId xmlns:a16="http://schemas.microsoft.com/office/drawing/2014/main" val="4065795775"/>
                  </a:ext>
                </a:extLst>
              </a:tr>
            </a:tbl>
          </a:graphicData>
        </a:graphic>
      </p:graphicFrame>
    </p:spTree>
    <p:extLst>
      <p:ext uri="{BB962C8B-B14F-4D97-AF65-F5344CB8AC3E}">
        <p14:creationId xmlns:p14="http://schemas.microsoft.com/office/powerpoint/2010/main" val="37051219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Obrázek 5" descr="Obsah obrázku venku, příroda, krajina, mlha&#10;&#10;Popis byl vytvořen automaticky">
            <a:extLst>
              <a:ext uri="{FF2B5EF4-FFF2-40B4-BE49-F238E27FC236}">
                <a16:creationId xmlns:a16="http://schemas.microsoft.com/office/drawing/2014/main" id="{36D1128F-34D9-15A0-3046-CEB966450EAF}"/>
              </a:ext>
            </a:extLst>
          </p:cNvPr>
          <p:cNvPicPr>
            <a:picLocks noChangeAspect="1"/>
          </p:cNvPicPr>
          <p:nvPr/>
        </p:nvPicPr>
        <p:blipFill rotWithShape="1">
          <a:blip r:embed="rId3"/>
          <a:srcRect r="2" b="152"/>
          <a:stretch/>
        </p:blipFill>
        <p:spPr>
          <a:xfrm>
            <a:off x="0" y="0"/>
            <a:ext cx="4597456" cy="6120795"/>
          </a:xfrm>
          <a:prstGeom prst="rect">
            <a:avLst/>
          </a:prstGeom>
        </p:spPr>
      </p:pic>
      <p:cxnSp>
        <p:nvCxnSpPr>
          <p:cNvPr id="11" name="Straight Connector 10">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852004" y="1350744"/>
            <a:ext cx="598763"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Nadpis 1">
            <a:extLst>
              <a:ext uri="{FF2B5EF4-FFF2-40B4-BE49-F238E27FC236}">
                <a16:creationId xmlns:a16="http://schemas.microsoft.com/office/drawing/2014/main" id="{7F8122D1-6CB8-214A-B842-D4DC0DF3AD99}"/>
              </a:ext>
            </a:extLst>
          </p:cNvPr>
          <p:cNvSpPr>
            <a:spLocks noGrp="1"/>
          </p:cNvSpPr>
          <p:nvPr>
            <p:ph type="title"/>
          </p:nvPr>
        </p:nvSpPr>
        <p:spPr>
          <a:xfrm>
            <a:off x="4768203" y="780990"/>
            <a:ext cx="4036432" cy="1139507"/>
          </a:xfrm>
          <a:solidFill>
            <a:schemeClr val="bg1"/>
          </a:solidFill>
        </p:spPr>
        <p:txBody>
          <a:bodyPr vert="horz" lIns="74295" tIns="37148" rIns="74295" bIns="37148" rtlCol="0" anchor="t">
            <a:normAutofit/>
          </a:bodyPr>
          <a:lstStyle/>
          <a:p>
            <a:r>
              <a:rPr lang="cs-CZ" sz="3088" dirty="0"/>
              <a:t>Informace k výzvám</a:t>
            </a:r>
            <a:endParaRPr lang="cs-CZ" sz="3088" dirty="0">
              <a:solidFill>
                <a:schemeClr val="accent1"/>
              </a:solidFill>
            </a:endParaRPr>
          </a:p>
        </p:txBody>
      </p:sp>
      <p:sp>
        <p:nvSpPr>
          <p:cNvPr id="3" name="Zástupný obsah 2">
            <a:extLst>
              <a:ext uri="{FF2B5EF4-FFF2-40B4-BE49-F238E27FC236}">
                <a16:creationId xmlns:a16="http://schemas.microsoft.com/office/drawing/2014/main" id="{9B638AC5-A4E4-5341-8E12-C244565085E1}"/>
              </a:ext>
            </a:extLst>
          </p:cNvPr>
          <p:cNvSpPr>
            <a:spLocks noGrp="1"/>
          </p:cNvSpPr>
          <p:nvPr>
            <p:ph idx="1"/>
          </p:nvPr>
        </p:nvSpPr>
        <p:spPr>
          <a:xfrm>
            <a:off x="4768203" y="1762813"/>
            <a:ext cx="4597456" cy="3542240"/>
          </a:xfrm>
        </p:spPr>
        <p:txBody>
          <a:bodyPr vert="horz" lIns="74295" tIns="37148" rIns="74295" bIns="37148" rtlCol="0">
            <a:normAutofit/>
          </a:bodyPr>
          <a:lstStyle/>
          <a:p>
            <a:pPr marL="0">
              <a:buFont typeface="Arial" panose="020B0604020202020204" pitchFamily="34" charset="0"/>
              <a:buChar char="•"/>
              <a:defRPr/>
            </a:pPr>
            <a:r>
              <a:rPr lang="cs-CZ" sz="1800" dirty="0">
                <a:solidFill>
                  <a:schemeClr val="tx1">
                    <a:lumMod val="50000"/>
                    <a:lumOff val="50000"/>
                  </a:schemeClr>
                </a:solidFill>
              </a:rPr>
              <a:t>Texty výzev, obecná a specifická pravidla, postup pro podání žádosti v MS2021+:</a:t>
            </a:r>
          </a:p>
          <a:p>
            <a:pPr marL="0" indent="0">
              <a:buNone/>
              <a:defRPr/>
            </a:pPr>
            <a:r>
              <a:rPr lang="cs-CZ" sz="1800" dirty="0">
                <a:solidFill>
                  <a:schemeClr val="tx1"/>
                </a:solidFill>
                <a:hlinkClick r:id="rId4"/>
              </a:rPr>
              <a:t>https://irop.gov.cz/cs/vyzvy-2021-2027</a:t>
            </a:r>
            <a:r>
              <a:rPr lang="cs-CZ" sz="1800" dirty="0">
                <a:solidFill>
                  <a:schemeClr val="tx1"/>
                </a:solidFill>
              </a:rPr>
              <a:t> </a:t>
            </a:r>
          </a:p>
          <a:p>
            <a:pPr marL="0">
              <a:buFont typeface="Arial" panose="020B0604020202020204" pitchFamily="34" charset="0"/>
              <a:buChar char="•"/>
              <a:defRPr/>
            </a:pPr>
            <a:r>
              <a:rPr lang="cs-CZ" sz="1800" dirty="0">
                <a:solidFill>
                  <a:schemeClr val="tx1">
                    <a:lumMod val="50000"/>
                    <a:lumOff val="50000"/>
                  </a:schemeClr>
                </a:solidFill>
              </a:rPr>
              <a:t>Kontrolní listy k hodnocení:</a:t>
            </a:r>
          </a:p>
          <a:p>
            <a:pPr marL="0" indent="0">
              <a:buNone/>
              <a:defRPr/>
            </a:pPr>
            <a:r>
              <a:rPr lang="cs-CZ" sz="1800" u="sng" dirty="0">
                <a:solidFill>
                  <a:srgbClr val="0000FF"/>
                </a:solidFill>
                <a:latin typeface="Arial" panose="020B0604020202020204" pitchFamily="34" charset="0"/>
                <a:ea typeface="SimSun" panose="02010600030101010101" pitchFamily="2" charset="-122"/>
                <a:cs typeface="Arial" panose="020B0604020202020204" pitchFamily="34" charset="0"/>
                <a:hlinkClick r:id="rId5"/>
              </a:rPr>
              <a:t>https://crr.gov.cz/irop/projekt-a-kontrola/kontrolni-listy/</a:t>
            </a:r>
            <a:endParaRPr lang="cs-CZ" sz="1800" u="sng" dirty="0">
              <a:solidFill>
                <a:srgbClr val="0000FF"/>
              </a:solidFill>
              <a:latin typeface="Arial" panose="020B0604020202020204" pitchFamily="34" charset="0"/>
              <a:ea typeface="SimSun" panose="02010600030101010101" pitchFamily="2" charset="-122"/>
              <a:cs typeface="Arial" panose="020B0604020202020204" pitchFamily="34" charset="0"/>
            </a:endParaRPr>
          </a:p>
          <a:p>
            <a:pPr>
              <a:buFont typeface="Arial" panose="020B0604020202020204" pitchFamily="34" charset="0"/>
              <a:buChar char="•"/>
              <a:defRPr/>
            </a:pPr>
            <a:r>
              <a:rPr lang="cs-CZ" sz="1800" dirty="0">
                <a:solidFill>
                  <a:schemeClr val="tx1">
                    <a:lumMod val="50000"/>
                    <a:lumOff val="50000"/>
                  </a:schemeClr>
                </a:solidFill>
              </a:rPr>
              <a:t>Konzultační servis IROP: </a:t>
            </a:r>
          </a:p>
          <a:p>
            <a:pPr marL="0" indent="0">
              <a:buNone/>
              <a:defRPr/>
            </a:pPr>
            <a:r>
              <a:rPr lang="cs-CZ" sz="1800" u="sng" dirty="0">
                <a:solidFill>
                  <a:srgbClr val="0000FF"/>
                </a:solidFill>
                <a:latin typeface="Arial" panose="020B0604020202020204" pitchFamily="34" charset="0"/>
                <a:ea typeface="SimSun" panose="02010600030101010101" pitchFamily="2" charset="-122"/>
                <a:cs typeface="Arial" panose="020B0604020202020204" pitchFamily="34" charset="0"/>
                <a:hlinkClick r:id="rId6"/>
              </a:rPr>
              <a:t>https://crr.gov.cz/kontakty/konzultacni-servis/</a:t>
            </a:r>
            <a:endParaRPr lang="en-US" sz="1600" b="1" dirty="0">
              <a:solidFill>
                <a:schemeClr val="tx1"/>
              </a:solidFill>
            </a:endParaRPr>
          </a:p>
        </p:txBody>
      </p:sp>
    </p:spTree>
    <p:extLst>
      <p:ext uri="{BB962C8B-B14F-4D97-AF65-F5344CB8AC3E}">
        <p14:creationId xmlns:p14="http://schemas.microsoft.com/office/powerpoint/2010/main" val="41211460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72F3E4-156E-0045-911B-1B54C82DBB8B}"/>
              </a:ext>
            </a:extLst>
          </p:cNvPr>
          <p:cNvSpPr>
            <a:spLocks noGrp="1"/>
          </p:cNvSpPr>
          <p:nvPr>
            <p:ph type="ctrTitle"/>
          </p:nvPr>
        </p:nvSpPr>
        <p:spPr/>
        <p:txBody>
          <a:bodyPr>
            <a:noAutofit/>
          </a:bodyPr>
          <a:lstStyle/>
          <a:p>
            <a:pPr>
              <a:lnSpc>
                <a:spcPct val="150000"/>
              </a:lnSpc>
            </a:pPr>
            <a:br>
              <a:rPr lang="cs-CZ"/>
            </a:br>
            <a:br>
              <a:rPr lang="cs-CZ"/>
            </a:br>
            <a:br>
              <a:rPr lang="cs-CZ"/>
            </a:br>
            <a:br>
              <a:rPr lang="cs-CZ"/>
            </a:br>
            <a:br>
              <a:rPr lang="cs-CZ"/>
            </a:br>
            <a:br>
              <a:rPr lang="cs-CZ"/>
            </a:br>
            <a:br>
              <a:rPr lang="cs-CZ"/>
            </a:br>
            <a:br>
              <a:rPr lang="cs-CZ"/>
            </a:br>
            <a:br>
              <a:rPr lang="cs-CZ"/>
            </a:br>
            <a:br>
              <a:rPr lang="cs-CZ"/>
            </a:br>
            <a:br>
              <a:rPr lang="cs-CZ"/>
            </a:br>
            <a:br>
              <a:rPr lang="cs-CZ"/>
            </a:br>
            <a:r>
              <a:rPr lang="cs-CZ" sz="3575"/>
              <a:t>Rozšíření podpory </a:t>
            </a:r>
            <a:br>
              <a:rPr lang="cs-CZ" sz="3575"/>
            </a:br>
            <a:r>
              <a:rPr lang="cs-CZ" sz="3575"/>
              <a:t>cestovního ruchu v IROP </a:t>
            </a:r>
            <a:br>
              <a:rPr lang="cs-CZ"/>
            </a:br>
            <a:endParaRPr lang="cs-CZ"/>
          </a:p>
        </p:txBody>
      </p:sp>
      <p:sp>
        <p:nvSpPr>
          <p:cNvPr id="3" name="Podnadpis 2">
            <a:extLst>
              <a:ext uri="{FF2B5EF4-FFF2-40B4-BE49-F238E27FC236}">
                <a16:creationId xmlns:a16="http://schemas.microsoft.com/office/drawing/2014/main" id="{B70EB2BE-A47F-6743-A95B-DD2D721E2B5C}"/>
              </a:ext>
            </a:extLst>
          </p:cNvPr>
          <p:cNvSpPr>
            <a:spLocks noGrp="1"/>
          </p:cNvSpPr>
          <p:nvPr>
            <p:ph type="subTitle" idx="1"/>
          </p:nvPr>
        </p:nvSpPr>
        <p:spPr/>
        <p:txBody>
          <a:bodyPr>
            <a:normAutofit fontScale="25000" lnSpcReduction="20000"/>
          </a:bodyPr>
          <a:lstStyle/>
          <a:p>
            <a:endParaRPr lang="cs-CZ"/>
          </a:p>
          <a:p>
            <a:r>
              <a:rPr lang="cs-CZ" sz="6500"/>
              <a:t>Řídicí orgán IROP</a:t>
            </a:r>
          </a:p>
          <a:p>
            <a:r>
              <a:rPr lang="cs-CZ" sz="6500"/>
              <a:t>Praha, 10. 9. 2025</a:t>
            </a:r>
          </a:p>
          <a:p>
            <a:endParaRPr lang="cs-CZ" sz="6500"/>
          </a:p>
        </p:txBody>
      </p:sp>
    </p:spTree>
    <p:extLst>
      <p:ext uri="{BB962C8B-B14F-4D97-AF65-F5344CB8AC3E}">
        <p14:creationId xmlns:p14="http://schemas.microsoft.com/office/powerpoint/2010/main" val="329049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16422-911E-97BD-902F-455CB4B3ED79}"/>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3AB6729E-DBCF-D03C-D12E-E903DFC6F5DD}"/>
              </a:ext>
            </a:extLst>
          </p:cNvPr>
          <p:cNvSpPr>
            <a:spLocks noGrp="1"/>
          </p:cNvSpPr>
          <p:nvPr>
            <p:ph type="title"/>
          </p:nvPr>
        </p:nvSpPr>
        <p:spPr>
          <a:xfrm>
            <a:off x="495300" y="337755"/>
            <a:ext cx="8915400" cy="2657489"/>
          </a:xfrm>
        </p:spPr>
        <p:txBody>
          <a:bodyPr lIns="91440" tIns="45720" rIns="91440" bIns="45720" anchor="t">
            <a:noAutofit/>
          </a:bodyPr>
          <a:lstStyle/>
          <a:p>
            <a:r>
              <a:rPr lang="cs-CZ" sz="3500" b="1">
                <a:ea typeface="Calibri"/>
                <a:cs typeface="Calibri"/>
              </a:rPr>
              <a:t>Evropský fond pro hospodářskou, sociální </a:t>
            </a:r>
            <a:br>
              <a:rPr lang="cs-CZ" sz="3500" b="1">
                <a:ea typeface="Calibri"/>
                <a:cs typeface="Calibri"/>
              </a:rPr>
            </a:br>
            <a:r>
              <a:rPr lang="cs-CZ" sz="3500" b="1">
                <a:ea typeface="Calibri"/>
                <a:cs typeface="Calibri"/>
              </a:rPr>
              <a:t>a územní soudržnost, zemědělství a rozvoj venkova, rybolov a námořní záležitosti,   prosperitu a bezpečnost</a:t>
            </a:r>
            <a:br>
              <a:rPr lang="cs-CZ" sz="4400"/>
            </a:br>
            <a:endParaRPr lang="cs-CZ" sz="4400">
              <a:ea typeface="Calibri"/>
              <a:cs typeface="Calibri"/>
            </a:endParaRPr>
          </a:p>
        </p:txBody>
      </p:sp>
    </p:spTree>
    <p:extLst>
      <p:ext uri="{BB962C8B-B14F-4D97-AF65-F5344CB8AC3E}">
        <p14:creationId xmlns:p14="http://schemas.microsoft.com/office/powerpoint/2010/main" val="1170133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647A66-2629-1FE8-0891-145C78A7D5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B0B8C0-DAB1-B1C3-9F81-6F85965B1DF7}"/>
              </a:ext>
            </a:extLst>
          </p:cNvPr>
          <p:cNvSpPr>
            <a:spLocks noGrp="1"/>
          </p:cNvSpPr>
          <p:nvPr>
            <p:ph type="title"/>
          </p:nvPr>
        </p:nvSpPr>
        <p:spPr/>
        <p:txBody>
          <a:bodyPr lIns="91440" tIns="45720" rIns="91440" bIns="45720" anchor="t">
            <a:normAutofit/>
          </a:bodyPr>
          <a:lstStyle/>
          <a:p>
            <a:r>
              <a:rPr lang="cs-CZ" sz="3600">
                <a:solidFill>
                  <a:srgbClr val="0C4CA3"/>
                </a:solidFill>
                <a:ea typeface="Calibri"/>
                <a:cs typeface="Calibri"/>
              </a:rPr>
              <a:t>Program</a:t>
            </a:r>
            <a:endParaRPr lang="en-US" sz="3600">
              <a:solidFill>
                <a:srgbClr val="0C4CA3"/>
              </a:solidFill>
              <a:ea typeface="Calibri"/>
              <a:cs typeface="Calibri"/>
            </a:endParaRPr>
          </a:p>
          <a:p>
            <a:endParaRPr lang="en-US" sz="3600">
              <a:solidFill>
                <a:srgbClr val="0C4CA3"/>
              </a:solidFill>
              <a:ea typeface="Calibri"/>
              <a:cs typeface="Calibri"/>
            </a:endParaRPr>
          </a:p>
        </p:txBody>
      </p:sp>
      <p:sp>
        <p:nvSpPr>
          <p:cNvPr id="3" name="Content Placeholder 2">
            <a:extLst>
              <a:ext uri="{FF2B5EF4-FFF2-40B4-BE49-F238E27FC236}">
                <a16:creationId xmlns:a16="http://schemas.microsoft.com/office/drawing/2014/main" id="{5D207E7E-34AC-FD76-D5A1-0D87BC028434}"/>
              </a:ext>
            </a:extLst>
          </p:cNvPr>
          <p:cNvSpPr>
            <a:spLocks noGrp="1"/>
          </p:cNvSpPr>
          <p:nvPr>
            <p:ph idx="1"/>
          </p:nvPr>
        </p:nvSpPr>
        <p:spPr>
          <a:xfrm>
            <a:off x="426349" y="1326825"/>
            <a:ext cx="9264406" cy="4525963"/>
          </a:xfrm>
        </p:spPr>
        <p:txBody>
          <a:bodyPr lIns="91440" tIns="45720" rIns="91440" bIns="45720" anchor="t"/>
          <a:lstStyle/>
          <a:p>
            <a:pPr marL="457200" indent="-457200">
              <a:buAutoNum type="arabicPeriod"/>
            </a:pPr>
            <a:r>
              <a:rPr lang="cs-CZ" sz="2800" dirty="0">
                <a:ea typeface="Calibri"/>
                <a:cs typeface="Arial"/>
              </a:rPr>
              <a:t>Zahájení </a:t>
            </a:r>
          </a:p>
          <a:p>
            <a:pPr marL="457200" indent="-457200">
              <a:buAutoNum type="arabicPeriod"/>
            </a:pPr>
            <a:r>
              <a:rPr lang="cs-CZ" sz="2800" dirty="0">
                <a:ea typeface="Calibri"/>
                <a:cs typeface="Arial"/>
              </a:rPr>
              <a:t>Aktuální informace o bezúplatném převodu pozemků po těžbě v majetku státu</a:t>
            </a:r>
          </a:p>
          <a:p>
            <a:pPr marL="457200" indent="-457200">
              <a:buAutoNum type="arabicPeriod"/>
            </a:pPr>
            <a:r>
              <a:rPr lang="cs-CZ" sz="2800" dirty="0">
                <a:ea typeface="Calibri"/>
                <a:cs typeface="Arial"/>
              </a:rPr>
              <a:t>Aktuality z Oddělení strategie RE:START</a:t>
            </a:r>
          </a:p>
          <a:p>
            <a:pPr marL="457200" indent="-457200">
              <a:buAutoNum type="arabicPeriod"/>
            </a:pPr>
            <a:r>
              <a:rPr lang="cs-CZ" sz="2800" dirty="0">
                <a:ea typeface="Calibri"/>
                <a:cs typeface="Arial"/>
              </a:rPr>
              <a:t>Návrh víceletého finančního rámce pro programové období 2028+</a:t>
            </a:r>
          </a:p>
          <a:p>
            <a:pPr marL="457200" indent="-457200">
              <a:buAutoNum type="arabicPeriod"/>
            </a:pPr>
            <a:r>
              <a:rPr lang="cs-CZ" sz="2800" dirty="0">
                <a:ea typeface="Calibri"/>
                <a:cs typeface="Arial"/>
              </a:rPr>
              <a:t>Růst chudších regionů: investice, motivace, efektivita samospráv a rozvoj služeb </a:t>
            </a:r>
          </a:p>
          <a:p>
            <a:pPr marL="457200" indent="-457200">
              <a:buAutoNum type="arabicPeriod"/>
            </a:pPr>
            <a:r>
              <a:rPr lang="cs-CZ" sz="2800" dirty="0">
                <a:ea typeface="Calibri"/>
                <a:cs typeface="Arial"/>
              </a:rPr>
              <a:t>Aktuální informace ke konceptu Regiony příležitostí</a:t>
            </a:r>
          </a:p>
          <a:p>
            <a:pPr marL="457200" indent="-457200">
              <a:buAutoNum type="arabicPeriod"/>
            </a:pPr>
            <a:r>
              <a:rPr lang="cs-CZ" sz="2800" dirty="0">
                <a:ea typeface="Calibri"/>
                <a:cs typeface="Arial"/>
              </a:rPr>
              <a:t>Různé</a:t>
            </a:r>
          </a:p>
          <a:p>
            <a:pPr marL="0" indent="0">
              <a:buNone/>
            </a:pPr>
            <a:endParaRPr lang="cs-CZ" sz="2800" dirty="0">
              <a:ea typeface="Calibri"/>
              <a:cs typeface="Arial"/>
            </a:endParaRPr>
          </a:p>
          <a:p>
            <a:pPr marL="374650" indent="-374650">
              <a:buAutoNum type="arabicPeriod"/>
            </a:pPr>
            <a:endParaRPr lang="en-US" sz="3600" dirty="0">
              <a:ea typeface="Calibri"/>
              <a:cs typeface="Calibri"/>
            </a:endParaRPr>
          </a:p>
        </p:txBody>
      </p:sp>
    </p:spTree>
    <p:extLst>
      <p:ext uri="{BB962C8B-B14F-4D97-AF65-F5344CB8AC3E}">
        <p14:creationId xmlns:p14="http://schemas.microsoft.com/office/powerpoint/2010/main" val="22946582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02299-A4F1-95D4-6975-467A19D03B45}"/>
            </a:ext>
          </a:extLst>
        </p:cNvPr>
        <p:cNvGrpSpPr/>
        <p:nvPr/>
      </p:nvGrpSpPr>
      <p:grpSpPr>
        <a:xfrm>
          <a:off x="0" y="0"/>
          <a:ext cx="0" cy="0"/>
          <a:chOff x="0" y="0"/>
          <a:chExt cx="0" cy="0"/>
        </a:xfrm>
      </p:grpSpPr>
      <p:sp>
        <p:nvSpPr>
          <p:cNvPr id="3" name="Zástupný obsah 2">
            <a:extLst>
              <a:ext uri="{FF2B5EF4-FFF2-40B4-BE49-F238E27FC236}">
                <a16:creationId xmlns:a16="http://schemas.microsoft.com/office/drawing/2014/main" id="{7EF5076D-EB83-5D26-55AB-614F087B268E}"/>
              </a:ext>
            </a:extLst>
          </p:cNvPr>
          <p:cNvSpPr>
            <a:spLocks noGrp="1"/>
          </p:cNvSpPr>
          <p:nvPr>
            <p:ph idx="1"/>
          </p:nvPr>
        </p:nvSpPr>
        <p:spPr>
          <a:xfrm>
            <a:off x="1621631" y="1649692"/>
            <a:ext cx="7445939" cy="1125548"/>
          </a:xfrm>
          <a:solidFill>
            <a:schemeClr val="bg1"/>
          </a:solidFill>
          <a:ln w="28575">
            <a:solidFill>
              <a:schemeClr val="bg1">
                <a:lumMod val="95000"/>
              </a:schemeClr>
            </a:solidFill>
          </a:ln>
        </p:spPr>
        <p:txBody>
          <a:bodyPr lIns="72565" tIns="36282" rIns="72565" bIns="36282" anchor="t"/>
          <a:lstStyle/>
          <a:p>
            <a:pPr marL="147042" indent="-147042">
              <a:lnSpc>
                <a:spcPct val="110000"/>
              </a:lnSpc>
              <a:spcBef>
                <a:spcPts val="0"/>
              </a:spcBef>
            </a:pPr>
            <a:r>
              <a:rPr lang="cs-CZ" sz="1625">
                <a:cs typeface="Calibri"/>
              </a:rPr>
              <a:t>Nařízení k víceletému finančnímu rámci </a:t>
            </a:r>
            <a:r>
              <a:rPr lang="cs-CZ" sz="1625">
                <a:solidFill>
                  <a:schemeClr val="tx2"/>
                </a:solidFill>
                <a:cs typeface="Calibri"/>
              </a:rPr>
              <a:t>(MF)</a:t>
            </a:r>
          </a:p>
          <a:p>
            <a:pPr marL="147042" indent="-147042">
              <a:lnSpc>
                <a:spcPct val="110000"/>
              </a:lnSpc>
              <a:spcBef>
                <a:spcPts val="0"/>
              </a:spcBef>
            </a:pPr>
            <a:r>
              <a:rPr lang="cs-CZ" sz="1625">
                <a:cs typeface="Calibri"/>
              </a:rPr>
              <a:t>Nařízení ke sledování rozpočtových výdajů a výkonnostnímu rámci </a:t>
            </a:r>
            <a:r>
              <a:rPr lang="cs-CZ" sz="1625">
                <a:solidFill>
                  <a:schemeClr val="tx2"/>
                </a:solidFill>
                <a:cs typeface="Calibri"/>
              </a:rPr>
              <a:t>(MMR)</a:t>
            </a:r>
          </a:p>
          <a:p>
            <a:pPr marL="147042" indent="-147042">
              <a:lnSpc>
                <a:spcPct val="110000"/>
              </a:lnSpc>
              <a:spcBef>
                <a:spcPts val="0"/>
              </a:spcBef>
            </a:pPr>
            <a:r>
              <a:rPr lang="cs-CZ" sz="1625">
                <a:cs typeface="Calibri"/>
              </a:rPr>
              <a:t>Nařízení o Evropském fondu a NRPP </a:t>
            </a:r>
            <a:r>
              <a:rPr lang="cs-CZ" sz="1625">
                <a:solidFill>
                  <a:schemeClr val="tx2"/>
                </a:solidFill>
                <a:cs typeface="Calibri"/>
              </a:rPr>
              <a:t>(MMR)</a:t>
            </a:r>
          </a:p>
        </p:txBody>
      </p:sp>
      <p:sp>
        <p:nvSpPr>
          <p:cNvPr id="2" name="Nadpis 1">
            <a:extLst>
              <a:ext uri="{FF2B5EF4-FFF2-40B4-BE49-F238E27FC236}">
                <a16:creationId xmlns:a16="http://schemas.microsoft.com/office/drawing/2014/main" id="{C0D43453-8F5C-8E22-99F9-C4FF2AFD4E38}"/>
              </a:ext>
            </a:extLst>
          </p:cNvPr>
          <p:cNvSpPr>
            <a:spLocks noGrp="1"/>
          </p:cNvSpPr>
          <p:nvPr>
            <p:ph type="title"/>
          </p:nvPr>
        </p:nvSpPr>
        <p:spPr>
          <a:xfrm>
            <a:off x="0" y="181383"/>
            <a:ext cx="9906000" cy="965916"/>
          </a:xfrm>
        </p:spPr>
        <p:txBody>
          <a:bodyPr anchor="ctr">
            <a:normAutofit/>
          </a:bodyPr>
          <a:lstStyle/>
          <a:p>
            <a:pPr marL="285685"/>
            <a:r>
              <a:rPr lang="cs-CZ" sz="3600">
                <a:solidFill>
                  <a:srgbClr val="0C4CA3"/>
                </a:solidFill>
                <a:cs typeface="Calibri"/>
              </a:rPr>
              <a:t>Legislativní balíček pro období 2028–2034</a:t>
            </a:r>
          </a:p>
        </p:txBody>
      </p:sp>
      <p:sp>
        <p:nvSpPr>
          <p:cNvPr id="4" name="TextovéPole 3">
            <a:extLst>
              <a:ext uri="{FF2B5EF4-FFF2-40B4-BE49-F238E27FC236}">
                <a16:creationId xmlns:a16="http://schemas.microsoft.com/office/drawing/2014/main" id="{43DAD56C-0A28-7DAA-38EB-876997B35BA2}"/>
              </a:ext>
            </a:extLst>
          </p:cNvPr>
          <p:cNvSpPr txBox="1">
            <a:spLocks/>
          </p:cNvSpPr>
          <p:nvPr/>
        </p:nvSpPr>
        <p:spPr>
          <a:xfrm rot="16200000">
            <a:off x="272039" y="1568155"/>
            <a:ext cx="1125548" cy="1288622"/>
          </a:xfrm>
          <a:prstGeom prst="rect">
            <a:avLst/>
          </a:prstGeom>
          <a:solidFill>
            <a:schemeClr val="bg1">
              <a:lumMod val="95000"/>
            </a:schemeClr>
          </a:solidFill>
        </p:spPr>
        <p:txBody>
          <a:bodyPr wrap="square" rtlCol="0" anchor="ctr" anchorCtr="0">
            <a:noAutofit/>
          </a:bodyPr>
          <a:lstStyle/>
          <a:p>
            <a:pPr algn="ctr"/>
            <a:r>
              <a:rPr lang="cs-CZ" sz="1950" b="1">
                <a:solidFill>
                  <a:schemeClr val="tx2"/>
                </a:solidFill>
              </a:rPr>
              <a:t>Hlavní nařízení</a:t>
            </a:r>
          </a:p>
        </p:txBody>
      </p:sp>
      <p:sp>
        <p:nvSpPr>
          <p:cNvPr id="5" name="TextovéPole 4">
            <a:extLst>
              <a:ext uri="{FF2B5EF4-FFF2-40B4-BE49-F238E27FC236}">
                <a16:creationId xmlns:a16="http://schemas.microsoft.com/office/drawing/2014/main" id="{215DC923-BB73-6CF9-112C-4F530869ABF8}"/>
              </a:ext>
            </a:extLst>
          </p:cNvPr>
          <p:cNvSpPr txBox="1"/>
          <p:nvPr/>
        </p:nvSpPr>
        <p:spPr>
          <a:xfrm rot="16200000">
            <a:off x="-548699" y="3596889"/>
            <a:ext cx="2767022" cy="1288622"/>
          </a:xfrm>
          <a:prstGeom prst="rect">
            <a:avLst/>
          </a:prstGeom>
          <a:solidFill>
            <a:schemeClr val="bg1">
              <a:lumMod val="95000"/>
            </a:schemeClr>
          </a:solidFill>
        </p:spPr>
        <p:txBody>
          <a:bodyPr wrap="square" rtlCol="0" anchor="ctr" anchorCtr="0">
            <a:noAutofit/>
          </a:bodyPr>
          <a:lstStyle>
            <a:defPPr>
              <a:defRPr lang="cs-CZ"/>
            </a:defPPr>
            <a:lvl1pPr algn="ctr">
              <a:defRPr sz="2000">
                <a:solidFill>
                  <a:schemeClr val="tx2"/>
                </a:solidFill>
                <a:latin typeface="Avenir Next LT Pro" panose="020B0504020202020204" pitchFamily="34" charset="-18"/>
              </a:defRPr>
            </a:lvl1pPr>
          </a:lstStyle>
          <a:p>
            <a:r>
              <a:rPr lang="cs-CZ" sz="2113" b="1">
                <a:latin typeface="+mn-lt"/>
              </a:rPr>
              <a:t>Sektorová </a:t>
            </a:r>
          </a:p>
          <a:p>
            <a:r>
              <a:rPr lang="cs-CZ" sz="2113" b="1">
                <a:latin typeface="+mn-lt"/>
              </a:rPr>
              <a:t>nařízení</a:t>
            </a:r>
          </a:p>
        </p:txBody>
      </p:sp>
      <p:sp>
        <p:nvSpPr>
          <p:cNvPr id="6" name="TextovéPole 5">
            <a:extLst>
              <a:ext uri="{FF2B5EF4-FFF2-40B4-BE49-F238E27FC236}">
                <a16:creationId xmlns:a16="http://schemas.microsoft.com/office/drawing/2014/main" id="{A1CCC8B9-CF24-6A51-57A7-BBBA7F33B15D}"/>
              </a:ext>
            </a:extLst>
          </p:cNvPr>
          <p:cNvSpPr txBox="1"/>
          <p:nvPr/>
        </p:nvSpPr>
        <p:spPr>
          <a:xfrm>
            <a:off x="1621631" y="2857689"/>
            <a:ext cx="7445939" cy="2767021"/>
          </a:xfrm>
          <a:prstGeom prst="rect">
            <a:avLst/>
          </a:prstGeom>
          <a:solidFill>
            <a:schemeClr val="bg1"/>
          </a:solidFill>
          <a:ln w="28575">
            <a:solidFill>
              <a:schemeClr val="bg1">
                <a:lumMod val="95000"/>
              </a:schemeClr>
            </a:solidFill>
          </a:ln>
        </p:spPr>
        <p:txBody>
          <a:bodyPr wrap="square" rtlCol="0">
            <a:noAutofit/>
          </a:bodyPr>
          <a:lstStyle/>
          <a:p>
            <a:pPr marL="147042" indent="-147042">
              <a:buFont typeface="Arial" panose="020B0604020202020204" pitchFamily="34" charset="0"/>
              <a:buChar char="•"/>
            </a:pPr>
            <a:r>
              <a:rPr lang="cs-CZ" sz="1625">
                <a:cs typeface="Calibri"/>
              </a:rPr>
              <a:t>Nařízení ke Společné zemědělské politice </a:t>
            </a:r>
            <a:r>
              <a:rPr lang="cs-CZ" sz="1625">
                <a:solidFill>
                  <a:schemeClr val="tx2"/>
                </a:solidFill>
                <a:cs typeface="Calibri"/>
              </a:rPr>
              <a:t>(MZE)</a:t>
            </a:r>
          </a:p>
          <a:p>
            <a:pPr marL="147042" indent="-147042">
              <a:buFont typeface="Arial" panose="020B0604020202020204" pitchFamily="34" charset="0"/>
              <a:buChar char="•"/>
            </a:pPr>
            <a:r>
              <a:rPr lang="cs-CZ" sz="1625">
                <a:cs typeface="Calibri"/>
              </a:rPr>
              <a:t>Nařízení ke Společné rybářské politice, k Evropskému oceánskému paktu a k námořní a akvakulturní politice  </a:t>
            </a:r>
            <a:r>
              <a:rPr lang="cs-CZ" sz="1625">
                <a:solidFill>
                  <a:schemeClr val="tx2"/>
                </a:solidFill>
                <a:cs typeface="Calibri"/>
              </a:rPr>
              <a:t>(MZE)</a:t>
            </a:r>
          </a:p>
          <a:p>
            <a:pPr marL="147042" indent="-147042">
              <a:buFont typeface="Arial" panose="020B0604020202020204" pitchFamily="34" charset="0"/>
              <a:buChar char="•"/>
            </a:pPr>
            <a:r>
              <a:rPr lang="cs-CZ" sz="1625">
                <a:cs typeface="Calibri"/>
              </a:rPr>
              <a:t>Nařízení k Evropskému fondu pro regionální rozvoj a fondu soudržnosti </a:t>
            </a:r>
            <a:r>
              <a:rPr lang="cs-CZ" sz="1625">
                <a:solidFill>
                  <a:schemeClr val="tx2"/>
                </a:solidFill>
                <a:cs typeface="Calibri"/>
              </a:rPr>
              <a:t>(MMR)</a:t>
            </a:r>
          </a:p>
          <a:p>
            <a:pPr marL="147042" indent="-147042">
              <a:buFont typeface="Arial" panose="020B0604020202020204" pitchFamily="34" charset="0"/>
              <a:buChar char="•"/>
            </a:pPr>
            <a:r>
              <a:rPr lang="cs-CZ" sz="1625">
                <a:cs typeface="Calibri"/>
              </a:rPr>
              <a:t>Nařízení k Evropskému sociálnímu fondu </a:t>
            </a:r>
            <a:r>
              <a:rPr lang="cs-CZ" sz="1625">
                <a:solidFill>
                  <a:schemeClr val="tx2"/>
                </a:solidFill>
                <a:cs typeface="Calibri"/>
              </a:rPr>
              <a:t>(MPSV)</a:t>
            </a:r>
          </a:p>
          <a:p>
            <a:pPr marL="147042" indent="-147042">
              <a:buFont typeface="Arial" panose="020B0604020202020204" pitchFamily="34" charset="0"/>
              <a:buChar char="•"/>
            </a:pPr>
            <a:r>
              <a:rPr lang="cs-CZ" sz="1625">
                <a:cs typeface="Calibri"/>
              </a:rPr>
              <a:t>Nařízení o programu podpory pro dodávky ovoce a zeleniny, banánů a mléka do vzdělávacích zařízení </a:t>
            </a:r>
            <a:r>
              <a:rPr lang="cs-CZ" sz="1625">
                <a:solidFill>
                  <a:schemeClr val="tx2"/>
                </a:solidFill>
                <a:cs typeface="Calibri"/>
              </a:rPr>
              <a:t>(MZE)</a:t>
            </a:r>
          </a:p>
          <a:p>
            <a:pPr marL="147042" indent="-147042">
              <a:buFont typeface="Arial" panose="020B0604020202020204" pitchFamily="34" charset="0"/>
              <a:buChar char="•"/>
            </a:pPr>
            <a:r>
              <a:rPr lang="cs-CZ" sz="1625">
                <a:cs typeface="Calibri"/>
              </a:rPr>
              <a:t>Nařízení k podpoře pro azyl, migraci a integraci </a:t>
            </a:r>
            <a:r>
              <a:rPr lang="cs-CZ" sz="1625">
                <a:solidFill>
                  <a:schemeClr val="tx2"/>
                </a:solidFill>
                <a:cs typeface="Calibri"/>
              </a:rPr>
              <a:t>(MV)</a:t>
            </a:r>
            <a:endParaRPr lang="cs-CZ" sz="1625">
              <a:cs typeface="Calibri"/>
            </a:endParaRPr>
          </a:p>
          <a:p>
            <a:pPr marL="147042" indent="-147042">
              <a:buFont typeface="Arial" panose="020B0604020202020204" pitchFamily="34" charset="0"/>
              <a:buChar char="•"/>
            </a:pPr>
            <a:r>
              <a:rPr lang="cs-CZ" sz="1625">
                <a:cs typeface="Calibri"/>
              </a:rPr>
              <a:t>Nařízení k podpoře v oblasti vnitřní bezpečnosti </a:t>
            </a:r>
            <a:r>
              <a:rPr lang="cs-CZ" sz="1625">
                <a:solidFill>
                  <a:schemeClr val="tx2"/>
                </a:solidFill>
                <a:cs typeface="Calibri"/>
              </a:rPr>
              <a:t>(MV)</a:t>
            </a:r>
          </a:p>
          <a:p>
            <a:pPr marL="147042" indent="-147042">
              <a:buFont typeface="Arial" panose="020B0604020202020204" pitchFamily="34" charset="0"/>
              <a:buChar char="•"/>
            </a:pPr>
            <a:r>
              <a:rPr lang="cs-CZ" sz="1625">
                <a:cs typeface="Calibri"/>
              </a:rPr>
              <a:t>Nařízení k podpoře v oblasti správy hranic a evropské vízové politiky </a:t>
            </a:r>
            <a:r>
              <a:rPr lang="cs-CZ" sz="1625">
                <a:solidFill>
                  <a:schemeClr val="tx2"/>
                </a:solidFill>
                <a:cs typeface="Calibri"/>
              </a:rPr>
              <a:t>(MV)</a:t>
            </a:r>
          </a:p>
          <a:p>
            <a:pPr marL="147042" indent="-147042">
              <a:buFont typeface="Arial" panose="020B0604020202020204" pitchFamily="34" charset="0"/>
              <a:buChar char="•"/>
            </a:pPr>
            <a:endParaRPr lang="cs-CZ" sz="1625">
              <a:cs typeface="Calibri"/>
            </a:endParaRPr>
          </a:p>
          <a:p>
            <a:pPr marL="147042" indent="-147042">
              <a:buFont typeface="Arial" panose="020B0604020202020204" pitchFamily="34" charset="0"/>
              <a:buChar char="•"/>
            </a:pPr>
            <a:endParaRPr lang="cs-CZ" sz="1625">
              <a:solidFill>
                <a:schemeClr val="tx2"/>
              </a:solidFill>
              <a:cs typeface="Calibri"/>
            </a:endParaRPr>
          </a:p>
        </p:txBody>
      </p:sp>
      <p:sp>
        <p:nvSpPr>
          <p:cNvPr id="7" name="TextovéPole 6">
            <a:extLst>
              <a:ext uri="{FF2B5EF4-FFF2-40B4-BE49-F238E27FC236}">
                <a16:creationId xmlns:a16="http://schemas.microsoft.com/office/drawing/2014/main" id="{FEAE98B7-CDE2-6DEF-6131-3736B4E19736}"/>
              </a:ext>
            </a:extLst>
          </p:cNvPr>
          <p:cNvSpPr txBox="1"/>
          <p:nvPr/>
        </p:nvSpPr>
        <p:spPr>
          <a:xfrm rot="16200000">
            <a:off x="8118063" y="3468886"/>
            <a:ext cx="2717020" cy="513658"/>
          </a:xfrm>
          <a:prstGeom prst="rect">
            <a:avLst/>
          </a:prstGeom>
          <a:solidFill>
            <a:schemeClr val="accent1"/>
          </a:solidFill>
        </p:spPr>
        <p:txBody>
          <a:bodyPr wrap="square" rtlCol="0" anchor="ctr" anchorCtr="0">
            <a:noAutofit/>
          </a:bodyPr>
          <a:lstStyle>
            <a:defPPr>
              <a:defRPr lang="cs-CZ"/>
            </a:defPPr>
            <a:lvl1pPr algn="ctr">
              <a:defRPr sz="2000">
                <a:solidFill>
                  <a:schemeClr val="tx2"/>
                </a:solidFill>
                <a:latin typeface="Avenir Next LT Pro" panose="020B0504020202020204" pitchFamily="34" charset="-18"/>
              </a:defRPr>
            </a:lvl1pPr>
          </a:lstStyle>
          <a:p>
            <a:r>
              <a:rPr lang="cs-CZ" sz="1788">
                <a:solidFill>
                  <a:schemeClr val="bg1"/>
                </a:solidFill>
                <a:latin typeface="+mn-lt"/>
              </a:rPr>
              <a:t>NEGOBOX</a:t>
            </a:r>
          </a:p>
        </p:txBody>
      </p:sp>
      <p:cxnSp>
        <p:nvCxnSpPr>
          <p:cNvPr id="9" name="Spojnice: pravoúhlá 8">
            <a:extLst>
              <a:ext uri="{FF2B5EF4-FFF2-40B4-BE49-F238E27FC236}">
                <a16:creationId xmlns:a16="http://schemas.microsoft.com/office/drawing/2014/main" id="{58F418BB-C3F4-4E27-A1C2-0BF6B4DB8CE7}"/>
              </a:ext>
            </a:extLst>
          </p:cNvPr>
          <p:cNvCxnSpPr>
            <a:endCxn id="7" idx="3"/>
          </p:cNvCxnSpPr>
          <p:nvPr/>
        </p:nvCxnSpPr>
        <p:spPr>
          <a:xfrm>
            <a:off x="9067570" y="1994570"/>
            <a:ext cx="409004" cy="372635"/>
          </a:xfrm>
          <a:prstGeom prst="bentConnector2">
            <a:avLst/>
          </a:prstGeom>
          <a:ln w="25400">
            <a:solidFill>
              <a:schemeClr val="bg1">
                <a:lumMod val="95000"/>
              </a:schemeClr>
            </a:solidFill>
          </a:ln>
        </p:spPr>
        <p:style>
          <a:lnRef idx="1">
            <a:schemeClr val="accent6"/>
          </a:lnRef>
          <a:fillRef idx="0">
            <a:schemeClr val="accent6"/>
          </a:fillRef>
          <a:effectRef idx="0">
            <a:schemeClr val="accent6"/>
          </a:effectRef>
          <a:fontRef idx="minor">
            <a:schemeClr val="tx1"/>
          </a:fontRef>
        </p:style>
      </p:cxnSp>
      <p:cxnSp>
        <p:nvCxnSpPr>
          <p:cNvPr id="10" name="Spojnice: pravoúhlá 9">
            <a:extLst>
              <a:ext uri="{FF2B5EF4-FFF2-40B4-BE49-F238E27FC236}">
                <a16:creationId xmlns:a16="http://schemas.microsoft.com/office/drawing/2014/main" id="{ACBDC5C6-7435-EB9E-7607-1D94AB6D910F}"/>
              </a:ext>
            </a:extLst>
          </p:cNvPr>
          <p:cNvCxnSpPr>
            <a:cxnSpLocks/>
            <a:endCxn id="7" idx="1"/>
          </p:cNvCxnSpPr>
          <p:nvPr/>
        </p:nvCxnSpPr>
        <p:spPr>
          <a:xfrm flipV="1">
            <a:off x="9067570" y="5084225"/>
            <a:ext cx="409004" cy="325394"/>
          </a:xfrm>
          <a:prstGeom prst="bentConnector2">
            <a:avLst/>
          </a:prstGeom>
          <a:ln w="25400">
            <a:solidFill>
              <a:schemeClr val="bg1">
                <a:lumMod val="95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0464924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386EE-1FB2-FAE5-EB4D-930754FD5169}"/>
            </a:ext>
          </a:extLst>
        </p:cNvPr>
        <p:cNvGrpSpPr/>
        <p:nvPr/>
      </p:nvGrpSpPr>
      <p:grpSpPr>
        <a:xfrm>
          <a:off x="0" y="0"/>
          <a:ext cx="0" cy="0"/>
          <a:chOff x="0" y="0"/>
          <a:chExt cx="0" cy="0"/>
        </a:xfrm>
      </p:grpSpPr>
      <p:sp>
        <p:nvSpPr>
          <p:cNvPr id="3" name="Zástupný obsah 2">
            <a:extLst>
              <a:ext uri="{FF2B5EF4-FFF2-40B4-BE49-F238E27FC236}">
                <a16:creationId xmlns:a16="http://schemas.microsoft.com/office/drawing/2014/main" id="{5679F7A0-D648-11AF-3FE5-BB5F001C8706}"/>
              </a:ext>
            </a:extLst>
          </p:cNvPr>
          <p:cNvSpPr>
            <a:spLocks noGrp="1"/>
          </p:cNvSpPr>
          <p:nvPr>
            <p:ph idx="1"/>
          </p:nvPr>
        </p:nvSpPr>
        <p:spPr>
          <a:xfrm>
            <a:off x="212272" y="1907697"/>
            <a:ext cx="9351455" cy="3542564"/>
          </a:xfrm>
        </p:spPr>
        <p:txBody>
          <a:bodyPr lIns="72565" tIns="36282" rIns="72565" bIns="36282" anchor="t"/>
          <a:lstStyle/>
          <a:p>
            <a:pPr marL="942876" indent="-942876">
              <a:spcBef>
                <a:spcPts val="0"/>
              </a:spcBef>
              <a:buNone/>
            </a:pPr>
            <a:r>
              <a:rPr lang="cs-CZ" sz="2381">
                <a:latin typeface="Avenir Next LT Pro"/>
                <a:ea typeface="Calibri"/>
                <a:cs typeface="Calibri"/>
              </a:rPr>
              <a:t>	</a:t>
            </a:r>
            <a:r>
              <a:rPr lang="cs-CZ" sz="2400" b="1">
                <a:ea typeface="Calibri"/>
                <a:cs typeface="Calibri" panose="020F0502020204030204" pitchFamily="34" charset="0"/>
              </a:rPr>
              <a:t>N</a:t>
            </a:r>
            <a:r>
              <a:rPr lang="cs-CZ" sz="2400" b="1">
                <a:cs typeface="Calibri" panose="020F0502020204030204" pitchFamily="34" charset="0"/>
              </a:rPr>
              <a:t>ařízení o Evropském fondu a Národním a regionálním   partnerském plánu</a:t>
            </a:r>
          </a:p>
          <a:p>
            <a:pPr marL="714049" indent="0">
              <a:lnSpc>
                <a:spcPct val="110000"/>
              </a:lnSpc>
              <a:spcBef>
                <a:spcPts val="0"/>
              </a:spcBef>
              <a:buNone/>
            </a:pPr>
            <a:r>
              <a:rPr lang="cs-CZ" sz="2400">
                <a:ea typeface="Calibri"/>
                <a:cs typeface="Calibri" panose="020F0502020204030204" pitchFamily="34" charset="0"/>
              </a:rPr>
              <a:t>    (vyjednávání na nové podskupině k NRPP pod ad hoc WP k VFR)</a:t>
            </a:r>
          </a:p>
          <a:p>
            <a:pPr marL="0" indent="0">
              <a:lnSpc>
                <a:spcPct val="110000"/>
              </a:lnSpc>
              <a:spcBef>
                <a:spcPts val="0"/>
              </a:spcBef>
              <a:buNone/>
            </a:pPr>
            <a:r>
              <a:rPr lang="cs-CZ" sz="2000">
                <a:ea typeface="Calibri"/>
                <a:cs typeface="Calibri" panose="020F0502020204030204" pitchFamily="34" charset="0"/>
              </a:rPr>
              <a:t>	</a:t>
            </a:r>
          </a:p>
          <a:p>
            <a:pPr marL="984250" indent="-271463">
              <a:lnSpc>
                <a:spcPct val="110000"/>
              </a:lnSpc>
              <a:spcBef>
                <a:spcPts val="0"/>
              </a:spcBef>
              <a:buNone/>
            </a:pPr>
            <a:r>
              <a:rPr lang="cs-CZ" sz="2000">
                <a:ea typeface="Calibri"/>
                <a:cs typeface="Calibri" panose="020F0502020204030204" pitchFamily="34" charset="0"/>
              </a:rPr>
              <a:t>	</a:t>
            </a:r>
            <a:r>
              <a:rPr lang="cs-CZ" sz="2400" b="1">
                <a:ea typeface="Calibri"/>
                <a:cs typeface="Calibri" panose="020F0502020204030204" pitchFamily="34" charset="0"/>
              </a:rPr>
              <a:t>Nařízení ke sledování rozpočtových výdajů a výkonnostnímu  rámci </a:t>
            </a:r>
            <a:r>
              <a:rPr lang="cs-CZ" sz="2400">
                <a:cs typeface="Calibri" panose="020F0502020204030204" pitchFamily="34" charset="0"/>
              </a:rPr>
              <a:t>(vyjednávání na Rozpočtovém výboru)</a:t>
            </a:r>
          </a:p>
          <a:p>
            <a:pPr marL="714049" indent="0">
              <a:lnSpc>
                <a:spcPct val="110000"/>
              </a:lnSpc>
              <a:spcBef>
                <a:spcPts val="0"/>
              </a:spcBef>
              <a:buNone/>
            </a:pPr>
            <a:r>
              <a:rPr lang="cs-CZ" sz="2000" b="1">
                <a:ea typeface="Calibri"/>
                <a:cs typeface="Calibri" panose="020F0502020204030204" pitchFamily="34" charset="0"/>
              </a:rPr>
              <a:t> </a:t>
            </a:r>
          </a:p>
          <a:p>
            <a:pPr marL="714049" indent="0">
              <a:lnSpc>
                <a:spcPct val="110000"/>
              </a:lnSpc>
              <a:spcBef>
                <a:spcPts val="0"/>
              </a:spcBef>
              <a:buNone/>
            </a:pPr>
            <a:r>
              <a:rPr lang="cs-CZ" sz="2000" b="1">
                <a:ea typeface="Calibri"/>
                <a:cs typeface="Calibri" panose="020F0502020204030204" pitchFamily="34" charset="0"/>
              </a:rPr>
              <a:t>     </a:t>
            </a:r>
            <a:r>
              <a:rPr lang="cs-CZ" sz="2400" b="1">
                <a:ea typeface="Calibri"/>
                <a:cs typeface="Calibri" panose="020F0502020204030204" pitchFamily="34" charset="0"/>
              </a:rPr>
              <a:t>Na</a:t>
            </a:r>
            <a:r>
              <a:rPr lang="cs-CZ" sz="2400" b="1">
                <a:cs typeface="Calibri" panose="020F0502020204030204" pitchFamily="34" charset="0"/>
              </a:rPr>
              <a:t>řízení o EFRR / FS / </a:t>
            </a:r>
            <a:r>
              <a:rPr lang="cs-CZ" sz="2400" b="1" err="1">
                <a:cs typeface="Calibri" panose="020F0502020204030204" pitchFamily="34" charset="0"/>
              </a:rPr>
              <a:t>Interreg</a:t>
            </a:r>
            <a:endParaRPr lang="cs-CZ" sz="2400" b="1">
              <a:cs typeface="Calibri" panose="020F0502020204030204" pitchFamily="34" charset="0"/>
            </a:endParaRPr>
          </a:p>
          <a:p>
            <a:pPr marL="714049" indent="0">
              <a:lnSpc>
                <a:spcPct val="110000"/>
              </a:lnSpc>
              <a:spcBef>
                <a:spcPts val="0"/>
              </a:spcBef>
              <a:buNone/>
            </a:pPr>
            <a:r>
              <a:rPr lang="cs-CZ" sz="2400">
                <a:cs typeface="Calibri" panose="020F0502020204030204" pitchFamily="34" charset="0"/>
              </a:rPr>
              <a:t>	(vyjednávání na SMOR)</a:t>
            </a:r>
          </a:p>
          <a:p>
            <a:pPr marL="714049" indent="1008">
              <a:lnSpc>
                <a:spcPct val="110000"/>
              </a:lnSpc>
              <a:spcBef>
                <a:spcPts val="0"/>
              </a:spcBef>
              <a:buNone/>
            </a:pPr>
            <a:endParaRPr lang="cs-CZ" sz="2000">
              <a:cs typeface="Calibri"/>
            </a:endParaRPr>
          </a:p>
          <a:p>
            <a:pPr marL="0" indent="0">
              <a:buNone/>
            </a:pPr>
            <a:endParaRPr lang="cs-CZ" sz="2381">
              <a:latin typeface="Avenir Next LT Pro" panose="020B0504020202020204" pitchFamily="34" charset="-18"/>
              <a:ea typeface="Calibri"/>
              <a:cs typeface="Calibri"/>
            </a:endParaRPr>
          </a:p>
        </p:txBody>
      </p:sp>
      <p:sp>
        <p:nvSpPr>
          <p:cNvPr id="2" name="Nadpis 1">
            <a:extLst>
              <a:ext uri="{FF2B5EF4-FFF2-40B4-BE49-F238E27FC236}">
                <a16:creationId xmlns:a16="http://schemas.microsoft.com/office/drawing/2014/main" id="{A066C8FA-BA30-B845-9466-84BDD411DBF6}"/>
              </a:ext>
            </a:extLst>
          </p:cNvPr>
          <p:cNvSpPr>
            <a:spLocks noGrp="1"/>
          </p:cNvSpPr>
          <p:nvPr>
            <p:ph type="title"/>
          </p:nvPr>
        </p:nvSpPr>
        <p:spPr>
          <a:xfrm>
            <a:off x="115972" y="232870"/>
            <a:ext cx="9674056" cy="930109"/>
          </a:xfrm>
        </p:spPr>
        <p:txBody>
          <a:bodyPr anchor="ctr">
            <a:normAutofit/>
          </a:bodyPr>
          <a:lstStyle/>
          <a:p>
            <a:pPr marL="285685"/>
            <a:r>
              <a:rPr lang="cs-CZ" sz="3600">
                <a:solidFill>
                  <a:srgbClr val="0C4CA3"/>
                </a:solidFill>
                <a:cs typeface="Calibri"/>
              </a:rPr>
              <a:t>MMR ve vztahu k legislativě 2028+</a:t>
            </a:r>
          </a:p>
        </p:txBody>
      </p:sp>
      <p:pic>
        <p:nvPicPr>
          <p:cNvPr id="5" name="Grafický objekt 4" descr="Zaškrtnutí se souvislou výplní">
            <a:extLst>
              <a:ext uri="{FF2B5EF4-FFF2-40B4-BE49-F238E27FC236}">
                <a16:creationId xmlns:a16="http://schemas.microsoft.com/office/drawing/2014/main" id="{88A157B9-D693-8A2D-FD51-3FAE8D5887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3020" y="2141079"/>
            <a:ext cx="527270" cy="527270"/>
          </a:xfrm>
          <a:prstGeom prst="rect">
            <a:avLst/>
          </a:prstGeom>
        </p:spPr>
      </p:pic>
      <p:pic>
        <p:nvPicPr>
          <p:cNvPr id="6" name="Grafický objekt 5" descr="Zaškrtnutí se souvislou výplní">
            <a:extLst>
              <a:ext uri="{FF2B5EF4-FFF2-40B4-BE49-F238E27FC236}">
                <a16:creationId xmlns:a16="http://schemas.microsoft.com/office/drawing/2014/main" id="{3B17F3EF-D07C-79E6-78A1-2D8A8B16F6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3020" y="4531401"/>
            <a:ext cx="527270" cy="527270"/>
          </a:xfrm>
          <a:prstGeom prst="rect">
            <a:avLst/>
          </a:prstGeom>
        </p:spPr>
      </p:pic>
      <p:pic>
        <p:nvPicPr>
          <p:cNvPr id="4" name="Grafický objekt 3" descr="Zaškrtnutí se souvislou výplní">
            <a:extLst>
              <a:ext uri="{FF2B5EF4-FFF2-40B4-BE49-F238E27FC236}">
                <a16:creationId xmlns:a16="http://schemas.microsoft.com/office/drawing/2014/main" id="{49041EDC-A39E-7110-B0A5-B63F31FCB1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3020" y="3409949"/>
            <a:ext cx="527270" cy="527270"/>
          </a:xfrm>
          <a:prstGeom prst="rect">
            <a:avLst/>
          </a:prstGeom>
        </p:spPr>
      </p:pic>
    </p:spTree>
    <p:extLst>
      <p:ext uri="{BB962C8B-B14F-4D97-AF65-F5344CB8AC3E}">
        <p14:creationId xmlns:p14="http://schemas.microsoft.com/office/powerpoint/2010/main" val="29054738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CB3F985-B228-66A9-24CE-F538654120E5}"/>
              </a:ext>
            </a:extLst>
          </p:cNvPr>
          <p:cNvSpPr>
            <a:spLocks noGrp="1"/>
          </p:cNvSpPr>
          <p:nvPr>
            <p:ph type="title"/>
          </p:nvPr>
        </p:nvSpPr>
        <p:spPr/>
        <p:txBody>
          <a:bodyPr>
            <a:normAutofit/>
          </a:bodyPr>
          <a:lstStyle/>
          <a:p>
            <a:pPr marL="284163" indent="-284163"/>
            <a:r>
              <a:rPr lang="cs-CZ" sz="3600">
                <a:solidFill>
                  <a:srgbClr val="0C4CA3"/>
                </a:solidFill>
                <a:cs typeface="Calibri"/>
              </a:rPr>
              <a:t>Role MMR pro budoucí období 2028+</a:t>
            </a:r>
          </a:p>
        </p:txBody>
      </p:sp>
      <p:sp>
        <p:nvSpPr>
          <p:cNvPr id="3" name="Zástupný obsah 2">
            <a:extLst>
              <a:ext uri="{FF2B5EF4-FFF2-40B4-BE49-F238E27FC236}">
                <a16:creationId xmlns:a16="http://schemas.microsoft.com/office/drawing/2014/main" id="{04835AC2-CAB2-31C5-4803-3C183612AF55}"/>
              </a:ext>
            </a:extLst>
          </p:cNvPr>
          <p:cNvSpPr>
            <a:spLocks noGrp="1"/>
          </p:cNvSpPr>
          <p:nvPr>
            <p:ph idx="1"/>
          </p:nvPr>
        </p:nvSpPr>
        <p:spPr/>
        <p:txBody>
          <a:bodyPr lIns="74295" tIns="37148" rIns="74295" bIns="37148" anchor="t"/>
          <a:lstStyle/>
          <a:p>
            <a:pPr marL="0" indent="0">
              <a:buNone/>
            </a:pPr>
            <a:r>
              <a:rPr lang="cs-CZ" sz="2925" b="1"/>
              <a:t>Koordinační orgán</a:t>
            </a:r>
          </a:p>
          <a:p>
            <a:pPr marL="365800" indent="-365800"/>
            <a:r>
              <a:rPr lang="cs-CZ" sz="2400"/>
              <a:t>Navrhuje, koordinuje a řídí NRPP</a:t>
            </a:r>
          </a:p>
          <a:p>
            <a:pPr marL="0" indent="0">
              <a:buNone/>
            </a:pPr>
            <a:endParaRPr lang="cs-CZ" sz="2400">
              <a:ea typeface="Calibri"/>
              <a:cs typeface="Calibri"/>
            </a:endParaRPr>
          </a:p>
          <a:p>
            <a:pPr marL="0" indent="0">
              <a:buNone/>
            </a:pPr>
            <a:r>
              <a:rPr lang="cs-CZ" sz="2925" b="1"/>
              <a:t>Oficiální partner pro EK</a:t>
            </a:r>
          </a:p>
          <a:p>
            <a:pPr marL="365800" indent="-365800"/>
            <a:r>
              <a:rPr lang="cs-CZ" sz="2400"/>
              <a:t>Vyjednává legislativu EU</a:t>
            </a:r>
            <a:endParaRPr lang="cs-CZ" sz="2400">
              <a:ea typeface="Calibri"/>
              <a:cs typeface="Calibri"/>
            </a:endParaRPr>
          </a:p>
          <a:p>
            <a:pPr marL="365800" indent="-365800"/>
            <a:r>
              <a:rPr lang="cs-CZ" sz="2400"/>
              <a:t>Komunikuje s EK při vyjednávání NRPP</a:t>
            </a:r>
          </a:p>
          <a:p>
            <a:pPr marL="0" indent="0">
              <a:buNone/>
            </a:pPr>
            <a:endParaRPr lang="cs-CZ" sz="2400">
              <a:ea typeface="Calibri"/>
              <a:cs typeface="Calibri"/>
            </a:endParaRPr>
          </a:p>
          <a:p>
            <a:pPr marL="0" indent="0">
              <a:buNone/>
            </a:pPr>
            <a:r>
              <a:rPr lang="cs-CZ" sz="2925" b="1"/>
              <a:t>Centrální metodický orgán</a:t>
            </a:r>
          </a:p>
          <a:p>
            <a:pPr marL="365800" indent="-365800"/>
            <a:r>
              <a:rPr lang="cs-CZ" sz="2400"/>
              <a:t>Nastavuje jednotný rámec pro implementaci NRPP</a:t>
            </a:r>
            <a:endParaRPr lang="cs-CZ" sz="2400">
              <a:ea typeface="Calibri"/>
              <a:cs typeface="Calibri"/>
            </a:endParaRPr>
          </a:p>
        </p:txBody>
      </p:sp>
    </p:spTree>
    <p:extLst>
      <p:ext uri="{BB962C8B-B14F-4D97-AF65-F5344CB8AC3E}">
        <p14:creationId xmlns:p14="http://schemas.microsoft.com/office/powerpoint/2010/main" val="17735800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8ECC2-E878-C30F-1366-4D9884B0B6C1}"/>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A7CF0C14-51F0-EFC5-E74F-E382DFD86783}"/>
              </a:ext>
            </a:extLst>
          </p:cNvPr>
          <p:cNvSpPr>
            <a:spLocks noGrp="1"/>
          </p:cNvSpPr>
          <p:nvPr>
            <p:ph type="title"/>
          </p:nvPr>
        </p:nvSpPr>
        <p:spPr>
          <a:xfrm>
            <a:off x="127181" y="204592"/>
            <a:ext cx="9633000" cy="965250"/>
          </a:xfrm>
        </p:spPr>
        <p:txBody>
          <a:bodyPr anchor="ctr">
            <a:normAutofit/>
          </a:bodyPr>
          <a:lstStyle/>
          <a:p>
            <a:pPr marL="284163" indent="-101600">
              <a:lnSpc>
                <a:spcPct val="110000"/>
              </a:lnSpc>
            </a:pPr>
            <a:r>
              <a:rPr lang="cs-CZ" sz="3600">
                <a:solidFill>
                  <a:srgbClr val="0C4CA3"/>
                </a:solidFill>
                <a:cs typeface="Calibri"/>
              </a:rPr>
              <a:t>Alokace NRPP pro ČR</a:t>
            </a:r>
          </a:p>
        </p:txBody>
      </p:sp>
      <p:sp>
        <p:nvSpPr>
          <p:cNvPr id="8" name="Vývojový diagram: spojnice 7">
            <a:extLst>
              <a:ext uri="{FF2B5EF4-FFF2-40B4-BE49-F238E27FC236}">
                <a16:creationId xmlns:a16="http://schemas.microsoft.com/office/drawing/2014/main" id="{AFAF55A2-5117-2334-D440-C12AF4572472}"/>
              </a:ext>
            </a:extLst>
          </p:cNvPr>
          <p:cNvSpPr/>
          <p:nvPr/>
        </p:nvSpPr>
        <p:spPr>
          <a:xfrm>
            <a:off x="411756" y="2016027"/>
            <a:ext cx="3152976" cy="3084611"/>
          </a:xfrm>
          <a:prstGeom prst="flowChartConnector">
            <a:avLst/>
          </a:prstGeom>
          <a:solidFill>
            <a:srgbClr val="69A8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38">
                <a:latin typeface="Avenir Next LT Pro" panose="020B0504020202020204" pitchFamily="34" charset="-18"/>
              </a:rPr>
              <a:t>CELKOVÁ ALOKACE PRO ČR</a:t>
            </a:r>
          </a:p>
          <a:p>
            <a:pPr algn="ctr"/>
            <a:r>
              <a:rPr lang="en-US" sz="2275" b="1">
                <a:latin typeface="Avenir Next LT Pro" panose="020B0504020202020204" pitchFamily="34" charset="-18"/>
              </a:rPr>
              <a:t>29,4 </a:t>
            </a:r>
            <a:r>
              <a:rPr lang="en-US" sz="1950" b="1" err="1">
                <a:latin typeface="Avenir Next LT Pro" panose="020B0504020202020204" pitchFamily="34" charset="-18"/>
              </a:rPr>
              <a:t>mld</a:t>
            </a:r>
            <a:r>
              <a:rPr lang="en-US" sz="1950" b="1">
                <a:latin typeface="Avenir Next LT Pro" panose="020B0504020202020204" pitchFamily="34" charset="-18"/>
              </a:rPr>
              <a:t>.</a:t>
            </a:r>
            <a:r>
              <a:rPr lang="cs-CZ" sz="1950" b="1">
                <a:latin typeface="Avenir Next LT Pro" panose="020B0504020202020204" pitchFamily="34" charset="-18"/>
              </a:rPr>
              <a:t> </a:t>
            </a:r>
            <a:r>
              <a:rPr lang="en-US" sz="1950" b="1">
                <a:latin typeface="Avenir Next LT Pro" panose="020B0504020202020204" pitchFamily="34" charset="-18"/>
              </a:rPr>
              <a:t>EUR</a:t>
            </a:r>
            <a:endParaRPr lang="cs-CZ" sz="1950" b="1">
              <a:latin typeface="Avenir Next LT Pro" panose="020B0504020202020204" pitchFamily="34" charset="-18"/>
            </a:endParaRPr>
          </a:p>
          <a:p>
            <a:pPr algn="ctr"/>
            <a:endParaRPr lang="en-US" sz="1463" b="1">
              <a:latin typeface="Avenir Next LT Pro" panose="020B0504020202020204" pitchFamily="34" charset="-18"/>
            </a:endParaRPr>
          </a:p>
        </p:txBody>
      </p:sp>
      <p:sp>
        <p:nvSpPr>
          <p:cNvPr id="9" name="Obdélník: se zakulacenými rohy 8">
            <a:extLst>
              <a:ext uri="{FF2B5EF4-FFF2-40B4-BE49-F238E27FC236}">
                <a16:creationId xmlns:a16="http://schemas.microsoft.com/office/drawing/2014/main" id="{A60E703C-563D-88BC-8AC0-419B02FCBC4C}"/>
              </a:ext>
            </a:extLst>
          </p:cNvPr>
          <p:cNvSpPr/>
          <p:nvPr/>
        </p:nvSpPr>
        <p:spPr>
          <a:xfrm>
            <a:off x="4183856" y="4169192"/>
            <a:ext cx="1860300" cy="1065527"/>
          </a:xfrm>
          <a:prstGeom prst="round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cs-CZ" sz="1625">
                <a:solidFill>
                  <a:schemeClr val="accent1"/>
                </a:solidFill>
                <a:latin typeface="Avenir Next LT Pro" panose="020B0504020202020204" pitchFamily="34" charset="-18"/>
              </a:rPr>
              <a:t>Sociálně klimatický fond</a:t>
            </a:r>
          </a:p>
          <a:p>
            <a:pPr algn="ctr"/>
            <a:r>
              <a:rPr lang="cs-CZ" sz="1625" b="1">
                <a:solidFill>
                  <a:schemeClr val="accent1"/>
                </a:solidFill>
                <a:latin typeface="Avenir Next LT Pro" panose="020B0504020202020204" pitchFamily="34" charset="-18"/>
              </a:rPr>
              <a:t>1,2 mld. EUR</a:t>
            </a:r>
          </a:p>
        </p:txBody>
      </p:sp>
      <p:sp>
        <p:nvSpPr>
          <p:cNvPr id="15" name="Obdélník: se zakulacenými rohy 14">
            <a:extLst>
              <a:ext uri="{FF2B5EF4-FFF2-40B4-BE49-F238E27FC236}">
                <a16:creationId xmlns:a16="http://schemas.microsoft.com/office/drawing/2014/main" id="{E1C13D28-D545-41BD-8982-118629B0A79C}"/>
              </a:ext>
            </a:extLst>
          </p:cNvPr>
          <p:cNvSpPr/>
          <p:nvPr/>
        </p:nvSpPr>
        <p:spPr>
          <a:xfrm>
            <a:off x="7964846" y="2971378"/>
            <a:ext cx="1860300" cy="1065527"/>
          </a:xfrm>
          <a:prstGeom prst="round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cs-CZ" sz="1625">
                <a:solidFill>
                  <a:schemeClr val="accent1"/>
                </a:solidFill>
                <a:latin typeface="Avenir Next LT Pro" panose="020B0504020202020204" pitchFamily="34" charset="-18"/>
              </a:rPr>
              <a:t>Vnitřní záležitosti</a:t>
            </a:r>
          </a:p>
          <a:p>
            <a:pPr algn="ctr"/>
            <a:r>
              <a:rPr lang="cs-CZ" sz="1625" b="1">
                <a:solidFill>
                  <a:schemeClr val="accent1"/>
                </a:solidFill>
                <a:latin typeface="Avenir Next LT Pro" panose="020B0504020202020204" pitchFamily="34" charset="-18"/>
              </a:rPr>
              <a:t>0,6 mld. EUR</a:t>
            </a:r>
          </a:p>
        </p:txBody>
      </p:sp>
      <p:sp>
        <p:nvSpPr>
          <p:cNvPr id="20" name="Obdélník: se zakulacenými rohy 19">
            <a:extLst>
              <a:ext uri="{FF2B5EF4-FFF2-40B4-BE49-F238E27FC236}">
                <a16:creationId xmlns:a16="http://schemas.microsoft.com/office/drawing/2014/main" id="{71BA8065-DC8F-02B2-AC71-FCEA28EADCA8}"/>
              </a:ext>
            </a:extLst>
          </p:cNvPr>
          <p:cNvSpPr/>
          <p:nvPr/>
        </p:nvSpPr>
        <p:spPr>
          <a:xfrm>
            <a:off x="6074351" y="1851661"/>
            <a:ext cx="2162673" cy="1065527"/>
          </a:xfrm>
          <a:prstGeom prst="round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cs-CZ" sz="1625">
                <a:solidFill>
                  <a:schemeClr val="accent1"/>
                </a:solidFill>
                <a:latin typeface="Avenir Next LT Pro" panose="020B0504020202020204" pitchFamily="34" charset="-18"/>
              </a:rPr>
              <a:t>Klimatické a environmentální cíle</a:t>
            </a:r>
          </a:p>
          <a:p>
            <a:pPr algn="ctr"/>
            <a:r>
              <a:rPr lang="cs-CZ" sz="1625" b="1">
                <a:solidFill>
                  <a:schemeClr val="accent1"/>
                </a:solidFill>
                <a:latin typeface="Avenir Next LT Pro" panose="020B0504020202020204" pitchFamily="34" charset="-18"/>
              </a:rPr>
              <a:t>43 %</a:t>
            </a:r>
          </a:p>
        </p:txBody>
      </p:sp>
      <p:sp>
        <p:nvSpPr>
          <p:cNvPr id="23" name="Obdélník: se zakulacenými rohy 22">
            <a:extLst>
              <a:ext uri="{FF2B5EF4-FFF2-40B4-BE49-F238E27FC236}">
                <a16:creationId xmlns:a16="http://schemas.microsoft.com/office/drawing/2014/main" id="{0E94358A-5809-C07B-7058-9FE880E86F76}"/>
              </a:ext>
            </a:extLst>
          </p:cNvPr>
          <p:cNvSpPr/>
          <p:nvPr/>
        </p:nvSpPr>
        <p:spPr>
          <a:xfrm>
            <a:off x="4183856" y="1851661"/>
            <a:ext cx="1860300" cy="1065527"/>
          </a:xfrm>
          <a:prstGeom prst="round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cs-CZ" sz="1625">
                <a:solidFill>
                  <a:schemeClr val="accent1"/>
                </a:solidFill>
                <a:latin typeface="Avenir Next LT Pro" panose="020B0504020202020204" pitchFamily="34" charset="-18"/>
              </a:rPr>
              <a:t>Sociální cíle</a:t>
            </a:r>
          </a:p>
          <a:p>
            <a:pPr algn="ctr"/>
            <a:r>
              <a:rPr lang="cs-CZ" sz="1625" b="1">
                <a:solidFill>
                  <a:schemeClr val="accent1"/>
                </a:solidFill>
                <a:latin typeface="Avenir Next LT Pro" panose="020B0504020202020204" pitchFamily="34" charset="-18"/>
              </a:rPr>
              <a:t>14 %</a:t>
            </a:r>
          </a:p>
        </p:txBody>
      </p:sp>
      <p:sp>
        <p:nvSpPr>
          <p:cNvPr id="25" name="Obdélník: se zakulacenými rohy 24">
            <a:extLst>
              <a:ext uri="{FF2B5EF4-FFF2-40B4-BE49-F238E27FC236}">
                <a16:creationId xmlns:a16="http://schemas.microsoft.com/office/drawing/2014/main" id="{BEEC131D-56CA-302B-FD05-6C87D3BB724A}"/>
              </a:ext>
            </a:extLst>
          </p:cNvPr>
          <p:cNvSpPr/>
          <p:nvPr/>
        </p:nvSpPr>
        <p:spPr>
          <a:xfrm>
            <a:off x="4183856" y="3015050"/>
            <a:ext cx="1860300" cy="1065527"/>
          </a:xfrm>
          <a:prstGeom prst="round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cs-CZ" sz="1625">
                <a:solidFill>
                  <a:schemeClr val="accent1"/>
                </a:solidFill>
                <a:latin typeface="Avenir Next LT Pro" panose="020B0504020202020204" pitchFamily="34" charset="-18"/>
              </a:rPr>
              <a:t>Interreg</a:t>
            </a:r>
          </a:p>
          <a:p>
            <a:pPr algn="ctr"/>
            <a:r>
              <a:rPr lang="cs-CZ" sz="1625" b="1">
                <a:solidFill>
                  <a:schemeClr val="accent1"/>
                </a:solidFill>
                <a:latin typeface="Avenir Next LT Pro" panose="020B0504020202020204" pitchFamily="34" charset="-18"/>
              </a:rPr>
              <a:t>0,37 mld. EUR	</a:t>
            </a:r>
          </a:p>
        </p:txBody>
      </p:sp>
      <p:sp>
        <p:nvSpPr>
          <p:cNvPr id="28" name="Levá složená závorka 27">
            <a:extLst>
              <a:ext uri="{FF2B5EF4-FFF2-40B4-BE49-F238E27FC236}">
                <a16:creationId xmlns:a16="http://schemas.microsoft.com/office/drawing/2014/main" id="{0A8220C4-B2BF-B316-D3FD-BD616E00757A}"/>
              </a:ext>
            </a:extLst>
          </p:cNvPr>
          <p:cNvSpPr/>
          <p:nvPr/>
        </p:nvSpPr>
        <p:spPr>
          <a:xfrm>
            <a:off x="3809113" y="2128838"/>
            <a:ext cx="284256" cy="285035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sz="1463"/>
          </a:p>
        </p:txBody>
      </p:sp>
      <p:sp>
        <p:nvSpPr>
          <p:cNvPr id="29" name="Rovnoramenný trojúhelník 28">
            <a:extLst>
              <a:ext uri="{FF2B5EF4-FFF2-40B4-BE49-F238E27FC236}">
                <a16:creationId xmlns:a16="http://schemas.microsoft.com/office/drawing/2014/main" id="{3101218E-9544-B7F5-C6BF-822D995E1963}"/>
              </a:ext>
            </a:extLst>
          </p:cNvPr>
          <p:cNvSpPr/>
          <p:nvPr/>
        </p:nvSpPr>
        <p:spPr>
          <a:xfrm>
            <a:off x="5965880" y="4091096"/>
            <a:ext cx="3940120" cy="1566754"/>
          </a:xfrm>
          <a:prstGeom prst="triangle">
            <a:avLst>
              <a:gd name="adj" fmla="val 100000"/>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sz="1463"/>
          </a:p>
        </p:txBody>
      </p:sp>
      <p:sp>
        <p:nvSpPr>
          <p:cNvPr id="5" name="TextovéPole 4">
            <a:extLst>
              <a:ext uri="{FF2B5EF4-FFF2-40B4-BE49-F238E27FC236}">
                <a16:creationId xmlns:a16="http://schemas.microsoft.com/office/drawing/2014/main" id="{20998347-6856-00A9-4157-524B79C381E9}"/>
              </a:ext>
            </a:extLst>
          </p:cNvPr>
          <p:cNvSpPr txBox="1"/>
          <p:nvPr/>
        </p:nvSpPr>
        <p:spPr>
          <a:xfrm>
            <a:off x="8167532" y="4744010"/>
            <a:ext cx="1738468" cy="1092607"/>
          </a:xfrm>
          <a:prstGeom prst="rect">
            <a:avLst/>
          </a:prstGeom>
          <a:noFill/>
        </p:spPr>
        <p:txBody>
          <a:bodyPr wrap="square" rtlCol="0">
            <a:spAutoFit/>
          </a:bodyPr>
          <a:lstStyle/>
          <a:p>
            <a:r>
              <a:rPr lang="cs-CZ" sz="1625">
                <a:solidFill>
                  <a:schemeClr val="tx1">
                    <a:lumMod val="75000"/>
                    <a:lumOff val="25000"/>
                  </a:schemeClr>
                </a:solidFill>
              </a:rPr>
              <a:t>Částky v EUR platí v případě objemu </a:t>
            </a:r>
            <a:r>
              <a:rPr lang="cs-CZ" sz="1625" b="1">
                <a:solidFill>
                  <a:schemeClr val="tx1">
                    <a:lumMod val="75000"/>
                    <a:lumOff val="25000"/>
                  </a:schemeClr>
                </a:solidFill>
              </a:rPr>
              <a:t>VFR = 1,26 % </a:t>
            </a:r>
            <a:r>
              <a:rPr lang="cs-CZ" sz="1463" b="1">
                <a:solidFill>
                  <a:schemeClr val="tx1">
                    <a:lumMod val="75000"/>
                    <a:lumOff val="25000"/>
                  </a:schemeClr>
                </a:solidFill>
                <a:latin typeface="Avenir Next LT Pro" panose="020B0504020202020204" pitchFamily="34" charset="-18"/>
              </a:rPr>
              <a:t>HND</a:t>
            </a:r>
            <a:r>
              <a:rPr lang="cs-CZ" sz="1625" b="1">
                <a:solidFill>
                  <a:schemeClr val="tx1">
                    <a:lumMod val="75000"/>
                    <a:lumOff val="25000"/>
                  </a:schemeClr>
                </a:solidFill>
              </a:rPr>
              <a:t> </a:t>
            </a:r>
          </a:p>
        </p:txBody>
      </p:sp>
      <p:sp>
        <p:nvSpPr>
          <p:cNvPr id="30" name="Obdélník: se zakulacenými rohy 29">
            <a:extLst>
              <a:ext uri="{FF2B5EF4-FFF2-40B4-BE49-F238E27FC236}">
                <a16:creationId xmlns:a16="http://schemas.microsoft.com/office/drawing/2014/main" id="{4714FF44-77D1-574D-53F6-94C687DD8FE3}"/>
              </a:ext>
            </a:extLst>
          </p:cNvPr>
          <p:cNvSpPr/>
          <p:nvPr/>
        </p:nvSpPr>
        <p:spPr>
          <a:xfrm>
            <a:off x="6074351" y="2995284"/>
            <a:ext cx="1860300" cy="1065527"/>
          </a:xfrm>
          <a:prstGeom prst="round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cs-CZ" sz="1625">
                <a:solidFill>
                  <a:schemeClr val="accent1"/>
                </a:solidFill>
                <a:latin typeface="Avenir Next LT Pro" panose="020B0504020202020204" pitchFamily="34" charset="-18"/>
              </a:rPr>
              <a:t>Méně rozvinuté regiony</a:t>
            </a:r>
          </a:p>
          <a:p>
            <a:pPr algn="ctr"/>
            <a:r>
              <a:rPr lang="cs-CZ" sz="1625" b="1">
                <a:solidFill>
                  <a:schemeClr val="accent1"/>
                </a:solidFill>
                <a:latin typeface="Avenir Next LT Pro" panose="020B0504020202020204" pitchFamily="34" charset="-18"/>
              </a:rPr>
              <a:t>7,3 mld. EUR 	</a:t>
            </a:r>
          </a:p>
        </p:txBody>
      </p:sp>
      <p:sp>
        <p:nvSpPr>
          <p:cNvPr id="3" name="Obdélník: se zakulacenými rohy 2">
            <a:extLst>
              <a:ext uri="{FF2B5EF4-FFF2-40B4-BE49-F238E27FC236}">
                <a16:creationId xmlns:a16="http://schemas.microsoft.com/office/drawing/2014/main" id="{24E8E8AD-B955-C51C-075D-925D26A7AC77}"/>
              </a:ext>
            </a:extLst>
          </p:cNvPr>
          <p:cNvSpPr/>
          <p:nvPr/>
        </p:nvSpPr>
        <p:spPr>
          <a:xfrm>
            <a:off x="6074351" y="4169192"/>
            <a:ext cx="1861589" cy="1065527"/>
          </a:xfrm>
          <a:prstGeom prst="round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cs-CZ" sz="1463">
                <a:solidFill>
                  <a:schemeClr val="accent1"/>
                </a:solidFill>
                <a:latin typeface="Avenir Next LT Pro" panose="020B0504020202020204" pitchFamily="34" charset="-18"/>
              </a:rPr>
              <a:t>Opatření na podporu příjmu zemědělců/ rybářů</a:t>
            </a:r>
          </a:p>
          <a:p>
            <a:pPr algn="ctr"/>
            <a:r>
              <a:rPr lang="cs-CZ" sz="1625" b="1" i="1">
                <a:solidFill>
                  <a:schemeClr val="accent1"/>
                </a:solidFill>
                <a:latin typeface="Avenir Next LT Pro" panose="020B0504020202020204" pitchFamily="34" charset="-18"/>
              </a:rPr>
              <a:t>cca 7 mld. EUR</a:t>
            </a:r>
          </a:p>
        </p:txBody>
      </p:sp>
    </p:spTree>
    <p:extLst>
      <p:ext uri="{BB962C8B-B14F-4D97-AF65-F5344CB8AC3E}">
        <p14:creationId xmlns:p14="http://schemas.microsoft.com/office/powerpoint/2010/main" val="38422751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49E35-E656-7787-3E84-75B5FF690B94}"/>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B2A04DC3-272F-71F4-6A27-E9DCA2565F11}"/>
              </a:ext>
            </a:extLst>
          </p:cNvPr>
          <p:cNvSpPr>
            <a:spLocks noGrp="1"/>
          </p:cNvSpPr>
          <p:nvPr>
            <p:ph type="title"/>
          </p:nvPr>
        </p:nvSpPr>
        <p:spPr>
          <a:xfrm>
            <a:off x="0" y="150021"/>
            <a:ext cx="9906000" cy="999139"/>
          </a:xfrm>
        </p:spPr>
        <p:txBody>
          <a:bodyPr lIns="74295" tIns="37148" rIns="74295" bIns="37148" anchor="ctr">
            <a:normAutofit/>
          </a:bodyPr>
          <a:lstStyle/>
          <a:p>
            <a:pPr marL="284163" indent="160338">
              <a:lnSpc>
                <a:spcPct val="110000"/>
              </a:lnSpc>
            </a:pPr>
            <a:r>
              <a:rPr lang="cs-CZ" sz="3600">
                <a:solidFill>
                  <a:srgbClr val="0C4CA3"/>
                </a:solidFill>
                <a:cs typeface="Calibri"/>
              </a:rPr>
              <a:t>Základní principy NRPP (čl. 21 – 25)</a:t>
            </a:r>
            <a:endParaRPr lang="en-US" sz="3600">
              <a:solidFill>
                <a:srgbClr val="0C4CA3"/>
              </a:solidFill>
              <a:cs typeface="Calibri"/>
            </a:endParaRPr>
          </a:p>
        </p:txBody>
      </p:sp>
      <p:sp>
        <p:nvSpPr>
          <p:cNvPr id="4" name="TextovéPole 3">
            <a:extLst>
              <a:ext uri="{FF2B5EF4-FFF2-40B4-BE49-F238E27FC236}">
                <a16:creationId xmlns:a16="http://schemas.microsoft.com/office/drawing/2014/main" id="{28BFA9F4-E4CF-62B0-F883-8AC8A2C52C34}"/>
              </a:ext>
            </a:extLst>
          </p:cNvPr>
          <p:cNvSpPr txBox="1"/>
          <p:nvPr/>
        </p:nvSpPr>
        <p:spPr>
          <a:xfrm>
            <a:off x="2729362" y="1948186"/>
            <a:ext cx="6733473" cy="842538"/>
          </a:xfrm>
          <a:prstGeom prst="rect">
            <a:avLst/>
          </a:prstGeom>
          <a:noFill/>
        </p:spPr>
        <p:txBody>
          <a:bodyPr wrap="square" rtlCol="0">
            <a:spAutoFit/>
          </a:bodyPr>
          <a:lstStyle/>
          <a:p>
            <a:r>
              <a:rPr lang="cs-CZ" sz="1625">
                <a:cs typeface="Arial" panose="020B0604020202020204" pitchFamily="34" charset="0"/>
              </a:rPr>
              <a:t>Jeden NRPP schvalovaný EK/CID (tj. prováděcí rozhodnutí Komise); kapitoly </a:t>
            </a:r>
            <a:br>
              <a:rPr lang="cs-CZ" sz="1625">
                <a:cs typeface="Arial" panose="020B0604020202020204" pitchFamily="34" charset="0"/>
              </a:rPr>
            </a:br>
            <a:r>
              <a:rPr lang="cs-CZ" sz="1625">
                <a:cs typeface="Arial" panose="020B0604020202020204" pitchFamily="34" charset="0"/>
              </a:rPr>
              <a:t>v plánu budou zaměřené na regionální rozvoj, vnitřní věci, sociální oblast, zemědělskou a rybářskou politiku. </a:t>
            </a:r>
          </a:p>
        </p:txBody>
      </p:sp>
      <p:sp>
        <p:nvSpPr>
          <p:cNvPr id="6" name="TextovéPole 5">
            <a:extLst>
              <a:ext uri="{FF2B5EF4-FFF2-40B4-BE49-F238E27FC236}">
                <a16:creationId xmlns:a16="http://schemas.microsoft.com/office/drawing/2014/main" id="{4968711D-7469-4FB9-01AA-C84B2A560054}"/>
              </a:ext>
            </a:extLst>
          </p:cNvPr>
          <p:cNvSpPr txBox="1"/>
          <p:nvPr/>
        </p:nvSpPr>
        <p:spPr>
          <a:xfrm>
            <a:off x="443164" y="2001887"/>
            <a:ext cx="1934277" cy="592470"/>
          </a:xfrm>
          <a:prstGeom prst="rect">
            <a:avLst/>
          </a:prstGeom>
          <a:noFill/>
        </p:spPr>
        <p:txBody>
          <a:bodyPr wrap="square" rtlCol="0">
            <a:spAutoFit/>
          </a:bodyPr>
          <a:lstStyle/>
          <a:p>
            <a:r>
              <a:rPr lang="cs-CZ" sz="1625">
                <a:solidFill>
                  <a:schemeClr val="tx2"/>
                </a:solidFill>
                <a:cs typeface="Arial" panose="020B0604020202020204" pitchFamily="34" charset="0"/>
              </a:rPr>
              <a:t>Národní regionální partnerský plán</a:t>
            </a:r>
          </a:p>
        </p:txBody>
      </p:sp>
      <p:sp>
        <p:nvSpPr>
          <p:cNvPr id="7" name="TextovéPole 6">
            <a:extLst>
              <a:ext uri="{FF2B5EF4-FFF2-40B4-BE49-F238E27FC236}">
                <a16:creationId xmlns:a16="http://schemas.microsoft.com/office/drawing/2014/main" id="{0E1613CA-33E2-CA6E-99AA-AA1C7560A17D}"/>
              </a:ext>
            </a:extLst>
          </p:cNvPr>
          <p:cNvSpPr txBox="1"/>
          <p:nvPr/>
        </p:nvSpPr>
        <p:spPr>
          <a:xfrm>
            <a:off x="2729360" y="3227663"/>
            <a:ext cx="6733474" cy="842538"/>
          </a:xfrm>
          <a:prstGeom prst="rect">
            <a:avLst/>
          </a:prstGeom>
          <a:noFill/>
        </p:spPr>
        <p:txBody>
          <a:bodyPr wrap="square" rtlCol="0">
            <a:spAutoFit/>
          </a:bodyPr>
          <a:lstStyle/>
          <a:p>
            <a:r>
              <a:rPr lang="cs-CZ" sz="1625">
                <a:cs typeface="Arial" panose="020B0604020202020204" pitchFamily="34" charset="0"/>
              </a:rPr>
              <a:t>Již nejsou alokace pro jednotlivé fondy, rozdělení na národní úrovni dle kapitol v plánu, nařízení konkretizuje jen částky pro vnitřní věci, SKF, MRR, sociální cíle a cíle na klima, podpora příjmů pro zemědělce.</a:t>
            </a:r>
          </a:p>
        </p:txBody>
      </p:sp>
      <p:sp>
        <p:nvSpPr>
          <p:cNvPr id="9" name="TextovéPole 8">
            <a:extLst>
              <a:ext uri="{FF2B5EF4-FFF2-40B4-BE49-F238E27FC236}">
                <a16:creationId xmlns:a16="http://schemas.microsoft.com/office/drawing/2014/main" id="{745071E9-DF3C-BBC3-643C-4814E724AC60}"/>
              </a:ext>
            </a:extLst>
          </p:cNvPr>
          <p:cNvSpPr txBox="1"/>
          <p:nvPr/>
        </p:nvSpPr>
        <p:spPr>
          <a:xfrm>
            <a:off x="2729360" y="4107043"/>
            <a:ext cx="5388346" cy="342401"/>
          </a:xfrm>
          <a:prstGeom prst="rect">
            <a:avLst/>
          </a:prstGeom>
          <a:noFill/>
        </p:spPr>
        <p:txBody>
          <a:bodyPr wrap="square" rtlCol="0">
            <a:spAutoFit/>
          </a:bodyPr>
          <a:lstStyle/>
          <a:p>
            <a:r>
              <a:rPr lang="cs-CZ" sz="1625">
                <a:cs typeface="Arial" panose="020B0604020202020204" pitchFamily="34" charset="0"/>
              </a:rPr>
              <a:t>Větší volnost pro ČS při nastavení struktury, pravidel v NRPP.</a:t>
            </a:r>
          </a:p>
        </p:txBody>
      </p:sp>
      <p:sp>
        <p:nvSpPr>
          <p:cNvPr id="19" name="TextovéPole 18">
            <a:extLst>
              <a:ext uri="{FF2B5EF4-FFF2-40B4-BE49-F238E27FC236}">
                <a16:creationId xmlns:a16="http://schemas.microsoft.com/office/drawing/2014/main" id="{BB7EAF69-0AE9-9EE7-4210-935B730E0552}"/>
              </a:ext>
            </a:extLst>
          </p:cNvPr>
          <p:cNvSpPr txBox="1"/>
          <p:nvPr/>
        </p:nvSpPr>
        <p:spPr>
          <a:xfrm>
            <a:off x="443164" y="3268293"/>
            <a:ext cx="1934276" cy="592470"/>
          </a:xfrm>
          <a:prstGeom prst="rect">
            <a:avLst/>
          </a:prstGeom>
          <a:noFill/>
        </p:spPr>
        <p:txBody>
          <a:bodyPr wrap="square" rtlCol="0">
            <a:spAutoFit/>
          </a:bodyPr>
          <a:lstStyle/>
          <a:p>
            <a:r>
              <a:rPr lang="cs-CZ" sz="1625">
                <a:solidFill>
                  <a:schemeClr val="tx2"/>
                </a:solidFill>
                <a:cs typeface="Arial" panose="020B0604020202020204" pitchFamily="34" charset="0"/>
              </a:rPr>
              <a:t>Jedna obálka pro celý NRPP</a:t>
            </a:r>
          </a:p>
        </p:txBody>
      </p:sp>
      <p:sp>
        <p:nvSpPr>
          <p:cNvPr id="22" name="TextovéPole 21">
            <a:extLst>
              <a:ext uri="{FF2B5EF4-FFF2-40B4-BE49-F238E27FC236}">
                <a16:creationId xmlns:a16="http://schemas.microsoft.com/office/drawing/2014/main" id="{2DFA9B53-753D-6398-397D-595D49DE5C30}"/>
              </a:ext>
            </a:extLst>
          </p:cNvPr>
          <p:cNvSpPr txBox="1"/>
          <p:nvPr/>
        </p:nvSpPr>
        <p:spPr>
          <a:xfrm>
            <a:off x="443164" y="3946653"/>
            <a:ext cx="1934276" cy="592470"/>
          </a:xfrm>
          <a:prstGeom prst="rect">
            <a:avLst/>
          </a:prstGeom>
          <a:noFill/>
        </p:spPr>
        <p:txBody>
          <a:bodyPr wrap="square" rtlCol="0">
            <a:spAutoFit/>
          </a:bodyPr>
          <a:lstStyle/>
          <a:p>
            <a:r>
              <a:rPr lang="cs-CZ" sz="1625">
                <a:solidFill>
                  <a:schemeClr val="tx2"/>
                </a:solidFill>
                <a:cs typeface="Arial" panose="020B0604020202020204" pitchFamily="34" charset="0"/>
              </a:rPr>
              <a:t>Flexibilita pro ČS při nastavování NRPP</a:t>
            </a:r>
          </a:p>
        </p:txBody>
      </p:sp>
      <p:sp>
        <p:nvSpPr>
          <p:cNvPr id="23" name="TextovéPole 22">
            <a:extLst>
              <a:ext uri="{FF2B5EF4-FFF2-40B4-BE49-F238E27FC236}">
                <a16:creationId xmlns:a16="http://schemas.microsoft.com/office/drawing/2014/main" id="{D0CCD97E-B167-59B5-66A2-9081D877C610}"/>
              </a:ext>
            </a:extLst>
          </p:cNvPr>
          <p:cNvSpPr txBox="1"/>
          <p:nvPr/>
        </p:nvSpPr>
        <p:spPr>
          <a:xfrm>
            <a:off x="443164" y="4559977"/>
            <a:ext cx="1934275" cy="342401"/>
          </a:xfrm>
          <a:prstGeom prst="rect">
            <a:avLst/>
          </a:prstGeom>
          <a:noFill/>
        </p:spPr>
        <p:txBody>
          <a:bodyPr wrap="square" rtlCol="0">
            <a:spAutoFit/>
          </a:bodyPr>
          <a:lstStyle/>
          <a:p>
            <a:r>
              <a:rPr lang="cs-CZ" sz="1625">
                <a:solidFill>
                  <a:schemeClr val="tx2"/>
                </a:solidFill>
                <a:cs typeface="Arial" panose="020B0604020202020204" pitchFamily="34" charset="0"/>
              </a:rPr>
              <a:t>Výkonnostní model</a:t>
            </a:r>
          </a:p>
        </p:txBody>
      </p:sp>
      <p:sp>
        <p:nvSpPr>
          <p:cNvPr id="24" name="TextovéPole 23">
            <a:extLst>
              <a:ext uri="{FF2B5EF4-FFF2-40B4-BE49-F238E27FC236}">
                <a16:creationId xmlns:a16="http://schemas.microsoft.com/office/drawing/2014/main" id="{17CF6006-F5D5-51FA-7AD3-CDF86FADAA6A}"/>
              </a:ext>
            </a:extLst>
          </p:cNvPr>
          <p:cNvSpPr txBox="1"/>
          <p:nvPr/>
        </p:nvSpPr>
        <p:spPr>
          <a:xfrm>
            <a:off x="2729361" y="4559977"/>
            <a:ext cx="5017456" cy="342401"/>
          </a:xfrm>
          <a:prstGeom prst="rect">
            <a:avLst/>
          </a:prstGeom>
          <a:noFill/>
        </p:spPr>
        <p:txBody>
          <a:bodyPr wrap="square" rtlCol="0">
            <a:spAutoFit/>
          </a:bodyPr>
          <a:lstStyle>
            <a:defPPr>
              <a:defRPr lang="cs-CZ"/>
            </a:defPPr>
            <a:lvl1pPr>
              <a:defRPr>
                <a:latin typeface="Avenir Next LT Pro" panose="020B0504020202020204" pitchFamily="34" charset="-18"/>
              </a:defRPr>
            </a:lvl1pPr>
          </a:lstStyle>
          <a:p>
            <a:r>
              <a:rPr lang="cs-CZ" sz="1625">
                <a:latin typeface="+mn-lt"/>
                <a:cs typeface="Arial" panose="020B0604020202020204" pitchFamily="34" charset="0"/>
              </a:rPr>
              <a:t>Proplácení dle dosažených cílů a milníků.</a:t>
            </a:r>
          </a:p>
        </p:txBody>
      </p:sp>
      <p:cxnSp>
        <p:nvCxnSpPr>
          <p:cNvPr id="27" name="Přímá spojnice 26">
            <a:extLst>
              <a:ext uri="{FF2B5EF4-FFF2-40B4-BE49-F238E27FC236}">
                <a16:creationId xmlns:a16="http://schemas.microsoft.com/office/drawing/2014/main" id="{6C11652D-0ED7-700E-6A89-5D87580E9EB1}"/>
              </a:ext>
            </a:extLst>
          </p:cNvPr>
          <p:cNvCxnSpPr/>
          <p:nvPr/>
        </p:nvCxnSpPr>
        <p:spPr>
          <a:xfrm>
            <a:off x="2494748" y="1900246"/>
            <a:ext cx="0" cy="3730391"/>
          </a:xfrm>
          <a:prstGeom prst="line">
            <a:avLst/>
          </a:prstGeom>
          <a:ln w="28575">
            <a:solidFill>
              <a:schemeClr val="tx1">
                <a:lumMod val="10000"/>
                <a:lumOff val="90000"/>
              </a:schemeClr>
            </a:solidFill>
          </a:ln>
        </p:spPr>
        <p:style>
          <a:lnRef idx="1">
            <a:schemeClr val="accent6"/>
          </a:lnRef>
          <a:fillRef idx="0">
            <a:schemeClr val="accent6"/>
          </a:fillRef>
          <a:effectRef idx="0">
            <a:schemeClr val="accent6"/>
          </a:effectRef>
          <a:fontRef idx="minor">
            <a:schemeClr val="tx1"/>
          </a:fontRef>
        </p:style>
      </p:cxnSp>
      <p:sp>
        <p:nvSpPr>
          <p:cNvPr id="28" name="TextovéPole 27">
            <a:extLst>
              <a:ext uri="{FF2B5EF4-FFF2-40B4-BE49-F238E27FC236}">
                <a16:creationId xmlns:a16="http://schemas.microsoft.com/office/drawing/2014/main" id="{A3381629-B4E2-73E9-75D6-98B1BF9A53AA}"/>
              </a:ext>
            </a:extLst>
          </p:cNvPr>
          <p:cNvSpPr txBox="1"/>
          <p:nvPr/>
        </p:nvSpPr>
        <p:spPr>
          <a:xfrm>
            <a:off x="443164" y="5005767"/>
            <a:ext cx="1934274" cy="342401"/>
          </a:xfrm>
          <a:prstGeom prst="rect">
            <a:avLst/>
          </a:prstGeom>
          <a:noFill/>
        </p:spPr>
        <p:txBody>
          <a:bodyPr wrap="square" rtlCol="0">
            <a:spAutoFit/>
          </a:bodyPr>
          <a:lstStyle/>
          <a:p>
            <a:r>
              <a:rPr lang="cs-CZ" sz="1625">
                <a:solidFill>
                  <a:schemeClr val="tx2"/>
                </a:solidFill>
                <a:cs typeface="Arial" panose="020B0604020202020204" pitchFamily="34" charset="0"/>
              </a:rPr>
              <a:t>Partnerský přístup</a:t>
            </a:r>
          </a:p>
        </p:txBody>
      </p:sp>
      <p:sp>
        <p:nvSpPr>
          <p:cNvPr id="29" name="TextovéPole 28">
            <a:extLst>
              <a:ext uri="{FF2B5EF4-FFF2-40B4-BE49-F238E27FC236}">
                <a16:creationId xmlns:a16="http://schemas.microsoft.com/office/drawing/2014/main" id="{E1427025-E928-C135-B96C-82B766819271}"/>
              </a:ext>
            </a:extLst>
          </p:cNvPr>
          <p:cNvSpPr txBox="1"/>
          <p:nvPr/>
        </p:nvSpPr>
        <p:spPr>
          <a:xfrm>
            <a:off x="2729362" y="5012911"/>
            <a:ext cx="5017456" cy="342401"/>
          </a:xfrm>
          <a:prstGeom prst="rect">
            <a:avLst/>
          </a:prstGeom>
          <a:noFill/>
        </p:spPr>
        <p:txBody>
          <a:bodyPr wrap="square" rtlCol="0">
            <a:spAutoFit/>
          </a:bodyPr>
          <a:lstStyle/>
          <a:p>
            <a:r>
              <a:rPr lang="cs-CZ" sz="1625">
                <a:cs typeface="Arial" panose="020B0604020202020204" pitchFamily="34" charset="0"/>
              </a:rPr>
              <a:t>Zapojení partnerů do přípravy a provádění NRPP.</a:t>
            </a:r>
          </a:p>
        </p:txBody>
      </p:sp>
      <p:sp>
        <p:nvSpPr>
          <p:cNvPr id="30" name="TextovéPole 29">
            <a:extLst>
              <a:ext uri="{FF2B5EF4-FFF2-40B4-BE49-F238E27FC236}">
                <a16:creationId xmlns:a16="http://schemas.microsoft.com/office/drawing/2014/main" id="{174D0456-3A5C-A23D-6D12-B0CB3812B609}"/>
              </a:ext>
            </a:extLst>
          </p:cNvPr>
          <p:cNvSpPr txBox="1"/>
          <p:nvPr/>
        </p:nvSpPr>
        <p:spPr>
          <a:xfrm>
            <a:off x="2729361" y="2789144"/>
            <a:ext cx="4548222" cy="342401"/>
          </a:xfrm>
          <a:prstGeom prst="rect">
            <a:avLst/>
          </a:prstGeom>
          <a:noFill/>
        </p:spPr>
        <p:txBody>
          <a:bodyPr wrap="square" rtlCol="0">
            <a:spAutoFit/>
          </a:bodyPr>
          <a:lstStyle/>
          <a:p>
            <a:r>
              <a:rPr lang="cs-CZ" sz="1625">
                <a:cs typeface="Arial" panose="020B0604020202020204" pitchFamily="34" charset="0"/>
              </a:rPr>
              <a:t>Koordinuje a řídí celý NRPP.</a:t>
            </a:r>
          </a:p>
        </p:txBody>
      </p:sp>
      <p:sp>
        <p:nvSpPr>
          <p:cNvPr id="31" name="TextovéPole 30">
            <a:extLst>
              <a:ext uri="{FF2B5EF4-FFF2-40B4-BE49-F238E27FC236}">
                <a16:creationId xmlns:a16="http://schemas.microsoft.com/office/drawing/2014/main" id="{551D5914-C66C-A646-D8B0-E21C17ED1102}"/>
              </a:ext>
            </a:extLst>
          </p:cNvPr>
          <p:cNvSpPr txBox="1"/>
          <p:nvPr/>
        </p:nvSpPr>
        <p:spPr>
          <a:xfrm>
            <a:off x="443164" y="2647884"/>
            <a:ext cx="1934276" cy="592470"/>
          </a:xfrm>
          <a:prstGeom prst="rect">
            <a:avLst/>
          </a:prstGeom>
          <a:noFill/>
        </p:spPr>
        <p:txBody>
          <a:bodyPr wrap="square" rtlCol="0">
            <a:spAutoFit/>
          </a:bodyPr>
          <a:lstStyle/>
          <a:p>
            <a:r>
              <a:rPr lang="cs-CZ" sz="1625">
                <a:solidFill>
                  <a:schemeClr val="tx2"/>
                </a:solidFill>
                <a:cs typeface="Arial" panose="020B0604020202020204" pitchFamily="34" charset="0"/>
              </a:rPr>
              <a:t>Role koordinačního orgánu</a:t>
            </a:r>
          </a:p>
        </p:txBody>
      </p:sp>
    </p:spTree>
    <p:extLst>
      <p:ext uri="{BB962C8B-B14F-4D97-AF65-F5344CB8AC3E}">
        <p14:creationId xmlns:p14="http://schemas.microsoft.com/office/powerpoint/2010/main" val="24818363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0744F45-0553-428D-0DC8-C3846EE4C9B0}"/>
              </a:ext>
            </a:extLst>
          </p:cNvPr>
          <p:cNvSpPr>
            <a:spLocks noGrp="1"/>
          </p:cNvSpPr>
          <p:nvPr>
            <p:ph type="title"/>
          </p:nvPr>
        </p:nvSpPr>
        <p:spPr>
          <a:xfrm>
            <a:off x="115972" y="312260"/>
            <a:ext cx="9674056" cy="963441"/>
          </a:xfrm>
        </p:spPr>
        <p:txBody>
          <a:bodyPr anchor="ctr">
            <a:normAutofit/>
          </a:bodyPr>
          <a:lstStyle/>
          <a:p>
            <a:pPr marL="284163" indent="-14288">
              <a:lnSpc>
                <a:spcPct val="110000"/>
              </a:lnSpc>
            </a:pPr>
            <a:r>
              <a:rPr lang="cs-CZ" sz="3600">
                <a:solidFill>
                  <a:srgbClr val="0C4CA3"/>
                </a:solidFill>
                <a:cs typeface="Calibri"/>
              </a:rPr>
              <a:t>Pozitivní návrhy z pohledu ČR</a:t>
            </a:r>
            <a:endParaRPr lang="en-US" sz="3600">
              <a:solidFill>
                <a:srgbClr val="0C4CA3"/>
              </a:solidFill>
              <a:cs typeface="Calibri"/>
            </a:endParaRPr>
          </a:p>
        </p:txBody>
      </p:sp>
      <p:sp>
        <p:nvSpPr>
          <p:cNvPr id="3" name="Obdélník 2">
            <a:extLst>
              <a:ext uri="{FF2B5EF4-FFF2-40B4-BE49-F238E27FC236}">
                <a16:creationId xmlns:a16="http://schemas.microsoft.com/office/drawing/2014/main" id="{E27BD65F-278F-EF7A-8EB5-703FD48F89A8}"/>
              </a:ext>
            </a:extLst>
          </p:cNvPr>
          <p:cNvSpPr/>
          <p:nvPr/>
        </p:nvSpPr>
        <p:spPr>
          <a:xfrm>
            <a:off x="238967" y="2245344"/>
            <a:ext cx="2232936" cy="32013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cs-CZ" sz="3809">
                <a:solidFill>
                  <a:schemeClr val="tx1"/>
                </a:solidFill>
                <a:latin typeface="Calibri" panose="020F0502020204030204" pitchFamily="34" charset="0"/>
                <a:cs typeface="Calibri" panose="020F0502020204030204" pitchFamily="34" charset="0"/>
              </a:rPr>
              <a:t>Pozitivní návrhy EK</a:t>
            </a:r>
            <a:endParaRPr lang="en-US" sz="1270">
              <a:solidFill>
                <a:schemeClr val="tx1"/>
              </a:solidFill>
              <a:latin typeface="Calibri" panose="020F0502020204030204" pitchFamily="34" charset="0"/>
              <a:cs typeface="Calibri" panose="020F0502020204030204" pitchFamily="34" charset="0"/>
            </a:endParaRPr>
          </a:p>
          <a:p>
            <a:pPr algn="ctr"/>
            <a:endParaRPr lang="en-US" sz="2222">
              <a:solidFill>
                <a:schemeClr val="accent3"/>
              </a:solidFill>
              <a:latin typeface="Avenir Next LT Pro Light" panose="020B0304020202020204" pitchFamily="34" charset="-18"/>
            </a:endParaRPr>
          </a:p>
        </p:txBody>
      </p:sp>
      <p:sp>
        <p:nvSpPr>
          <p:cNvPr id="5" name="Obdélník 4">
            <a:extLst>
              <a:ext uri="{FF2B5EF4-FFF2-40B4-BE49-F238E27FC236}">
                <a16:creationId xmlns:a16="http://schemas.microsoft.com/office/drawing/2014/main" id="{B5DDF583-80C1-7BEA-EC69-6D1B0CD18FC9}"/>
              </a:ext>
            </a:extLst>
          </p:cNvPr>
          <p:cNvSpPr/>
          <p:nvPr/>
        </p:nvSpPr>
        <p:spPr>
          <a:xfrm>
            <a:off x="3006526" y="2224405"/>
            <a:ext cx="2946461" cy="15141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algn="ctr"/>
            <a:r>
              <a:rPr lang="cs-CZ" sz="1950">
                <a:solidFill>
                  <a:schemeClr val="tx1"/>
                </a:solidFill>
                <a:latin typeface="Calibri" panose="020F0502020204030204" pitchFamily="34" charset="0"/>
                <a:cs typeface="Calibri" panose="020F0502020204030204" pitchFamily="34" charset="0"/>
              </a:rPr>
              <a:t>Rozvolnění tematické koncentrace a základních podmínek</a:t>
            </a:r>
            <a:endParaRPr lang="en-US" sz="1950">
              <a:solidFill>
                <a:schemeClr val="tx1"/>
              </a:solidFill>
              <a:latin typeface="Calibri" panose="020F0502020204030204" pitchFamily="34" charset="0"/>
              <a:cs typeface="Calibri" panose="020F0502020204030204" pitchFamily="34" charset="0"/>
            </a:endParaRPr>
          </a:p>
        </p:txBody>
      </p:sp>
      <p:sp>
        <p:nvSpPr>
          <p:cNvPr id="13" name="Obdélník 12">
            <a:extLst>
              <a:ext uri="{FF2B5EF4-FFF2-40B4-BE49-F238E27FC236}">
                <a16:creationId xmlns:a16="http://schemas.microsoft.com/office/drawing/2014/main" id="{34793FC1-56D3-D2EE-851B-C6E72E4AE68B}"/>
              </a:ext>
            </a:extLst>
          </p:cNvPr>
          <p:cNvSpPr/>
          <p:nvPr/>
        </p:nvSpPr>
        <p:spPr>
          <a:xfrm>
            <a:off x="3251297" y="3997530"/>
            <a:ext cx="2456920" cy="15141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0" lvl="1" algn="ctr"/>
            <a:r>
              <a:rPr lang="cs-CZ" sz="1950">
                <a:solidFill>
                  <a:schemeClr val="tx1"/>
                </a:solidFill>
                <a:latin typeface="Calibri" panose="020F0502020204030204" pitchFamily="34" charset="0"/>
                <a:cs typeface="Calibri" panose="020F0502020204030204" pitchFamily="34" charset="0"/>
              </a:rPr>
              <a:t>Sjednocení fondů do jednoho Evropského fondu</a:t>
            </a:r>
            <a:endParaRPr lang="en-US" sz="1950">
              <a:solidFill>
                <a:schemeClr val="tx1"/>
              </a:solidFill>
              <a:latin typeface="Calibri" panose="020F0502020204030204" pitchFamily="34" charset="0"/>
              <a:cs typeface="Calibri" panose="020F0502020204030204" pitchFamily="34" charset="0"/>
            </a:endParaRPr>
          </a:p>
        </p:txBody>
      </p:sp>
      <p:sp>
        <p:nvSpPr>
          <p:cNvPr id="14" name="Obdélník 13">
            <a:extLst>
              <a:ext uri="{FF2B5EF4-FFF2-40B4-BE49-F238E27FC236}">
                <a16:creationId xmlns:a16="http://schemas.microsoft.com/office/drawing/2014/main" id="{90E8C99D-F21D-1F65-36A5-62F3D69AD601}"/>
              </a:ext>
            </a:extLst>
          </p:cNvPr>
          <p:cNvSpPr/>
          <p:nvPr/>
        </p:nvSpPr>
        <p:spPr>
          <a:xfrm>
            <a:off x="6579962" y="1937242"/>
            <a:ext cx="2456920" cy="15141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0" lvl="1" algn="ctr"/>
            <a:r>
              <a:rPr lang="cs-CZ" sz="1950">
                <a:solidFill>
                  <a:schemeClr val="tx1"/>
                </a:solidFill>
                <a:latin typeface="Calibri" panose="020F0502020204030204" pitchFamily="34" charset="0"/>
                <a:cs typeface="Calibri" panose="020F0502020204030204" pitchFamily="34" charset="0"/>
              </a:rPr>
              <a:t>Investice a reformy v rámci jednoho plánu</a:t>
            </a:r>
            <a:endParaRPr lang="en-US" sz="1950">
              <a:solidFill>
                <a:schemeClr val="tx1"/>
              </a:solidFill>
              <a:latin typeface="Calibri" panose="020F0502020204030204" pitchFamily="34" charset="0"/>
              <a:cs typeface="Calibri" panose="020F0502020204030204" pitchFamily="34" charset="0"/>
            </a:endParaRPr>
          </a:p>
        </p:txBody>
      </p:sp>
      <p:sp>
        <p:nvSpPr>
          <p:cNvPr id="16" name="Obdélník 15">
            <a:extLst>
              <a:ext uri="{FF2B5EF4-FFF2-40B4-BE49-F238E27FC236}">
                <a16:creationId xmlns:a16="http://schemas.microsoft.com/office/drawing/2014/main" id="{C42A46C7-3308-745D-D0B1-AA4833486DDA}"/>
              </a:ext>
            </a:extLst>
          </p:cNvPr>
          <p:cNvSpPr/>
          <p:nvPr/>
        </p:nvSpPr>
        <p:spPr>
          <a:xfrm>
            <a:off x="6381684" y="3997530"/>
            <a:ext cx="2586283" cy="15141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0" lvl="1" algn="ctr"/>
            <a:r>
              <a:rPr lang="cs-CZ" sz="1950">
                <a:solidFill>
                  <a:schemeClr val="tx1"/>
                </a:solidFill>
                <a:latin typeface="Calibri" panose="020F0502020204030204" pitchFamily="34" charset="0"/>
                <a:cs typeface="Calibri" panose="020F0502020204030204" pitchFamily="34" charset="0"/>
              </a:rPr>
              <a:t>Začlenění vylepšeného způsobu plánování politik</a:t>
            </a:r>
            <a:endParaRPr lang="en-US" sz="1950">
              <a:solidFill>
                <a:schemeClr val="tx1"/>
              </a:solidFill>
              <a:latin typeface="Calibri" panose="020F0502020204030204" pitchFamily="34" charset="0"/>
              <a:cs typeface="Calibri" panose="020F0502020204030204" pitchFamily="34" charset="0"/>
            </a:endParaRPr>
          </a:p>
        </p:txBody>
      </p:sp>
      <p:sp>
        <p:nvSpPr>
          <p:cNvPr id="17" name="Obdélník 16">
            <a:extLst>
              <a:ext uri="{FF2B5EF4-FFF2-40B4-BE49-F238E27FC236}">
                <a16:creationId xmlns:a16="http://schemas.microsoft.com/office/drawing/2014/main" id="{4773C2DB-0AC2-0F41-103D-D4A5DDAFE1C0}"/>
              </a:ext>
            </a:extLst>
          </p:cNvPr>
          <p:cNvSpPr/>
          <p:nvPr/>
        </p:nvSpPr>
        <p:spPr>
          <a:xfrm>
            <a:off x="7372568" y="3938886"/>
            <a:ext cx="2142663" cy="128559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endParaRPr lang="en-US" sz="1905">
              <a:solidFill>
                <a:schemeClr val="tx1"/>
              </a:solidFill>
              <a:latin typeface="Avenir Next LT Pro Light" panose="020B0304020202020204" pitchFamily="34" charset="-18"/>
            </a:endParaRPr>
          </a:p>
        </p:txBody>
      </p:sp>
      <p:cxnSp>
        <p:nvCxnSpPr>
          <p:cNvPr id="31" name="Přímá spojnice 30">
            <a:extLst>
              <a:ext uri="{FF2B5EF4-FFF2-40B4-BE49-F238E27FC236}">
                <a16:creationId xmlns:a16="http://schemas.microsoft.com/office/drawing/2014/main" id="{9F7566E1-8D26-12C4-CA6F-63B9E4E40154}"/>
              </a:ext>
            </a:extLst>
          </p:cNvPr>
          <p:cNvCxnSpPr/>
          <p:nvPr/>
        </p:nvCxnSpPr>
        <p:spPr>
          <a:xfrm>
            <a:off x="2616828" y="2024423"/>
            <a:ext cx="0" cy="3428262"/>
          </a:xfrm>
          <a:prstGeom prst="line">
            <a:avLst/>
          </a:prstGeom>
          <a:ln w="19050">
            <a:solidFill>
              <a:srgbClr val="69A8AB"/>
            </a:solidFill>
          </a:ln>
        </p:spPr>
        <p:style>
          <a:lnRef idx="1">
            <a:schemeClr val="accent1"/>
          </a:lnRef>
          <a:fillRef idx="0">
            <a:schemeClr val="accent1"/>
          </a:fillRef>
          <a:effectRef idx="0">
            <a:schemeClr val="accent1"/>
          </a:effectRef>
          <a:fontRef idx="minor">
            <a:schemeClr val="tx1"/>
          </a:fontRef>
        </p:style>
      </p:cxnSp>
      <p:pic>
        <p:nvPicPr>
          <p:cNvPr id="21" name="Grafický objekt 20" descr="Podrobný plán obrys">
            <a:extLst>
              <a:ext uri="{FF2B5EF4-FFF2-40B4-BE49-F238E27FC236}">
                <a16:creationId xmlns:a16="http://schemas.microsoft.com/office/drawing/2014/main" id="{AD1AE0AC-A6E0-B150-ED05-D690544260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14830" y="2014139"/>
            <a:ext cx="771359" cy="771359"/>
          </a:xfrm>
          <a:prstGeom prst="rect">
            <a:avLst/>
          </a:prstGeom>
        </p:spPr>
      </p:pic>
      <p:pic>
        <p:nvPicPr>
          <p:cNvPr id="28" name="Grafický objekt 27" descr="Uzel na laně obrys">
            <a:extLst>
              <a:ext uri="{FF2B5EF4-FFF2-40B4-BE49-F238E27FC236}">
                <a16:creationId xmlns:a16="http://schemas.microsoft.com/office/drawing/2014/main" id="{7697EA9D-D85D-731A-20EB-415517D3E3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14830" y="3756991"/>
            <a:ext cx="771359" cy="771359"/>
          </a:xfrm>
          <a:prstGeom prst="rect">
            <a:avLst/>
          </a:prstGeom>
        </p:spPr>
      </p:pic>
      <p:pic>
        <p:nvPicPr>
          <p:cNvPr id="6" name="Grafický objekt 5" descr="Práce obrys">
            <a:extLst>
              <a:ext uri="{FF2B5EF4-FFF2-40B4-BE49-F238E27FC236}">
                <a16:creationId xmlns:a16="http://schemas.microsoft.com/office/drawing/2014/main" id="{3BCCCBAD-FE3F-708F-5662-D387430E04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94077" y="2014139"/>
            <a:ext cx="771359" cy="771359"/>
          </a:xfrm>
          <a:prstGeom prst="rect">
            <a:avLst/>
          </a:prstGeom>
        </p:spPr>
      </p:pic>
      <p:pic>
        <p:nvPicPr>
          <p:cNvPr id="10" name="Grafický objekt 9" descr="Kousky puzzle obrys">
            <a:extLst>
              <a:ext uri="{FF2B5EF4-FFF2-40B4-BE49-F238E27FC236}">
                <a16:creationId xmlns:a16="http://schemas.microsoft.com/office/drawing/2014/main" id="{79FEAFEA-966A-CE9B-3352-588C864DDB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00289" y="3846038"/>
            <a:ext cx="771359" cy="771359"/>
          </a:xfrm>
          <a:prstGeom prst="rect">
            <a:avLst/>
          </a:prstGeom>
        </p:spPr>
      </p:pic>
    </p:spTree>
    <p:extLst>
      <p:ext uri="{BB962C8B-B14F-4D97-AF65-F5344CB8AC3E}">
        <p14:creationId xmlns:p14="http://schemas.microsoft.com/office/powerpoint/2010/main" val="11989615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Obrázek 19" descr="Obsah obrázku lupa&#10;&#10;Obsah vygenerovaný umělou inteligencí může být nesprávný.">
            <a:extLst>
              <a:ext uri="{FF2B5EF4-FFF2-40B4-BE49-F238E27FC236}">
                <a16:creationId xmlns:a16="http://schemas.microsoft.com/office/drawing/2014/main" id="{9C5EF485-783D-D1BA-EBA7-7FE61D0751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839" y="2628154"/>
            <a:ext cx="1866017" cy="2813257"/>
          </a:xfrm>
          <a:prstGeom prst="rect">
            <a:avLst/>
          </a:prstGeom>
        </p:spPr>
      </p:pic>
      <p:sp>
        <p:nvSpPr>
          <p:cNvPr id="2" name="Nadpis 1">
            <a:extLst>
              <a:ext uri="{FF2B5EF4-FFF2-40B4-BE49-F238E27FC236}">
                <a16:creationId xmlns:a16="http://schemas.microsoft.com/office/drawing/2014/main" id="{79E97C43-E7A3-B0D6-62DA-FB6200618D98}"/>
              </a:ext>
            </a:extLst>
          </p:cNvPr>
          <p:cNvSpPr>
            <a:spLocks noGrp="1"/>
          </p:cNvSpPr>
          <p:nvPr>
            <p:ph type="title"/>
          </p:nvPr>
        </p:nvSpPr>
        <p:spPr>
          <a:xfrm>
            <a:off x="115972" y="306378"/>
            <a:ext cx="9674056" cy="995658"/>
          </a:xfrm>
        </p:spPr>
        <p:txBody>
          <a:bodyPr>
            <a:normAutofit/>
          </a:bodyPr>
          <a:lstStyle/>
          <a:p>
            <a:pPr marL="284163" indent="-14288">
              <a:lnSpc>
                <a:spcPct val="110000"/>
              </a:lnSpc>
            </a:pPr>
            <a:r>
              <a:rPr lang="cs-CZ" sz="3600">
                <a:solidFill>
                  <a:srgbClr val="0C4CA3"/>
                </a:solidFill>
                <a:cs typeface="Calibri"/>
              </a:rPr>
              <a:t>Pozice ČR k návrhům legislativy </a:t>
            </a:r>
            <a:r>
              <a:rPr lang="en-US" sz="3600">
                <a:solidFill>
                  <a:srgbClr val="0C4CA3"/>
                </a:solidFill>
                <a:cs typeface="Calibri"/>
              </a:rPr>
              <a:t>2028+</a:t>
            </a:r>
          </a:p>
        </p:txBody>
      </p:sp>
      <p:sp>
        <p:nvSpPr>
          <p:cNvPr id="3" name="Zástupný obsah 2">
            <a:extLst>
              <a:ext uri="{FF2B5EF4-FFF2-40B4-BE49-F238E27FC236}">
                <a16:creationId xmlns:a16="http://schemas.microsoft.com/office/drawing/2014/main" id="{F2156DA6-BACE-2CEF-079A-7892300F49C8}"/>
              </a:ext>
            </a:extLst>
          </p:cNvPr>
          <p:cNvSpPr>
            <a:spLocks noGrp="1"/>
          </p:cNvSpPr>
          <p:nvPr>
            <p:ph idx="1"/>
          </p:nvPr>
        </p:nvSpPr>
        <p:spPr/>
        <p:txBody>
          <a:bodyPr vert="horz" lIns="97571" tIns="48785" rIns="97571" bIns="48785" rtlCol="0" anchor="t">
            <a:normAutofit/>
          </a:bodyPr>
          <a:lstStyle/>
          <a:p>
            <a:pPr marL="365843" indent="-365843"/>
            <a:endParaRPr lang="cs-CZ">
              <a:ea typeface="Calibri"/>
              <a:cs typeface="Calibri"/>
            </a:endParaRPr>
          </a:p>
          <a:p>
            <a:pPr marL="365843" indent="-365843"/>
            <a:endParaRPr lang="cs-CZ" sz="1428">
              <a:solidFill>
                <a:srgbClr val="FF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13" name="Obdélník 12">
            <a:extLst>
              <a:ext uri="{FF2B5EF4-FFF2-40B4-BE49-F238E27FC236}">
                <a16:creationId xmlns:a16="http://schemas.microsoft.com/office/drawing/2014/main" id="{311D4E24-B8F8-71E3-2368-50A809C66050}"/>
              </a:ext>
            </a:extLst>
          </p:cNvPr>
          <p:cNvSpPr/>
          <p:nvPr/>
        </p:nvSpPr>
        <p:spPr>
          <a:xfrm>
            <a:off x="3980840" y="1877040"/>
            <a:ext cx="5716322" cy="1142754"/>
          </a:xfrm>
          <a:prstGeom prst="rect">
            <a:avLst/>
          </a:prstGeom>
          <a:solidFill>
            <a:schemeClr val="bg1"/>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72565" tIns="36282" rIns="72565" bIns="36282" rtlCol="0" anchor="ctr"/>
          <a:lstStyle/>
          <a:p>
            <a:pPr marL="228274" indent="-228274">
              <a:buClr>
                <a:schemeClr val="bg1">
                  <a:lumMod val="65000"/>
                </a:schemeClr>
              </a:buClr>
              <a:buFont typeface="Arial" panose="020B0604020202020204" pitchFamily="34" charset="0"/>
              <a:buChar char="•"/>
            </a:pPr>
            <a:r>
              <a:rPr lang="cs-CZ" sz="1786">
                <a:solidFill>
                  <a:schemeClr val="tx1"/>
                </a:solidFill>
                <a:latin typeface="Calibri" panose="020F0502020204030204" pitchFamily="34" charset="0"/>
                <a:cs typeface="Calibri" panose="020F0502020204030204" pitchFamily="34" charset="0"/>
              </a:rPr>
              <a:t>Snaha o oddělení politik</a:t>
            </a:r>
            <a:endParaRPr lang="en-US" sz="1786">
              <a:solidFill>
                <a:schemeClr val="tx1"/>
              </a:solidFill>
              <a:latin typeface="Calibri" panose="020F0502020204030204" pitchFamily="34" charset="0"/>
              <a:cs typeface="Calibri" panose="020F0502020204030204" pitchFamily="34" charset="0"/>
            </a:endParaRPr>
          </a:p>
          <a:p>
            <a:pPr marL="228274" indent="-228274">
              <a:buClr>
                <a:schemeClr val="bg1">
                  <a:lumMod val="65000"/>
                </a:schemeClr>
              </a:buClr>
              <a:buFont typeface="Arial" panose="020B0604020202020204" pitchFamily="34" charset="0"/>
              <a:buChar char="•"/>
            </a:pPr>
            <a:r>
              <a:rPr lang="cs-CZ" sz="1786">
                <a:solidFill>
                  <a:schemeClr val="tx1"/>
                </a:solidFill>
                <a:latin typeface="Calibri" panose="020F0502020204030204" pitchFamily="34" charset="0"/>
                <a:cs typeface="Calibri" panose="020F0502020204030204" pitchFamily="34" charset="0"/>
              </a:rPr>
              <a:t>Doplnění podpory absorpční kapacity do nařízení</a:t>
            </a:r>
          </a:p>
          <a:p>
            <a:pPr marL="228274" indent="-228274">
              <a:buClr>
                <a:schemeClr val="bg1">
                  <a:lumMod val="65000"/>
                </a:schemeClr>
              </a:buClr>
              <a:buFont typeface="Arial" panose="020B0604020202020204" pitchFamily="34" charset="0"/>
              <a:buChar char="•"/>
            </a:pPr>
            <a:r>
              <a:rPr lang="cs-CZ" sz="1786">
                <a:solidFill>
                  <a:schemeClr val="tx1"/>
                </a:solidFill>
                <a:latin typeface="Calibri" panose="020F0502020204030204" pitchFamily="34" charset="0"/>
                <a:ea typeface="Calibri"/>
                <a:cs typeface="Calibri" panose="020F0502020204030204" pitchFamily="34" charset="0"/>
              </a:rPr>
              <a:t>Územní dimenze jako hlavní zásada</a:t>
            </a:r>
            <a:endParaRPr lang="en-US" sz="1786">
              <a:solidFill>
                <a:schemeClr val="tx1"/>
              </a:solidFill>
              <a:latin typeface="Calibri" panose="020F0502020204030204" pitchFamily="34" charset="0"/>
              <a:ea typeface="Calibri"/>
              <a:cs typeface="Calibri" panose="020F0502020204030204" pitchFamily="34" charset="0"/>
            </a:endParaRPr>
          </a:p>
        </p:txBody>
      </p:sp>
      <p:sp>
        <p:nvSpPr>
          <p:cNvPr id="14" name="Obdélník 13">
            <a:extLst>
              <a:ext uri="{FF2B5EF4-FFF2-40B4-BE49-F238E27FC236}">
                <a16:creationId xmlns:a16="http://schemas.microsoft.com/office/drawing/2014/main" id="{0ADE2366-51B2-6937-F716-EB50B3C63E6E}"/>
              </a:ext>
            </a:extLst>
          </p:cNvPr>
          <p:cNvSpPr/>
          <p:nvPr/>
        </p:nvSpPr>
        <p:spPr>
          <a:xfrm>
            <a:off x="3980841" y="3114518"/>
            <a:ext cx="5716322" cy="1142754"/>
          </a:xfrm>
          <a:prstGeom prst="rect">
            <a:avLst/>
          </a:prstGeom>
          <a:solidFill>
            <a:schemeClr val="bg1"/>
          </a:solidFill>
          <a:ln w="3175">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548" indent="-228548">
              <a:buClr>
                <a:schemeClr val="bg1">
                  <a:lumMod val="65000"/>
                </a:schemeClr>
              </a:buClr>
              <a:buFont typeface="Arial" panose="020B0604020202020204" pitchFamily="34" charset="0"/>
              <a:buChar char="•"/>
            </a:pPr>
            <a:r>
              <a:rPr lang="cs-CZ" sz="1786">
                <a:solidFill>
                  <a:schemeClr val="tx1"/>
                </a:solidFill>
                <a:latin typeface="Calibri" panose="020F0502020204030204" pitchFamily="34" charset="0"/>
                <a:cs typeface="Calibri" panose="020F0502020204030204" pitchFamily="34" charset="0"/>
              </a:rPr>
              <a:t>Upozornění na rizika výkonnostního modelu</a:t>
            </a:r>
          </a:p>
          <a:p>
            <a:pPr marL="228548" indent="-228548">
              <a:buClr>
                <a:schemeClr val="bg1">
                  <a:lumMod val="65000"/>
                </a:schemeClr>
              </a:buClr>
              <a:buFont typeface="Arial" panose="020B0604020202020204" pitchFamily="34" charset="0"/>
              <a:buChar char="•"/>
            </a:pPr>
            <a:r>
              <a:rPr lang="cs-CZ" sz="1786">
                <a:solidFill>
                  <a:schemeClr val="tx1"/>
                </a:solidFill>
                <a:latin typeface="Calibri" panose="020F0502020204030204" pitchFamily="34" charset="0"/>
                <a:cs typeface="Calibri" panose="020F0502020204030204" pitchFamily="34" charset="0"/>
              </a:rPr>
              <a:t>Požadavek na </a:t>
            </a:r>
            <a:r>
              <a:rPr lang="cs-CZ" sz="1786" noProof="0">
                <a:solidFill>
                  <a:schemeClr val="tx1"/>
                </a:solidFill>
                <a:latin typeface="Calibri" panose="020F0502020204030204" pitchFamily="34" charset="0"/>
                <a:cs typeface="Calibri" panose="020F0502020204030204" pitchFamily="34" charset="0"/>
              </a:rPr>
              <a:t>jasnější definici indikátorů</a:t>
            </a:r>
          </a:p>
          <a:p>
            <a:pPr marL="228548" indent="-228548">
              <a:buClr>
                <a:schemeClr val="bg1">
                  <a:lumMod val="65000"/>
                </a:schemeClr>
              </a:buClr>
              <a:buFont typeface="Arial" panose="020B0604020202020204" pitchFamily="34" charset="0"/>
              <a:buChar char="•"/>
            </a:pPr>
            <a:r>
              <a:rPr lang="cs-CZ" sz="1786" noProof="0">
                <a:solidFill>
                  <a:schemeClr val="tx1"/>
                </a:solidFill>
                <a:latin typeface="Calibri" panose="020F0502020204030204" pitchFamily="34" charset="0"/>
                <a:cs typeface="Calibri" panose="020F0502020204030204" pitchFamily="34" charset="0"/>
              </a:rPr>
              <a:t>Provázanost s dalšími prvky nařízení </a:t>
            </a:r>
          </a:p>
        </p:txBody>
      </p:sp>
      <p:sp>
        <p:nvSpPr>
          <p:cNvPr id="15" name="Obdélník 14">
            <a:extLst>
              <a:ext uri="{FF2B5EF4-FFF2-40B4-BE49-F238E27FC236}">
                <a16:creationId xmlns:a16="http://schemas.microsoft.com/office/drawing/2014/main" id="{E624213B-DCBE-E825-B74C-987F89F5CED0}"/>
              </a:ext>
            </a:extLst>
          </p:cNvPr>
          <p:cNvSpPr/>
          <p:nvPr/>
        </p:nvSpPr>
        <p:spPr>
          <a:xfrm>
            <a:off x="3980840" y="4351996"/>
            <a:ext cx="5716322" cy="1142754"/>
          </a:xfrm>
          <a:prstGeom prst="rect">
            <a:avLst/>
          </a:prstGeom>
          <a:solidFill>
            <a:schemeClr val="bg1"/>
          </a:solidFill>
          <a:ln w="3175">
            <a:noFill/>
          </a:ln>
        </p:spPr>
        <p:style>
          <a:lnRef idx="2">
            <a:schemeClr val="accent1">
              <a:shade val="15000"/>
            </a:schemeClr>
          </a:lnRef>
          <a:fillRef idx="1">
            <a:schemeClr val="accent1"/>
          </a:fillRef>
          <a:effectRef idx="0">
            <a:schemeClr val="accent1"/>
          </a:effectRef>
          <a:fontRef idx="minor">
            <a:schemeClr val="lt1"/>
          </a:fontRef>
        </p:style>
        <p:txBody>
          <a:bodyPr lIns="72565" tIns="36282" rIns="72565" bIns="36282" rtlCol="0" anchor="ctr"/>
          <a:lstStyle/>
          <a:p>
            <a:pPr marL="227965" indent="-227965">
              <a:buClr>
                <a:schemeClr val="bg1">
                  <a:lumMod val="65000"/>
                </a:schemeClr>
              </a:buClr>
              <a:buFont typeface="Arial" panose="020B0604020202020204" pitchFamily="34" charset="0"/>
              <a:buChar char="•"/>
            </a:pPr>
            <a:r>
              <a:rPr lang="cs-CZ" sz="1750">
                <a:solidFill>
                  <a:schemeClr val="tx1"/>
                </a:solidFill>
                <a:latin typeface="Calibri"/>
                <a:ea typeface="Calibri"/>
                <a:cs typeface="Calibri"/>
              </a:rPr>
              <a:t>Prodloužit</a:t>
            </a:r>
            <a:r>
              <a:rPr lang="cs-CZ" sz="1750" noProof="0">
                <a:solidFill>
                  <a:schemeClr val="tx1"/>
                </a:solidFill>
                <a:latin typeface="Calibri"/>
                <a:ea typeface="Calibri"/>
                <a:cs typeface="Calibri"/>
              </a:rPr>
              <a:t> lhůtu pro zrušení závazků </a:t>
            </a:r>
            <a:endParaRPr lang="en-US" sz="1750">
              <a:solidFill>
                <a:schemeClr val="tx1"/>
              </a:solidFill>
              <a:latin typeface="Calibri"/>
              <a:ea typeface="Calibri"/>
              <a:cs typeface="Calibri"/>
            </a:endParaRPr>
          </a:p>
          <a:p>
            <a:pPr marL="227965" indent="-227965">
              <a:buClr>
                <a:schemeClr val="bg1">
                  <a:lumMod val="65000"/>
                </a:schemeClr>
              </a:buClr>
              <a:buFont typeface="Arial" panose="020B0604020202020204" pitchFamily="34" charset="0"/>
              <a:buChar char="•"/>
            </a:pPr>
            <a:r>
              <a:rPr lang="cs-CZ" sz="1750">
                <a:solidFill>
                  <a:schemeClr val="tx1"/>
                </a:solidFill>
                <a:latin typeface="Calibri"/>
                <a:ea typeface="Calibri"/>
                <a:cs typeface="Calibri"/>
              </a:rPr>
              <a:t>Zvýšit</a:t>
            </a:r>
            <a:r>
              <a:rPr lang="cs-CZ" sz="1750" noProof="0">
                <a:solidFill>
                  <a:schemeClr val="tx1"/>
                </a:solidFill>
                <a:latin typeface="Calibri"/>
                <a:ea typeface="Calibri"/>
                <a:cs typeface="Calibri"/>
              </a:rPr>
              <a:t> procento technické pomoci</a:t>
            </a:r>
          </a:p>
          <a:p>
            <a:pPr marL="227965" indent="-227965">
              <a:buClr>
                <a:schemeClr val="bg1">
                  <a:lumMod val="65000"/>
                </a:schemeClr>
              </a:buClr>
              <a:buFont typeface="Arial" panose="020B0604020202020204" pitchFamily="34" charset="0"/>
              <a:buChar char="•"/>
            </a:pPr>
            <a:r>
              <a:rPr lang="cs-CZ" sz="1750">
                <a:solidFill>
                  <a:schemeClr val="tx1"/>
                </a:solidFill>
                <a:latin typeface="Calibri"/>
                <a:ea typeface="Calibri"/>
                <a:cs typeface="Calibri"/>
              </a:rPr>
              <a:t>Snížit</a:t>
            </a:r>
            <a:r>
              <a:rPr lang="cs-CZ" sz="1750" noProof="0">
                <a:solidFill>
                  <a:schemeClr val="tx1"/>
                </a:solidFill>
                <a:latin typeface="Calibri"/>
                <a:ea typeface="Calibri"/>
                <a:cs typeface="Calibri"/>
              </a:rPr>
              <a:t> míru flexibility (pod 25 %)</a:t>
            </a:r>
          </a:p>
        </p:txBody>
      </p:sp>
      <p:sp>
        <p:nvSpPr>
          <p:cNvPr id="16" name="Obdélník 15">
            <a:extLst>
              <a:ext uri="{FF2B5EF4-FFF2-40B4-BE49-F238E27FC236}">
                <a16:creationId xmlns:a16="http://schemas.microsoft.com/office/drawing/2014/main" id="{D51968A5-BD8A-DEE7-9CCD-8CB07CDD51DA}"/>
              </a:ext>
            </a:extLst>
          </p:cNvPr>
          <p:cNvSpPr/>
          <p:nvPr/>
        </p:nvSpPr>
        <p:spPr>
          <a:xfrm>
            <a:off x="2074855" y="1877040"/>
            <a:ext cx="1773807" cy="114275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cs-CZ" sz="2000" b="1">
                <a:solidFill>
                  <a:schemeClr val="tx1"/>
                </a:solidFill>
                <a:latin typeface="Calibri" panose="020F0502020204030204" pitchFamily="34" charset="0"/>
                <a:cs typeface="Calibri" panose="020F0502020204030204" pitchFamily="34" charset="0"/>
              </a:rPr>
              <a:t>Principy</a:t>
            </a:r>
            <a:endParaRPr lang="en-US" sz="2000" b="1">
              <a:solidFill>
                <a:schemeClr val="tx1"/>
              </a:solidFill>
              <a:latin typeface="Calibri" panose="020F0502020204030204" pitchFamily="34" charset="0"/>
              <a:cs typeface="Calibri" panose="020F0502020204030204" pitchFamily="34" charset="0"/>
            </a:endParaRPr>
          </a:p>
        </p:txBody>
      </p:sp>
      <p:sp>
        <p:nvSpPr>
          <p:cNvPr id="17" name="Obdélník 16">
            <a:extLst>
              <a:ext uri="{FF2B5EF4-FFF2-40B4-BE49-F238E27FC236}">
                <a16:creationId xmlns:a16="http://schemas.microsoft.com/office/drawing/2014/main" id="{A8CADAA0-2E54-091D-5F33-6D4A6ED341CF}"/>
              </a:ext>
            </a:extLst>
          </p:cNvPr>
          <p:cNvSpPr/>
          <p:nvPr/>
        </p:nvSpPr>
        <p:spPr>
          <a:xfrm>
            <a:off x="2074856" y="3114518"/>
            <a:ext cx="1773806" cy="1142754"/>
          </a:xfrm>
          <a:prstGeom prst="rect">
            <a:avLst/>
          </a:prstGeom>
          <a:ln/>
        </p:spPr>
        <p:style>
          <a:lnRef idx="2">
            <a:schemeClr val="dk1"/>
          </a:lnRef>
          <a:fillRef idx="1">
            <a:schemeClr val="lt1"/>
          </a:fillRef>
          <a:effectRef idx="0">
            <a:schemeClr val="dk1"/>
          </a:effectRef>
          <a:fontRef idx="minor">
            <a:schemeClr val="dk1"/>
          </a:fontRef>
        </p:style>
        <p:txBody>
          <a:bodyPr lIns="91440" tIns="45720" rIns="91440" bIns="45720" rtlCol="0" anchor="ctr"/>
          <a:lstStyle/>
          <a:p>
            <a:pPr algn="ctr"/>
            <a:r>
              <a:rPr lang="en-US" sz="2000" b="1" err="1">
                <a:solidFill>
                  <a:schemeClr val="tx1"/>
                </a:solidFill>
                <a:latin typeface="Calibri" panose="020F0502020204030204" pitchFamily="34" charset="0"/>
                <a:cs typeface="Calibri" panose="020F0502020204030204" pitchFamily="34" charset="0"/>
              </a:rPr>
              <a:t>Výkonnostní</a:t>
            </a:r>
            <a:r>
              <a:rPr lang="en-US" sz="2000" b="1">
                <a:solidFill>
                  <a:schemeClr val="tx1"/>
                </a:solidFill>
                <a:latin typeface="Calibri" panose="020F0502020204030204" pitchFamily="34" charset="0"/>
                <a:cs typeface="Calibri" panose="020F0502020204030204" pitchFamily="34" charset="0"/>
              </a:rPr>
              <a:t> </a:t>
            </a:r>
            <a:r>
              <a:rPr lang="en-US" sz="2000" b="1" err="1">
                <a:solidFill>
                  <a:schemeClr val="tx1"/>
                </a:solidFill>
                <a:latin typeface="Calibri" panose="020F0502020204030204" pitchFamily="34" charset="0"/>
                <a:cs typeface="Calibri" panose="020F0502020204030204" pitchFamily="34" charset="0"/>
              </a:rPr>
              <a:t>přístup</a:t>
            </a:r>
          </a:p>
        </p:txBody>
      </p:sp>
      <p:sp>
        <p:nvSpPr>
          <p:cNvPr id="18" name="Obdélník 17">
            <a:extLst>
              <a:ext uri="{FF2B5EF4-FFF2-40B4-BE49-F238E27FC236}">
                <a16:creationId xmlns:a16="http://schemas.microsoft.com/office/drawing/2014/main" id="{EE0A24FC-28D0-2268-E47F-68459A8DE457}"/>
              </a:ext>
            </a:extLst>
          </p:cNvPr>
          <p:cNvSpPr/>
          <p:nvPr/>
        </p:nvSpPr>
        <p:spPr>
          <a:xfrm>
            <a:off x="2074856" y="4351996"/>
            <a:ext cx="1773806" cy="1142754"/>
          </a:xfrm>
          <a:prstGeom prst="rect">
            <a:avLst/>
          </a:prstGeom>
          <a:ln/>
        </p:spPr>
        <p:style>
          <a:lnRef idx="2">
            <a:schemeClr val="dk1"/>
          </a:lnRef>
          <a:fillRef idx="1">
            <a:schemeClr val="lt1"/>
          </a:fillRef>
          <a:effectRef idx="0">
            <a:schemeClr val="dk1"/>
          </a:effectRef>
          <a:fontRef idx="minor">
            <a:schemeClr val="dk1"/>
          </a:fontRef>
        </p:style>
        <p:txBody>
          <a:bodyPr lIns="91440" tIns="45720" rIns="91440" bIns="45720" rtlCol="0" anchor="ctr"/>
          <a:lstStyle/>
          <a:p>
            <a:pPr algn="ctr"/>
            <a:r>
              <a:rPr lang="en-US" sz="2000" b="1" err="1">
                <a:solidFill>
                  <a:schemeClr val="tx1"/>
                </a:solidFill>
                <a:latin typeface="Calibri" panose="020F0502020204030204" pitchFamily="34" charset="0"/>
                <a:cs typeface="Calibri" panose="020F0502020204030204" pitchFamily="34" charset="0"/>
              </a:rPr>
              <a:t>Finanční</a:t>
            </a:r>
            <a:r>
              <a:rPr lang="en-US" sz="2000" b="1">
                <a:solidFill>
                  <a:schemeClr val="tx1"/>
                </a:solidFill>
                <a:latin typeface="Calibri" panose="020F0502020204030204" pitchFamily="34" charset="0"/>
                <a:cs typeface="Calibri" panose="020F0502020204030204" pitchFamily="34" charset="0"/>
              </a:rPr>
              <a:t> </a:t>
            </a:r>
            <a:r>
              <a:rPr lang="en-US" sz="2000" b="1" err="1">
                <a:solidFill>
                  <a:schemeClr val="tx1"/>
                </a:solidFill>
                <a:latin typeface="Calibri" panose="020F0502020204030204" pitchFamily="34" charset="0"/>
                <a:cs typeface="Calibri" panose="020F0502020204030204" pitchFamily="34" charset="0"/>
              </a:rPr>
              <a:t>rámec</a:t>
            </a:r>
          </a:p>
        </p:txBody>
      </p:sp>
    </p:spTree>
    <p:extLst>
      <p:ext uri="{BB962C8B-B14F-4D97-AF65-F5344CB8AC3E}">
        <p14:creationId xmlns:p14="http://schemas.microsoft.com/office/powerpoint/2010/main" val="8936116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ázek 5" descr="Obsah obrázku lupa&#10;&#10;Obsah vygenerovaný umělou inteligencí může být nesprávný.">
            <a:extLst>
              <a:ext uri="{FF2B5EF4-FFF2-40B4-BE49-F238E27FC236}">
                <a16:creationId xmlns:a16="http://schemas.microsoft.com/office/drawing/2014/main" id="{ADA73983-9789-6023-ADEA-338683EE45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125" y="2476947"/>
            <a:ext cx="1827311" cy="2788057"/>
          </a:xfrm>
          <a:prstGeom prst="rect">
            <a:avLst/>
          </a:prstGeom>
        </p:spPr>
      </p:pic>
      <p:sp>
        <p:nvSpPr>
          <p:cNvPr id="2" name="Nadpis 1">
            <a:extLst>
              <a:ext uri="{FF2B5EF4-FFF2-40B4-BE49-F238E27FC236}">
                <a16:creationId xmlns:a16="http://schemas.microsoft.com/office/drawing/2014/main" id="{79E97C43-E7A3-B0D6-62DA-FB6200618D98}"/>
              </a:ext>
            </a:extLst>
          </p:cNvPr>
          <p:cNvSpPr>
            <a:spLocks noGrp="1"/>
          </p:cNvSpPr>
          <p:nvPr>
            <p:ph type="title"/>
          </p:nvPr>
        </p:nvSpPr>
        <p:spPr>
          <a:xfrm>
            <a:off x="115972" y="315359"/>
            <a:ext cx="9674056" cy="995658"/>
          </a:xfrm>
        </p:spPr>
        <p:txBody>
          <a:bodyPr>
            <a:normAutofit/>
          </a:bodyPr>
          <a:lstStyle/>
          <a:p>
            <a:pPr marL="284163" indent="-284163">
              <a:lnSpc>
                <a:spcPct val="110000"/>
              </a:lnSpc>
            </a:pPr>
            <a:r>
              <a:rPr lang="cs-CZ" sz="3600">
                <a:solidFill>
                  <a:srgbClr val="0C4CA3"/>
                </a:solidFill>
                <a:cs typeface="Calibri"/>
              </a:rPr>
              <a:t>Pozice ČR k návrhům legislativy </a:t>
            </a:r>
            <a:r>
              <a:rPr lang="en-US" sz="3600">
                <a:solidFill>
                  <a:srgbClr val="0C4CA3"/>
                </a:solidFill>
                <a:cs typeface="Calibri"/>
              </a:rPr>
              <a:t>2028+</a:t>
            </a:r>
          </a:p>
        </p:txBody>
      </p:sp>
      <p:sp>
        <p:nvSpPr>
          <p:cNvPr id="3" name="Zástupný obsah 2">
            <a:extLst>
              <a:ext uri="{FF2B5EF4-FFF2-40B4-BE49-F238E27FC236}">
                <a16:creationId xmlns:a16="http://schemas.microsoft.com/office/drawing/2014/main" id="{F2156DA6-BACE-2CEF-079A-7892300F49C8}"/>
              </a:ext>
            </a:extLst>
          </p:cNvPr>
          <p:cNvSpPr>
            <a:spLocks noGrp="1"/>
          </p:cNvSpPr>
          <p:nvPr>
            <p:ph idx="1"/>
          </p:nvPr>
        </p:nvSpPr>
        <p:spPr/>
        <p:txBody>
          <a:bodyPr vert="horz" lIns="97571" tIns="48785" rIns="97571" bIns="48785" rtlCol="0" anchor="t">
            <a:normAutofit/>
          </a:bodyPr>
          <a:lstStyle/>
          <a:p>
            <a:pPr marL="365843" indent="-365843"/>
            <a:endParaRPr lang="cs-CZ">
              <a:ea typeface="Calibri"/>
              <a:cs typeface="Calibri"/>
            </a:endParaRPr>
          </a:p>
          <a:p>
            <a:pPr marL="365843" indent="-365843"/>
            <a:endParaRPr lang="cs-CZ" sz="1428">
              <a:solidFill>
                <a:srgbClr val="FF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15" name="Obdélník 14">
            <a:extLst>
              <a:ext uri="{FF2B5EF4-FFF2-40B4-BE49-F238E27FC236}">
                <a16:creationId xmlns:a16="http://schemas.microsoft.com/office/drawing/2014/main" id="{E624213B-DCBE-E825-B74C-987F89F5CED0}"/>
              </a:ext>
            </a:extLst>
          </p:cNvPr>
          <p:cNvSpPr/>
          <p:nvPr/>
        </p:nvSpPr>
        <p:spPr>
          <a:xfrm>
            <a:off x="3996616" y="1943101"/>
            <a:ext cx="5540466" cy="3509461"/>
          </a:xfrm>
          <a:prstGeom prst="rect">
            <a:avLst/>
          </a:prstGeom>
          <a:solidFill>
            <a:schemeClr val="bg1"/>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72114" lvl="1" indent="-272114" algn="just">
              <a:spcAft>
                <a:spcPts val="975"/>
              </a:spcAft>
              <a:buClr>
                <a:schemeClr val="bg1">
                  <a:lumMod val="65000"/>
                </a:schemeClr>
              </a:buClr>
              <a:buFont typeface="Arial" panose="020B0604020202020204" pitchFamily="34" charset="0"/>
              <a:buChar char="•"/>
            </a:pPr>
            <a:r>
              <a:rPr lang="cs-CZ" sz="2400">
                <a:solidFill>
                  <a:schemeClr val="tx1"/>
                </a:solidFill>
              </a:rPr>
              <a:t>N</a:t>
            </a:r>
            <a:r>
              <a:rPr lang="cs-CZ" sz="2400" noProof="0" err="1">
                <a:solidFill>
                  <a:schemeClr val="tx1"/>
                </a:solidFill>
              </a:rPr>
              <a:t>ávrh</a:t>
            </a:r>
            <a:r>
              <a:rPr lang="cs-CZ" sz="2400">
                <a:solidFill>
                  <a:schemeClr val="tx1"/>
                </a:solidFill>
              </a:rPr>
              <a:t> na řešení všech výzev vyplývajících z Evropského semestru, Doporučení Rady pro jednotlivé země a strategických dokumentů Komise je příliš ambiciózní.</a:t>
            </a:r>
          </a:p>
          <a:p>
            <a:pPr marL="272114" lvl="1" indent="-272114" algn="just">
              <a:spcAft>
                <a:spcPts val="975"/>
              </a:spcAft>
              <a:buClr>
                <a:schemeClr val="bg1">
                  <a:lumMod val="65000"/>
                </a:schemeClr>
              </a:buClr>
              <a:buFont typeface="Arial" panose="020B0604020202020204" pitchFamily="34" charset="0"/>
              <a:buChar char="•"/>
            </a:pPr>
            <a:r>
              <a:rPr lang="cs-CZ" sz="2400">
                <a:solidFill>
                  <a:schemeClr val="tx1"/>
                </a:solidFill>
              </a:rPr>
              <a:t>Snížení procentního podílu cílů v oblasti klimatu a životního prostředí.</a:t>
            </a:r>
          </a:p>
          <a:p>
            <a:pPr marL="272114" lvl="1" indent="-272114" algn="just">
              <a:spcAft>
                <a:spcPts val="975"/>
              </a:spcAft>
              <a:buClr>
                <a:schemeClr val="bg1">
                  <a:lumMod val="65000"/>
                </a:schemeClr>
              </a:buClr>
              <a:buFont typeface="Arial" panose="020B0604020202020204" pitchFamily="34" charset="0"/>
              <a:buChar char="•"/>
            </a:pPr>
            <a:r>
              <a:rPr lang="cs-CZ" sz="2400">
                <a:solidFill>
                  <a:schemeClr val="tx1"/>
                </a:solidFill>
              </a:rPr>
              <a:t>Umožnění flexibilnější změny plánu.</a:t>
            </a:r>
          </a:p>
        </p:txBody>
      </p:sp>
      <p:sp>
        <p:nvSpPr>
          <p:cNvPr id="16" name="Obdélník 15">
            <a:extLst>
              <a:ext uri="{FF2B5EF4-FFF2-40B4-BE49-F238E27FC236}">
                <a16:creationId xmlns:a16="http://schemas.microsoft.com/office/drawing/2014/main" id="{D51968A5-BD8A-DEE7-9CCD-8CB07CDD51DA}"/>
              </a:ext>
            </a:extLst>
          </p:cNvPr>
          <p:cNvSpPr/>
          <p:nvPr/>
        </p:nvSpPr>
        <p:spPr>
          <a:xfrm>
            <a:off x="2169437" y="2259156"/>
            <a:ext cx="1700979" cy="3005848"/>
          </a:xfrm>
          <a:prstGeom prst="rect">
            <a:avLst/>
          </a:prstGeom>
          <a:ln/>
        </p:spPr>
        <p:style>
          <a:lnRef idx="2">
            <a:schemeClr val="dk1"/>
          </a:lnRef>
          <a:fillRef idx="1">
            <a:schemeClr val="lt1"/>
          </a:fillRef>
          <a:effectRef idx="0">
            <a:schemeClr val="dk1"/>
          </a:effectRef>
          <a:fontRef idx="minor">
            <a:schemeClr val="dk1"/>
          </a:fontRef>
        </p:style>
        <p:txBody>
          <a:bodyPr lIns="91440" tIns="45720" rIns="91440" bIns="45720" rtlCol="0" anchor="ctr"/>
          <a:lstStyle/>
          <a:p>
            <a:pPr algn="ctr">
              <a:lnSpc>
                <a:spcPct val="110000"/>
              </a:lnSpc>
            </a:pPr>
            <a:r>
              <a:rPr lang="en-US" sz="2400" b="1">
                <a:solidFill>
                  <a:schemeClr val="tx1"/>
                </a:solidFill>
                <a:latin typeface="Calibri" panose="020F0502020204030204" pitchFamily="34" charset="0"/>
                <a:cs typeface="Calibri" panose="020F0502020204030204" pitchFamily="34" charset="0"/>
              </a:rPr>
              <a:t>NRPP (National and regional partnership plan)</a:t>
            </a:r>
            <a:endParaRPr lang="cs-CZ" sz="2400" b="1">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607951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9D74681-E204-14C8-E56E-A21D44625181}"/>
              </a:ext>
            </a:extLst>
          </p:cNvPr>
          <p:cNvSpPr>
            <a:spLocks noGrp="1"/>
          </p:cNvSpPr>
          <p:nvPr>
            <p:ph type="title"/>
          </p:nvPr>
        </p:nvSpPr>
        <p:spPr>
          <a:xfrm>
            <a:off x="131201" y="239483"/>
            <a:ext cx="9658828" cy="909819"/>
          </a:xfrm>
        </p:spPr>
        <p:txBody>
          <a:bodyPr anchor="ctr">
            <a:normAutofit/>
          </a:bodyPr>
          <a:lstStyle/>
          <a:p>
            <a:pPr marL="284163" indent="-284163">
              <a:lnSpc>
                <a:spcPct val="110000"/>
              </a:lnSpc>
            </a:pPr>
            <a:r>
              <a:rPr lang="cs-CZ" sz="3600" err="1">
                <a:solidFill>
                  <a:srgbClr val="0C4CA3"/>
                </a:solidFill>
                <a:cs typeface="Calibri"/>
              </a:rPr>
              <a:t>RoadMap</a:t>
            </a:r>
            <a:r>
              <a:rPr lang="cs-CZ" sz="3600">
                <a:solidFill>
                  <a:srgbClr val="0C4CA3"/>
                </a:solidFill>
                <a:cs typeface="Calibri"/>
              </a:rPr>
              <a:t> aktivit</a:t>
            </a:r>
          </a:p>
        </p:txBody>
      </p:sp>
      <p:cxnSp>
        <p:nvCxnSpPr>
          <p:cNvPr id="9" name="Přímá spojnice 8">
            <a:extLst>
              <a:ext uri="{FF2B5EF4-FFF2-40B4-BE49-F238E27FC236}">
                <a16:creationId xmlns:a16="http://schemas.microsoft.com/office/drawing/2014/main" id="{48572032-D701-4ED2-1C93-749BC3310C4D}"/>
              </a:ext>
            </a:extLst>
          </p:cNvPr>
          <p:cNvCxnSpPr>
            <a:cxnSpLocks/>
          </p:cNvCxnSpPr>
          <p:nvPr/>
        </p:nvCxnSpPr>
        <p:spPr>
          <a:xfrm>
            <a:off x="4997640" y="2217284"/>
            <a:ext cx="0" cy="3187288"/>
          </a:xfrm>
          <a:prstGeom prst="line">
            <a:avLst/>
          </a:prstGeom>
          <a:ln w="38100">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20" name="Spojnice: pravoúhlá 19">
            <a:extLst>
              <a:ext uri="{FF2B5EF4-FFF2-40B4-BE49-F238E27FC236}">
                <a16:creationId xmlns:a16="http://schemas.microsoft.com/office/drawing/2014/main" id="{87132D47-E127-33F4-6A16-82E7DAE7EF5A}"/>
              </a:ext>
            </a:extLst>
          </p:cNvPr>
          <p:cNvCxnSpPr>
            <a:cxnSpLocks/>
          </p:cNvCxnSpPr>
          <p:nvPr/>
        </p:nvCxnSpPr>
        <p:spPr>
          <a:xfrm rot="10800000">
            <a:off x="5256885" y="3063367"/>
            <a:ext cx="4083505" cy="288910"/>
          </a:xfrm>
          <a:prstGeom prst="bentConnector3">
            <a:avLst>
              <a:gd name="adj1" fmla="val 90881"/>
            </a:avLst>
          </a:prstGeom>
          <a:ln w="19050">
            <a:solidFill>
              <a:srgbClr val="69A8AB"/>
            </a:solidFill>
          </a:ln>
        </p:spPr>
        <p:style>
          <a:lnRef idx="1">
            <a:schemeClr val="accent1"/>
          </a:lnRef>
          <a:fillRef idx="0">
            <a:schemeClr val="accent1"/>
          </a:fillRef>
          <a:effectRef idx="0">
            <a:schemeClr val="accent1"/>
          </a:effectRef>
          <a:fontRef idx="minor">
            <a:schemeClr val="tx1"/>
          </a:fontRef>
        </p:style>
      </p:cxnSp>
      <p:cxnSp>
        <p:nvCxnSpPr>
          <p:cNvPr id="22" name="Spojnice: pravoúhlá 21">
            <a:extLst>
              <a:ext uri="{FF2B5EF4-FFF2-40B4-BE49-F238E27FC236}">
                <a16:creationId xmlns:a16="http://schemas.microsoft.com/office/drawing/2014/main" id="{378AC74D-88A6-2A30-56F1-2CCADFFB0DC3}"/>
              </a:ext>
            </a:extLst>
          </p:cNvPr>
          <p:cNvCxnSpPr>
            <a:cxnSpLocks/>
          </p:cNvCxnSpPr>
          <p:nvPr/>
        </p:nvCxnSpPr>
        <p:spPr>
          <a:xfrm flipV="1">
            <a:off x="673487" y="3635861"/>
            <a:ext cx="4083506" cy="288910"/>
          </a:xfrm>
          <a:prstGeom prst="bentConnector3">
            <a:avLst>
              <a:gd name="adj1" fmla="val 9088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3" name="Ovál 22">
            <a:extLst>
              <a:ext uri="{FF2B5EF4-FFF2-40B4-BE49-F238E27FC236}">
                <a16:creationId xmlns:a16="http://schemas.microsoft.com/office/drawing/2014/main" id="{474AB970-DAC3-6684-ECB9-C80478EE4FF4}"/>
              </a:ext>
            </a:extLst>
          </p:cNvPr>
          <p:cNvSpPr/>
          <p:nvPr/>
        </p:nvSpPr>
        <p:spPr>
          <a:xfrm>
            <a:off x="4875926" y="2879349"/>
            <a:ext cx="272467" cy="272467"/>
          </a:xfrm>
          <a:prstGeom prst="ellipse">
            <a:avLst/>
          </a:prstGeom>
          <a:solidFill>
            <a:srgbClr val="69A8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72393"/>
            <a:endParaRPr lang="cs-CZ" sz="1363">
              <a:solidFill>
                <a:schemeClr val="tx2"/>
              </a:solidFill>
              <a:latin typeface="Calibri"/>
            </a:endParaRPr>
          </a:p>
        </p:txBody>
      </p:sp>
      <p:sp>
        <p:nvSpPr>
          <p:cNvPr id="24" name="Ovál 23">
            <a:extLst>
              <a:ext uri="{FF2B5EF4-FFF2-40B4-BE49-F238E27FC236}">
                <a16:creationId xmlns:a16="http://schemas.microsoft.com/office/drawing/2014/main" id="{C812C5D5-11F9-C71E-6E74-AD2EDD417F10}"/>
              </a:ext>
            </a:extLst>
          </p:cNvPr>
          <p:cNvSpPr/>
          <p:nvPr/>
        </p:nvSpPr>
        <p:spPr>
          <a:xfrm>
            <a:off x="4856620" y="3440979"/>
            <a:ext cx="272467" cy="272467"/>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72393"/>
            <a:endParaRPr lang="cs-CZ" sz="1363">
              <a:solidFill>
                <a:prstClr val="white"/>
              </a:solidFill>
              <a:latin typeface="Calibri"/>
            </a:endParaRPr>
          </a:p>
        </p:txBody>
      </p:sp>
      <p:sp>
        <p:nvSpPr>
          <p:cNvPr id="25" name="TextovéPole 24">
            <a:extLst>
              <a:ext uri="{FF2B5EF4-FFF2-40B4-BE49-F238E27FC236}">
                <a16:creationId xmlns:a16="http://schemas.microsoft.com/office/drawing/2014/main" id="{CF01E952-E94C-B300-C0E9-76FF6150021F}"/>
              </a:ext>
            </a:extLst>
          </p:cNvPr>
          <p:cNvSpPr txBox="1"/>
          <p:nvPr/>
        </p:nvSpPr>
        <p:spPr>
          <a:xfrm>
            <a:off x="719278" y="2982293"/>
            <a:ext cx="3543907" cy="965649"/>
          </a:xfrm>
          <a:prstGeom prst="rect">
            <a:avLst/>
          </a:prstGeom>
          <a:ln w="19050">
            <a:noFill/>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defTabSz="472393"/>
            <a:r>
              <a:rPr lang="cs-CZ" sz="2275" b="1">
                <a:cs typeface="Arial"/>
              </a:rPr>
              <a:t>11. září </a:t>
            </a:r>
          </a:p>
          <a:p>
            <a:pPr defTabSz="472393"/>
            <a:r>
              <a:rPr lang="cs-CZ" sz="2000">
                <a:cs typeface="Calibri" panose="020F0502020204030204" pitchFamily="34" charset="0"/>
              </a:rPr>
              <a:t>Kulatý stůl k nové legislativě pro 28+</a:t>
            </a:r>
          </a:p>
        </p:txBody>
      </p:sp>
      <p:sp>
        <p:nvSpPr>
          <p:cNvPr id="26" name="Obdélník 25">
            <a:extLst>
              <a:ext uri="{FF2B5EF4-FFF2-40B4-BE49-F238E27FC236}">
                <a16:creationId xmlns:a16="http://schemas.microsoft.com/office/drawing/2014/main" id="{013D97F4-61D4-AE0F-B448-96FBA5068693}"/>
              </a:ext>
            </a:extLst>
          </p:cNvPr>
          <p:cNvSpPr/>
          <p:nvPr/>
        </p:nvSpPr>
        <p:spPr>
          <a:xfrm>
            <a:off x="229230" y="5578359"/>
            <a:ext cx="3123343" cy="5714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2866">
              <a:defRPr/>
            </a:pPr>
            <a:endParaRPr lang="cs-CZ" sz="1860">
              <a:solidFill>
                <a:prstClr val="white"/>
              </a:solidFill>
              <a:latin typeface="Calibri"/>
            </a:endParaRPr>
          </a:p>
        </p:txBody>
      </p:sp>
      <p:pic>
        <p:nvPicPr>
          <p:cNvPr id="27" name="Obrázek 26">
            <a:extLst>
              <a:ext uri="{FF2B5EF4-FFF2-40B4-BE49-F238E27FC236}">
                <a16:creationId xmlns:a16="http://schemas.microsoft.com/office/drawing/2014/main" id="{50C8771B-7E87-67D2-797B-DF9B69E14886}"/>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9230" y="5739213"/>
            <a:ext cx="3228331" cy="391961"/>
          </a:xfrm>
          <a:prstGeom prst="rect">
            <a:avLst/>
          </a:prstGeom>
          <a:noFill/>
          <a:ln>
            <a:noFill/>
          </a:ln>
        </p:spPr>
      </p:pic>
      <p:sp>
        <p:nvSpPr>
          <p:cNvPr id="3" name="Ovál 2">
            <a:extLst>
              <a:ext uri="{FF2B5EF4-FFF2-40B4-BE49-F238E27FC236}">
                <a16:creationId xmlns:a16="http://schemas.microsoft.com/office/drawing/2014/main" id="{6DEC3921-AABC-AF2F-91E4-DFCF0DE43E17}"/>
              </a:ext>
            </a:extLst>
          </p:cNvPr>
          <p:cNvSpPr/>
          <p:nvPr/>
        </p:nvSpPr>
        <p:spPr>
          <a:xfrm>
            <a:off x="4856620" y="4002608"/>
            <a:ext cx="272467" cy="272467"/>
          </a:xfrm>
          <a:prstGeom prst="ellipse">
            <a:avLst/>
          </a:prstGeom>
          <a:solidFill>
            <a:srgbClr val="69A8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72393"/>
            <a:endParaRPr lang="cs-CZ" sz="1363">
              <a:solidFill>
                <a:schemeClr val="tx2"/>
              </a:solidFill>
              <a:latin typeface="Calibri"/>
            </a:endParaRPr>
          </a:p>
        </p:txBody>
      </p:sp>
      <p:cxnSp>
        <p:nvCxnSpPr>
          <p:cNvPr id="4" name="Spojnice: pravoúhlá 3">
            <a:extLst>
              <a:ext uri="{FF2B5EF4-FFF2-40B4-BE49-F238E27FC236}">
                <a16:creationId xmlns:a16="http://schemas.microsoft.com/office/drawing/2014/main" id="{4C0CD31D-B749-E1C8-2333-2057CE4CFD2A}"/>
              </a:ext>
            </a:extLst>
          </p:cNvPr>
          <p:cNvCxnSpPr>
            <a:cxnSpLocks/>
          </p:cNvCxnSpPr>
          <p:nvPr/>
        </p:nvCxnSpPr>
        <p:spPr>
          <a:xfrm rot="10800000">
            <a:off x="5256885" y="4162694"/>
            <a:ext cx="4083505" cy="288910"/>
          </a:xfrm>
          <a:prstGeom prst="bentConnector3">
            <a:avLst>
              <a:gd name="adj1" fmla="val 90881"/>
            </a:avLst>
          </a:prstGeom>
          <a:ln w="19050">
            <a:solidFill>
              <a:srgbClr val="69A8AB"/>
            </a:solidFill>
          </a:ln>
        </p:spPr>
        <p:style>
          <a:lnRef idx="1">
            <a:schemeClr val="accent1"/>
          </a:lnRef>
          <a:fillRef idx="0">
            <a:schemeClr val="accent1"/>
          </a:fillRef>
          <a:effectRef idx="0">
            <a:schemeClr val="accent1"/>
          </a:effectRef>
          <a:fontRef idx="minor">
            <a:schemeClr val="tx1"/>
          </a:fontRef>
        </p:style>
      </p:cxnSp>
      <p:sp>
        <p:nvSpPr>
          <p:cNvPr id="5" name="TextovéPole 4">
            <a:extLst>
              <a:ext uri="{FF2B5EF4-FFF2-40B4-BE49-F238E27FC236}">
                <a16:creationId xmlns:a16="http://schemas.microsoft.com/office/drawing/2014/main" id="{43AC64FD-9E34-27F1-9951-99838082864A}"/>
              </a:ext>
            </a:extLst>
          </p:cNvPr>
          <p:cNvSpPr txBox="1"/>
          <p:nvPr/>
        </p:nvSpPr>
        <p:spPr>
          <a:xfrm>
            <a:off x="688199" y="4366195"/>
            <a:ext cx="3692027" cy="615553"/>
          </a:xfrm>
          <a:prstGeom prst="rect">
            <a:avLst/>
          </a:prstGeom>
          <a:noFill/>
        </p:spPr>
        <p:txBody>
          <a:bodyPr wrap="square" lIns="0" tIns="0" rIns="0" bIns="0" rtlCol="0" anchor="t" anchorCtr="0">
            <a:spAutoFit/>
          </a:bodyPr>
          <a:lstStyle/>
          <a:p>
            <a:pPr defTabSz="472393"/>
            <a:r>
              <a:rPr lang="cs-CZ" sz="2000" b="1">
                <a:latin typeface="Calibri" panose="020F0502020204030204" pitchFamily="34" charset="0"/>
                <a:cs typeface="Calibri" panose="020F0502020204030204" pitchFamily="34" charset="0"/>
              </a:rPr>
              <a:t>září/říjen </a:t>
            </a:r>
          </a:p>
          <a:p>
            <a:pPr defTabSz="472393"/>
            <a:r>
              <a:rPr lang="cs-CZ" sz="2000">
                <a:latin typeface="Calibri" panose="020F0502020204030204" pitchFamily="34" charset="0"/>
                <a:cs typeface="Calibri" panose="020F0502020204030204" pitchFamily="34" charset="0"/>
              </a:rPr>
              <a:t>Business &amp; </a:t>
            </a:r>
            <a:r>
              <a:rPr lang="cs-CZ" sz="2000" err="1">
                <a:latin typeface="Calibri" panose="020F0502020204030204" pitchFamily="34" charset="0"/>
                <a:cs typeface="Calibri" panose="020F0502020204030204" pitchFamily="34" charset="0"/>
              </a:rPr>
              <a:t>Regio</a:t>
            </a:r>
            <a:r>
              <a:rPr lang="cs-CZ" sz="2000">
                <a:latin typeface="Calibri" panose="020F0502020204030204" pitchFamily="34" charset="0"/>
                <a:cs typeface="Calibri" panose="020F0502020204030204" pitchFamily="34" charset="0"/>
              </a:rPr>
              <a:t> </a:t>
            </a:r>
            <a:r>
              <a:rPr lang="cs-CZ" sz="2000" err="1">
                <a:latin typeface="Calibri" panose="020F0502020204030204" pitchFamily="34" charset="0"/>
                <a:cs typeface="Calibri" panose="020F0502020204030204" pitchFamily="34" charset="0"/>
              </a:rPr>
              <a:t>Breakfast</a:t>
            </a:r>
            <a:endParaRPr lang="cs-CZ" sz="2000">
              <a:latin typeface="Calibri" panose="020F0502020204030204" pitchFamily="34" charset="0"/>
              <a:cs typeface="Calibri" panose="020F0502020204030204" pitchFamily="34" charset="0"/>
            </a:endParaRPr>
          </a:p>
        </p:txBody>
      </p:sp>
      <p:sp>
        <p:nvSpPr>
          <p:cNvPr id="7" name="TextovéPole 6">
            <a:extLst>
              <a:ext uri="{FF2B5EF4-FFF2-40B4-BE49-F238E27FC236}">
                <a16:creationId xmlns:a16="http://schemas.microsoft.com/office/drawing/2014/main" id="{17583194-0CA5-FA9F-6E4C-EF8A2E8983D7}"/>
              </a:ext>
            </a:extLst>
          </p:cNvPr>
          <p:cNvSpPr txBox="1"/>
          <p:nvPr/>
        </p:nvSpPr>
        <p:spPr>
          <a:xfrm>
            <a:off x="5738180" y="2389077"/>
            <a:ext cx="3692027" cy="950260"/>
          </a:xfrm>
          <a:prstGeom prst="rect">
            <a:avLst/>
          </a:prstGeom>
          <a:noFill/>
        </p:spPr>
        <p:txBody>
          <a:bodyPr wrap="square" lIns="0" tIns="0" rIns="0" bIns="0" rtlCol="0" anchor="t" anchorCtr="0">
            <a:spAutoFit/>
          </a:bodyPr>
          <a:lstStyle/>
          <a:p>
            <a:pPr defTabSz="472393"/>
            <a:r>
              <a:rPr lang="cs-CZ" sz="2000" b="1">
                <a:latin typeface="Calibri" panose="020F0502020204030204" pitchFamily="34" charset="0"/>
                <a:cs typeface="Calibri" panose="020F0502020204030204" pitchFamily="34" charset="0"/>
              </a:rPr>
              <a:t>10. září</a:t>
            </a:r>
          </a:p>
          <a:p>
            <a:pPr defTabSz="472393"/>
            <a:r>
              <a:rPr lang="cs-CZ" sz="2000">
                <a:latin typeface="Calibri" panose="020F0502020204030204" pitchFamily="34" charset="0"/>
                <a:cs typeface="Calibri" panose="020F0502020204030204" pitchFamily="34" charset="0"/>
              </a:rPr>
              <a:t>Projednání RP na vládním Výboru pro Evropskou unii</a:t>
            </a:r>
          </a:p>
        </p:txBody>
      </p:sp>
      <p:sp>
        <p:nvSpPr>
          <p:cNvPr id="8" name="TextovéPole 7">
            <a:extLst>
              <a:ext uri="{FF2B5EF4-FFF2-40B4-BE49-F238E27FC236}">
                <a16:creationId xmlns:a16="http://schemas.microsoft.com/office/drawing/2014/main" id="{5EE641D7-C10B-AA0D-EB7A-C6C5CCD641F3}"/>
              </a:ext>
            </a:extLst>
          </p:cNvPr>
          <p:cNvSpPr txBox="1"/>
          <p:nvPr/>
        </p:nvSpPr>
        <p:spPr>
          <a:xfrm>
            <a:off x="5732097" y="3503477"/>
            <a:ext cx="3913449" cy="950260"/>
          </a:xfrm>
          <a:prstGeom prst="rect">
            <a:avLst/>
          </a:prstGeom>
          <a:noFill/>
        </p:spPr>
        <p:txBody>
          <a:bodyPr wrap="square" lIns="0" tIns="0" rIns="0" bIns="0" rtlCol="0" anchor="t" anchorCtr="0">
            <a:spAutoFit/>
          </a:bodyPr>
          <a:lstStyle/>
          <a:p>
            <a:pPr defTabSz="472393"/>
            <a:r>
              <a:rPr lang="cs-CZ" sz="2000" b="1">
                <a:cs typeface="Arial"/>
              </a:rPr>
              <a:t>15. - 16. září</a:t>
            </a:r>
          </a:p>
          <a:p>
            <a:pPr defTabSz="472393"/>
            <a:r>
              <a:rPr lang="cs-CZ" sz="2000">
                <a:cs typeface="Arial" panose="020B0604020202020204" pitchFamily="34" charset="0"/>
              </a:rPr>
              <a:t>Jednání PM s komisařem </a:t>
            </a:r>
            <a:r>
              <a:rPr lang="cs-CZ" sz="2000" err="1">
                <a:cs typeface="Arial" panose="020B0604020202020204" pitchFamily="34" charset="0"/>
              </a:rPr>
              <a:t>Fittem</a:t>
            </a:r>
            <a:endParaRPr lang="cs-CZ" sz="2000">
              <a:cs typeface="Arial" panose="020B0604020202020204" pitchFamily="34" charset="0"/>
            </a:endParaRPr>
          </a:p>
          <a:p>
            <a:pPr defTabSz="472393"/>
            <a:r>
              <a:rPr lang="cs-CZ" sz="2000">
                <a:cs typeface="Arial" panose="020B0604020202020204" pitchFamily="34" charset="0"/>
              </a:rPr>
              <a:t>Setkání PM se zástupci EU institucí</a:t>
            </a:r>
          </a:p>
        </p:txBody>
      </p:sp>
      <p:sp>
        <p:nvSpPr>
          <p:cNvPr id="10" name="Ovál 9">
            <a:extLst>
              <a:ext uri="{FF2B5EF4-FFF2-40B4-BE49-F238E27FC236}">
                <a16:creationId xmlns:a16="http://schemas.microsoft.com/office/drawing/2014/main" id="{978DAAFB-F112-CE89-6AD6-EC9DBB18ED46}"/>
              </a:ext>
            </a:extLst>
          </p:cNvPr>
          <p:cNvSpPr/>
          <p:nvPr/>
        </p:nvSpPr>
        <p:spPr>
          <a:xfrm>
            <a:off x="4862704" y="4555050"/>
            <a:ext cx="272467" cy="272467"/>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72393"/>
            <a:endParaRPr lang="cs-CZ" sz="1363">
              <a:solidFill>
                <a:prstClr val="white"/>
              </a:solidFill>
              <a:latin typeface="Calibri"/>
            </a:endParaRPr>
          </a:p>
        </p:txBody>
      </p:sp>
      <p:cxnSp>
        <p:nvCxnSpPr>
          <p:cNvPr id="12" name="Spojnice: pravoúhlá 11">
            <a:extLst>
              <a:ext uri="{FF2B5EF4-FFF2-40B4-BE49-F238E27FC236}">
                <a16:creationId xmlns:a16="http://schemas.microsoft.com/office/drawing/2014/main" id="{C4926B1D-CEE6-8A75-ECA2-5AEA3F0C4695}"/>
              </a:ext>
            </a:extLst>
          </p:cNvPr>
          <p:cNvCxnSpPr>
            <a:cxnSpLocks/>
          </p:cNvCxnSpPr>
          <p:nvPr/>
        </p:nvCxnSpPr>
        <p:spPr>
          <a:xfrm flipV="1">
            <a:off x="673487" y="2552536"/>
            <a:ext cx="4083506" cy="288910"/>
          </a:xfrm>
          <a:prstGeom prst="bentConnector3">
            <a:avLst>
              <a:gd name="adj1" fmla="val 9088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Ovál 10">
            <a:extLst>
              <a:ext uri="{FF2B5EF4-FFF2-40B4-BE49-F238E27FC236}">
                <a16:creationId xmlns:a16="http://schemas.microsoft.com/office/drawing/2014/main" id="{FD0B7820-9B35-216A-171E-117813A8A59F}"/>
              </a:ext>
            </a:extLst>
          </p:cNvPr>
          <p:cNvSpPr/>
          <p:nvPr/>
        </p:nvSpPr>
        <p:spPr>
          <a:xfrm>
            <a:off x="4862704" y="5107493"/>
            <a:ext cx="272467" cy="272467"/>
          </a:xfrm>
          <a:prstGeom prst="ellipse">
            <a:avLst/>
          </a:prstGeom>
          <a:solidFill>
            <a:srgbClr val="69A8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72393"/>
            <a:endParaRPr lang="cs-CZ" sz="1363">
              <a:solidFill>
                <a:schemeClr val="tx2"/>
              </a:solidFill>
              <a:latin typeface="Calibri"/>
            </a:endParaRPr>
          </a:p>
        </p:txBody>
      </p:sp>
      <p:cxnSp>
        <p:nvCxnSpPr>
          <p:cNvPr id="15" name="Spojnice: pravoúhlá 14">
            <a:extLst>
              <a:ext uri="{FF2B5EF4-FFF2-40B4-BE49-F238E27FC236}">
                <a16:creationId xmlns:a16="http://schemas.microsoft.com/office/drawing/2014/main" id="{E31F018D-B968-5DCA-B4CB-92DAF022C97E}"/>
              </a:ext>
            </a:extLst>
          </p:cNvPr>
          <p:cNvCxnSpPr>
            <a:cxnSpLocks/>
          </p:cNvCxnSpPr>
          <p:nvPr/>
        </p:nvCxnSpPr>
        <p:spPr>
          <a:xfrm rot="10800000">
            <a:off x="5256885" y="5289448"/>
            <a:ext cx="4083505" cy="288910"/>
          </a:xfrm>
          <a:prstGeom prst="bentConnector3">
            <a:avLst>
              <a:gd name="adj1" fmla="val 90881"/>
            </a:avLst>
          </a:prstGeom>
          <a:ln w="19050">
            <a:solidFill>
              <a:srgbClr val="69A8AB"/>
            </a:solidFill>
          </a:ln>
        </p:spPr>
        <p:style>
          <a:lnRef idx="1">
            <a:schemeClr val="accent1"/>
          </a:lnRef>
          <a:fillRef idx="0">
            <a:schemeClr val="accent1"/>
          </a:fillRef>
          <a:effectRef idx="0">
            <a:schemeClr val="accent1"/>
          </a:effectRef>
          <a:fontRef idx="minor">
            <a:schemeClr val="tx1"/>
          </a:fontRef>
        </p:style>
      </p:cxnSp>
      <p:sp>
        <p:nvSpPr>
          <p:cNvPr id="16" name="TextovéPole 15">
            <a:extLst>
              <a:ext uri="{FF2B5EF4-FFF2-40B4-BE49-F238E27FC236}">
                <a16:creationId xmlns:a16="http://schemas.microsoft.com/office/drawing/2014/main" id="{5A8F35C2-2E59-4C56-A2B1-9BCD8138E69B}"/>
              </a:ext>
            </a:extLst>
          </p:cNvPr>
          <p:cNvSpPr txBox="1"/>
          <p:nvPr/>
        </p:nvSpPr>
        <p:spPr>
          <a:xfrm>
            <a:off x="5738180" y="4632363"/>
            <a:ext cx="3913449" cy="950260"/>
          </a:xfrm>
          <a:prstGeom prst="rect">
            <a:avLst/>
          </a:prstGeom>
          <a:noFill/>
        </p:spPr>
        <p:txBody>
          <a:bodyPr wrap="square" lIns="0" tIns="0" rIns="0" bIns="0" rtlCol="0" anchor="t" anchorCtr="0">
            <a:spAutoFit/>
          </a:bodyPr>
          <a:lstStyle/>
          <a:p>
            <a:pPr defTabSz="472393"/>
            <a:r>
              <a:rPr lang="cs-CZ" sz="2000" b="1">
                <a:latin typeface="Calibri" panose="020F0502020204030204" pitchFamily="34" charset="0"/>
                <a:cs typeface="Calibri" panose="020F0502020204030204" pitchFamily="34" charset="0"/>
              </a:rPr>
              <a:t>30. července 2026</a:t>
            </a:r>
          </a:p>
          <a:p>
            <a:pPr defTabSz="472393"/>
            <a:r>
              <a:rPr lang="cs-CZ" sz="2000">
                <a:latin typeface="Calibri" panose="020F0502020204030204" pitchFamily="34" charset="0"/>
                <a:cs typeface="Calibri" panose="020F0502020204030204" pitchFamily="34" charset="0"/>
              </a:rPr>
              <a:t>Strategický rámec PS 28+</a:t>
            </a:r>
          </a:p>
          <a:p>
            <a:pPr defTabSz="472393"/>
            <a:r>
              <a:rPr lang="cs-CZ" sz="2000">
                <a:latin typeface="Calibri" panose="020F0502020204030204" pitchFamily="34" charset="0"/>
                <a:cs typeface="Calibri" panose="020F0502020204030204" pitchFamily="34" charset="0"/>
              </a:rPr>
              <a:t>Koncepce JNR 28+</a:t>
            </a:r>
          </a:p>
        </p:txBody>
      </p:sp>
      <p:sp>
        <p:nvSpPr>
          <p:cNvPr id="13" name="Ovál 12">
            <a:extLst>
              <a:ext uri="{FF2B5EF4-FFF2-40B4-BE49-F238E27FC236}">
                <a16:creationId xmlns:a16="http://schemas.microsoft.com/office/drawing/2014/main" id="{01CD84C7-16F7-E3B8-6290-A96378663245}"/>
              </a:ext>
            </a:extLst>
          </p:cNvPr>
          <p:cNvSpPr/>
          <p:nvPr/>
        </p:nvSpPr>
        <p:spPr>
          <a:xfrm>
            <a:off x="4862704" y="2347675"/>
            <a:ext cx="272467" cy="272467"/>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72393"/>
            <a:endParaRPr lang="cs-CZ" sz="1363">
              <a:solidFill>
                <a:prstClr val="white"/>
              </a:solidFill>
              <a:latin typeface="Calibri"/>
            </a:endParaRPr>
          </a:p>
        </p:txBody>
      </p:sp>
      <p:cxnSp>
        <p:nvCxnSpPr>
          <p:cNvPr id="14" name="Spojnice: pravoúhlá 13">
            <a:extLst>
              <a:ext uri="{FF2B5EF4-FFF2-40B4-BE49-F238E27FC236}">
                <a16:creationId xmlns:a16="http://schemas.microsoft.com/office/drawing/2014/main" id="{9B9AC7AE-E273-40F9-D419-AACEDA1EE705}"/>
              </a:ext>
            </a:extLst>
          </p:cNvPr>
          <p:cNvCxnSpPr>
            <a:cxnSpLocks/>
          </p:cNvCxnSpPr>
          <p:nvPr/>
        </p:nvCxnSpPr>
        <p:spPr>
          <a:xfrm flipV="1">
            <a:off x="688199" y="4744549"/>
            <a:ext cx="4083506" cy="288910"/>
          </a:xfrm>
          <a:prstGeom prst="bentConnector3">
            <a:avLst>
              <a:gd name="adj1" fmla="val 9088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extovéPole 16">
            <a:extLst>
              <a:ext uri="{FF2B5EF4-FFF2-40B4-BE49-F238E27FC236}">
                <a16:creationId xmlns:a16="http://schemas.microsoft.com/office/drawing/2014/main" id="{016B061A-E2B0-AEE4-4A35-DC3C95303B9F}"/>
              </a:ext>
            </a:extLst>
          </p:cNvPr>
          <p:cNvSpPr txBox="1"/>
          <p:nvPr/>
        </p:nvSpPr>
        <p:spPr>
          <a:xfrm>
            <a:off x="688199" y="2191268"/>
            <a:ext cx="3543907" cy="657872"/>
          </a:xfrm>
          <a:prstGeom prst="rect">
            <a:avLst/>
          </a:prstGeom>
          <a:noFill/>
        </p:spPr>
        <p:txBody>
          <a:bodyPr wrap="square" lIns="0" tIns="0" rIns="0" bIns="0" rtlCol="0">
            <a:spAutoFit/>
          </a:bodyPr>
          <a:lstStyle/>
          <a:p>
            <a:pPr defTabSz="472393"/>
            <a:r>
              <a:rPr lang="cs-CZ" sz="2275" b="1">
                <a:latin typeface="Calibri" panose="020F0502020204030204" pitchFamily="34" charset="0"/>
                <a:cs typeface="Calibri" panose="020F0502020204030204" pitchFamily="34" charset="0"/>
              </a:rPr>
              <a:t>13. srpna </a:t>
            </a:r>
          </a:p>
          <a:p>
            <a:pPr defTabSz="472393"/>
            <a:r>
              <a:rPr lang="cs-CZ" sz="2000">
                <a:latin typeface="Calibri" panose="020F0502020204030204" pitchFamily="34" charset="0"/>
                <a:cs typeface="Calibri" panose="020F0502020204030204" pitchFamily="34" charset="0"/>
              </a:rPr>
              <a:t>PS Koheze 2028+</a:t>
            </a:r>
          </a:p>
        </p:txBody>
      </p:sp>
    </p:spTree>
    <p:extLst>
      <p:ext uri="{BB962C8B-B14F-4D97-AF65-F5344CB8AC3E}">
        <p14:creationId xmlns:p14="http://schemas.microsoft.com/office/powerpoint/2010/main" val="10373865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32E0A-A734-E130-8007-689BF47F0647}"/>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E1EBD9E5-E06E-D49E-3DDF-4D8BAABDD716}"/>
              </a:ext>
            </a:extLst>
          </p:cNvPr>
          <p:cNvSpPr>
            <a:spLocks noGrp="1"/>
          </p:cNvSpPr>
          <p:nvPr>
            <p:ph type="title"/>
          </p:nvPr>
        </p:nvSpPr>
        <p:spPr/>
        <p:txBody>
          <a:bodyPr lIns="91440" tIns="45720" rIns="91440" bIns="45720" anchor="t">
            <a:normAutofit fontScale="90000"/>
          </a:bodyPr>
          <a:lstStyle/>
          <a:p>
            <a:pPr marL="283845" indent="-283845">
              <a:lnSpc>
                <a:spcPct val="110000"/>
              </a:lnSpc>
            </a:pPr>
            <a:r>
              <a:rPr lang="cs-CZ" sz="3600">
                <a:solidFill>
                  <a:srgbClr val="0C4CA3"/>
                </a:solidFill>
                <a:cs typeface="Calibri"/>
              </a:rPr>
              <a:t>Územní dimenze u Evropského fondu - obecně</a:t>
            </a:r>
            <a:endParaRPr lang="en-US"/>
          </a:p>
        </p:txBody>
      </p:sp>
      <p:sp>
        <p:nvSpPr>
          <p:cNvPr id="3" name="Zástupný obsah 2">
            <a:extLst>
              <a:ext uri="{FF2B5EF4-FFF2-40B4-BE49-F238E27FC236}">
                <a16:creationId xmlns:a16="http://schemas.microsoft.com/office/drawing/2014/main" id="{8DC16CD9-7870-3020-45B6-48E584B24FE3}"/>
              </a:ext>
            </a:extLst>
          </p:cNvPr>
          <p:cNvSpPr>
            <a:spLocks noGrp="1"/>
          </p:cNvSpPr>
          <p:nvPr>
            <p:ph idx="1"/>
          </p:nvPr>
        </p:nvSpPr>
        <p:spPr>
          <a:xfrm>
            <a:off x="495300" y="1421094"/>
            <a:ext cx="8915400" cy="4525963"/>
          </a:xfrm>
        </p:spPr>
        <p:txBody>
          <a:bodyPr/>
          <a:lstStyle/>
          <a:p>
            <a:pPr marL="278606" indent="-278606">
              <a:lnSpc>
                <a:spcPct val="107000"/>
              </a:lnSpc>
              <a:spcAft>
                <a:spcPts val="650"/>
              </a:spcAft>
              <a:buFont typeface="+mj-lt"/>
              <a:buAutoNum type="arabicPeriod"/>
              <a:tabLst>
                <a:tab pos="371475" algn="l"/>
              </a:tabLst>
            </a:pPr>
            <a:r>
              <a:rPr lang="cs-CZ" sz="2400" b="1" kern="100">
                <a:ea typeface="Aptos" panose="020B0004020202020204" pitchFamily="34" charset="0"/>
                <a:cs typeface="Times New Roman" panose="02020603050405020304" pitchFamily="18" charset="0"/>
              </a:rPr>
              <a:t>Městské oblasti</a:t>
            </a:r>
            <a:r>
              <a:rPr lang="cs-CZ" sz="2400" kern="100">
                <a:ea typeface="Aptos" panose="020B0004020202020204" pitchFamily="34" charset="0"/>
                <a:cs typeface="Times New Roman" panose="02020603050405020304" pitchFamily="18" charset="0"/>
              </a:rPr>
              <a:t> – zaměření na inovace, digitalizaci, mobilitu, energetickou účinnost.</a:t>
            </a:r>
          </a:p>
          <a:p>
            <a:pPr marL="278606" indent="-278606">
              <a:lnSpc>
                <a:spcPct val="107000"/>
              </a:lnSpc>
              <a:spcAft>
                <a:spcPts val="650"/>
              </a:spcAft>
              <a:buFont typeface="+mj-lt"/>
              <a:buAutoNum type="arabicPeriod"/>
              <a:tabLst>
                <a:tab pos="371475" algn="l"/>
              </a:tabLst>
            </a:pPr>
            <a:r>
              <a:rPr lang="cs-CZ" sz="2400" b="1" kern="100">
                <a:ea typeface="Aptos" panose="020B0004020202020204" pitchFamily="34" charset="0"/>
                <a:cs typeface="Times New Roman" panose="02020603050405020304" pitchFamily="18" charset="0"/>
              </a:rPr>
              <a:t>Venkovské regiony</a:t>
            </a:r>
            <a:r>
              <a:rPr lang="cs-CZ" sz="2400" kern="100">
                <a:ea typeface="Aptos" panose="020B0004020202020204" pitchFamily="34" charset="0"/>
                <a:cs typeface="Times New Roman" panose="02020603050405020304" pitchFamily="18" charset="0"/>
              </a:rPr>
              <a:t> – obnova vesnic, podpora mladých zemědělců, dostupnost služeb a infrastruktury.</a:t>
            </a:r>
          </a:p>
          <a:p>
            <a:pPr marL="278606" indent="-278606">
              <a:lnSpc>
                <a:spcPct val="107000"/>
              </a:lnSpc>
              <a:spcAft>
                <a:spcPts val="650"/>
              </a:spcAft>
              <a:buFont typeface="+mj-lt"/>
              <a:buAutoNum type="arabicPeriod"/>
              <a:tabLst>
                <a:tab pos="371475" algn="l"/>
              </a:tabLst>
            </a:pPr>
            <a:r>
              <a:rPr lang="cs-CZ" sz="2400" kern="100">
                <a:ea typeface="Aptos" panose="020B0004020202020204" pitchFamily="34" charset="0"/>
                <a:cs typeface="Times New Roman" panose="02020603050405020304" pitchFamily="18" charset="0"/>
              </a:rPr>
              <a:t>Pobřežní a rybářské oblasti – rozvoj modré ekonomiky, udržitelné hospodaření s mořskými zdroji.</a:t>
            </a:r>
          </a:p>
          <a:p>
            <a:pPr marL="278606" indent="-278606">
              <a:lnSpc>
                <a:spcPct val="107000"/>
              </a:lnSpc>
              <a:spcAft>
                <a:spcPts val="650"/>
              </a:spcAft>
              <a:buFont typeface="+mj-lt"/>
              <a:buAutoNum type="arabicPeriod"/>
              <a:tabLst>
                <a:tab pos="371475" algn="l"/>
              </a:tabLst>
            </a:pPr>
            <a:r>
              <a:rPr lang="cs-CZ" sz="2400" b="1" kern="100">
                <a:ea typeface="Aptos" panose="020B0004020202020204" pitchFamily="34" charset="0"/>
                <a:cs typeface="Times New Roman" panose="02020603050405020304" pitchFamily="18" charset="0"/>
              </a:rPr>
              <a:t>Nejvíce zaostávající regiony</a:t>
            </a:r>
            <a:r>
              <a:rPr lang="cs-CZ" sz="2400" kern="100">
                <a:ea typeface="Aptos" panose="020B0004020202020204" pitchFamily="34" charset="0"/>
                <a:cs typeface="Times New Roman" panose="02020603050405020304" pitchFamily="18" charset="0"/>
              </a:rPr>
              <a:t> – cílená podpora na základě socio-ekonomických ukazatelů (HDP pod 75 % průměru EU).</a:t>
            </a:r>
          </a:p>
          <a:p>
            <a:pPr marL="278606" indent="-278606">
              <a:lnSpc>
                <a:spcPct val="107000"/>
              </a:lnSpc>
              <a:spcAft>
                <a:spcPts val="650"/>
              </a:spcAft>
              <a:buFont typeface="+mj-lt"/>
              <a:buAutoNum type="arabicPeriod"/>
              <a:tabLst>
                <a:tab pos="371475" algn="l"/>
              </a:tabLst>
            </a:pPr>
            <a:r>
              <a:rPr lang="cs-CZ" sz="2400" b="1" kern="100">
                <a:ea typeface="Aptos" panose="020B0004020202020204" pitchFamily="34" charset="0"/>
                <a:cs typeface="Times New Roman" panose="02020603050405020304" pitchFamily="18" charset="0"/>
              </a:rPr>
              <a:t>Pohraniční regiony</a:t>
            </a:r>
            <a:r>
              <a:rPr lang="cs-CZ" sz="2400" kern="100">
                <a:ea typeface="Aptos" panose="020B0004020202020204" pitchFamily="34" charset="0"/>
                <a:cs typeface="Times New Roman" panose="02020603050405020304" pitchFamily="18" charset="0"/>
              </a:rPr>
              <a:t> – zvláštní důraz na přeshraniční spolupráci (</a:t>
            </a:r>
            <a:r>
              <a:rPr lang="cs-CZ" sz="2400" kern="100" err="1">
                <a:ea typeface="Aptos" panose="020B0004020202020204" pitchFamily="34" charset="0"/>
                <a:cs typeface="Times New Roman" panose="02020603050405020304" pitchFamily="18" charset="0"/>
              </a:rPr>
              <a:t>Interreg</a:t>
            </a:r>
            <a:r>
              <a:rPr lang="cs-CZ" sz="2400" kern="100">
                <a:ea typeface="Aptos" panose="020B0004020202020204" pitchFamily="34" charset="0"/>
                <a:cs typeface="Times New Roman" panose="02020603050405020304" pitchFamily="18" charset="0"/>
              </a:rPr>
              <a:t>).</a:t>
            </a:r>
          </a:p>
        </p:txBody>
      </p:sp>
    </p:spTree>
    <p:extLst>
      <p:ext uri="{BB962C8B-B14F-4D97-AF65-F5344CB8AC3E}">
        <p14:creationId xmlns:p14="http://schemas.microsoft.com/office/powerpoint/2010/main" val="3489710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ADC2B-400E-7126-6F0F-AF0BD68693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6C55F8-DB3C-05C3-12A9-9E4F7C127941}"/>
              </a:ext>
            </a:extLst>
          </p:cNvPr>
          <p:cNvSpPr>
            <a:spLocks noGrp="1"/>
          </p:cNvSpPr>
          <p:nvPr>
            <p:ph type="title"/>
          </p:nvPr>
        </p:nvSpPr>
        <p:spPr>
          <a:xfrm>
            <a:off x="739644" y="1690870"/>
            <a:ext cx="8915400" cy="1143000"/>
          </a:xfrm>
        </p:spPr>
        <p:txBody>
          <a:bodyPr lIns="91440" tIns="45720" rIns="91440" bIns="45720" anchor="t">
            <a:noAutofit/>
          </a:bodyPr>
          <a:lstStyle/>
          <a:p>
            <a:r>
              <a:rPr lang="cs-CZ" sz="4400">
                <a:cs typeface="Calibri"/>
              </a:rPr>
              <a:t>Aktuální informace</a:t>
            </a:r>
            <a:endParaRPr lang="en-US" sz="4400">
              <a:ea typeface="Calibri"/>
              <a:cs typeface="Calibri"/>
            </a:endParaRPr>
          </a:p>
        </p:txBody>
      </p:sp>
    </p:spTree>
    <p:extLst>
      <p:ext uri="{BB962C8B-B14F-4D97-AF65-F5344CB8AC3E}">
        <p14:creationId xmlns:p14="http://schemas.microsoft.com/office/powerpoint/2010/main" val="21593306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48C77-2010-7F42-CCAB-412502219D14}"/>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6C551801-BBCC-30C3-6880-508AD1614D24}"/>
              </a:ext>
            </a:extLst>
          </p:cNvPr>
          <p:cNvSpPr>
            <a:spLocks noGrp="1"/>
          </p:cNvSpPr>
          <p:nvPr>
            <p:ph type="title"/>
          </p:nvPr>
        </p:nvSpPr>
        <p:spPr>
          <a:xfrm>
            <a:off x="495300" y="312351"/>
            <a:ext cx="9186028" cy="903765"/>
          </a:xfrm>
        </p:spPr>
        <p:txBody>
          <a:bodyPr>
            <a:normAutofit fontScale="90000"/>
          </a:bodyPr>
          <a:lstStyle/>
          <a:p>
            <a:pPr marL="284163" indent="-284163">
              <a:lnSpc>
                <a:spcPct val="110000"/>
              </a:lnSpc>
            </a:pPr>
            <a:r>
              <a:rPr lang="cs-CZ" sz="3600">
                <a:solidFill>
                  <a:srgbClr val="0C4CA3"/>
                </a:solidFill>
                <a:cs typeface="Calibri"/>
              </a:rPr>
              <a:t>Čl. 75 </a:t>
            </a:r>
            <a:r>
              <a:rPr lang="en-US" sz="3600">
                <a:solidFill>
                  <a:srgbClr val="0C4CA3"/>
                </a:solidFill>
                <a:cs typeface="Calibri"/>
              </a:rPr>
              <a:t>Integrated territorial and urban development</a:t>
            </a:r>
          </a:p>
        </p:txBody>
      </p:sp>
      <p:sp>
        <p:nvSpPr>
          <p:cNvPr id="3" name="Zástupný obsah 2">
            <a:extLst>
              <a:ext uri="{FF2B5EF4-FFF2-40B4-BE49-F238E27FC236}">
                <a16:creationId xmlns:a16="http://schemas.microsoft.com/office/drawing/2014/main" id="{59F8A1BB-2605-7222-1A00-EDFD5B04343F}"/>
              </a:ext>
            </a:extLst>
          </p:cNvPr>
          <p:cNvSpPr>
            <a:spLocks noGrp="1"/>
          </p:cNvSpPr>
          <p:nvPr>
            <p:ph idx="1"/>
          </p:nvPr>
        </p:nvSpPr>
        <p:spPr>
          <a:xfrm>
            <a:off x="495300" y="1462362"/>
            <a:ext cx="8915400" cy="4504805"/>
          </a:xfrm>
        </p:spPr>
        <p:txBody>
          <a:bodyPr/>
          <a:lstStyle/>
          <a:p>
            <a:pPr marL="0" indent="0">
              <a:buNone/>
            </a:pPr>
            <a:r>
              <a:rPr lang="cs-CZ" sz="2000"/>
              <a:t>Podpora se zakládá na </a:t>
            </a:r>
            <a:r>
              <a:rPr lang="cs-CZ" sz="2000" b="1"/>
              <a:t>integrovaných strategiích </a:t>
            </a:r>
            <a:r>
              <a:rPr lang="cs-CZ" sz="2000"/>
              <a:t>územního rozvoje, vč. rozvoje vedeného místní komunitou, zaměřeného na </a:t>
            </a:r>
          </a:p>
          <a:p>
            <a:pPr lvl="1"/>
            <a:r>
              <a:rPr lang="cs-CZ" sz="1800" b="1"/>
              <a:t>městské oblasti</a:t>
            </a:r>
            <a:r>
              <a:rPr lang="cs-CZ" sz="1800"/>
              <a:t>, </a:t>
            </a:r>
            <a:r>
              <a:rPr lang="cs-CZ" sz="1800" b="1"/>
              <a:t>venkovské oblasti</a:t>
            </a:r>
            <a:r>
              <a:rPr lang="cs-CZ" sz="1800"/>
              <a:t>, ostrovy, pobřežní oblasti nebo jiná vhodná území, jakož i na </a:t>
            </a:r>
            <a:r>
              <a:rPr lang="cs-CZ" sz="1800" b="1"/>
              <a:t>strategie inteligentní specializace</a:t>
            </a:r>
            <a:r>
              <a:rPr lang="cs-CZ" sz="1800"/>
              <a:t>, </a:t>
            </a:r>
            <a:r>
              <a:rPr lang="cs-CZ" sz="1800" b="1"/>
              <a:t>spravedlivé územní transformace </a:t>
            </a:r>
            <a:r>
              <a:rPr lang="cs-CZ" sz="1800"/>
              <a:t>nebo </a:t>
            </a:r>
            <a:r>
              <a:rPr lang="cs-CZ" sz="1800" b="1"/>
              <a:t>dekarbonizační strategie </a:t>
            </a:r>
          </a:p>
          <a:p>
            <a:pPr marL="0" indent="0">
              <a:buNone/>
            </a:pPr>
            <a:r>
              <a:rPr lang="cs-CZ" sz="2000"/>
              <a:t>přičemž se případně </a:t>
            </a:r>
            <a:r>
              <a:rPr lang="cs-CZ" sz="2000" b="1"/>
              <a:t>zohlední funkční území </a:t>
            </a:r>
            <a:r>
              <a:rPr lang="cs-CZ" sz="2000"/>
              <a:t>a </a:t>
            </a:r>
            <a:r>
              <a:rPr lang="cs-CZ" sz="2000" b="1"/>
              <a:t>přístup založený na místních specifikách</a:t>
            </a:r>
            <a:r>
              <a:rPr lang="cs-CZ" sz="2000"/>
              <a:t>. Odpovídající milníky a cíle se stanoví v Partnerském plánu.</a:t>
            </a:r>
          </a:p>
          <a:p>
            <a:pPr marL="0" indent="0">
              <a:buNone/>
            </a:pPr>
            <a:r>
              <a:rPr lang="cs-CZ" sz="2000" b="1"/>
              <a:t>Integrované strategie územního a městského rozvoje</a:t>
            </a:r>
            <a:r>
              <a:rPr lang="cs-CZ" sz="2000"/>
              <a:t> musí:</a:t>
            </a:r>
          </a:p>
          <a:p>
            <a:pPr lvl="1"/>
            <a:r>
              <a:rPr lang="cs-CZ" sz="2000"/>
              <a:t>přispívat k cílům stanoveným v článcích 2 a 3</a:t>
            </a:r>
          </a:p>
          <a:p>
            <a:pPr lvl="1"/>
            <a:r>
              <a:rPr lang="cs-CZ" sz="2000"/>
              <a:t>vymezit geografickou oblast a populaci</a:t>
            </a:r>
          </a:p>
          <a:p>
            <a:pPr lvl="1"/>
            <a:r>
              <a:rPr lang="cs-CZ" sz="2000"/>
              <a:t>obsahovat analýzu rozvojových potřeb a integrovaný přístup k jejich řešení</a:t>
            </a:r>
          </a:p>
          <a:p>
            <a:pPr lvl="1"/>
            <a:r>
              <a:rPr lang="cs-CZ" sz="2000"/>
              <a:t>stanovit měřitelné cíle</a:t>
            </a:r>
          </a:p>
          <a:p>
            <a:pPr lvl="1"/>
            <a:r>
              <a:rPr lang="cs-CZ" sz="2000"/>
              <a:t>zapojit partnery do přípravy a realizace</a:t>
            </a:r>
          </a:p>
          <a:p>
            <a:pPr marL="0" indent="0">
              <a:buNone/>
            </a:pPr>
            <a:endParaRPr lang="cs-CZ" sz="2000"/>
          </a:p>
        </p:txBody>
      </p:sp>
    </p:spTree>
    <p:extLst>
      <p:ext uri="{BB962C8B-B14F-4D97-AF65-F5344CB8AC3E}">
        <p14:creationId xmlns:p14="http://schemas.microsoft.com/office/powerpoint/2010/main" val="36603896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A2F45-19AB-DF86-F188-5DDD3795B7B5}"/>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8C19BDAB-6B3C-7633-17CF-F5AF5D54E8B0}"/>
              </a:ext>
            </a:extLst>
          </p:cNvPr>
          <p:cNvSpPr>
            <a:spLocks noGrp="1"/>
          </p:cNvSpPr>
          <p:nvPr>
            <p:ph type="title"/>
          </p:nvPr>
        </p:nvSpPr>
        <p:spPr/>
        <p:txBody>
          <a:bodyPr>
            <a:normAutofit/>
          </a:bodyPr>
          <a:lstStyle/>
          <a:p>
            <a:pPr marL="284163" indent="-284163">
              <a:lnSpc>
                <a:spcPct val="110000"/>
              </a:lnSpc>
            </a:pPr>
            <a:r>
              <a:rPr lang="en-US" sz="3200" err="1">
                <a:solidFill>
                  <a:srgbClr val="0C4CA3"/>
                </a:solidFill>
                <a:cs typeface="Calibri"/>
              </a:rPr>
              <a:t>Čl</a:t>
            </a:r>
            <a:r>
              <a:rPr lang="en-US" sz="3200">
                <a:solidFill>
                  <a:srgbClr val="0C4CA3"/>
                </a:solidFill>
                <a:cs typeface="Calibri"/>
              </a:rPr>
              <a:t>. 76 Community-led local development</a:t>
            </a:r>
          </a:p>
        </p:txBody>
      </p:sp>
      <p:sp>
        <p:nvSpPr>
          <p:cNvPr id="3" name="Zástupný obsah 2">
            <a:extLst>
              <a:ext uri="{FF2B5EF4-FFF2-40B4-BE49-F238E27FC236}">
                <a16:creationId xmlns:a16="http://schemas.microsoft.com/office/drawing/2014/main" id="{87C30DA6-5D2B-94F4-60A2-43B4AC4C6E88}"/>
              </a:ext>
            </a:extLst>
          </p:cNvPr>
          <p:cNvSpPr>
            <a:spLocks noGrp="1"/>
          </p:cNvSpPr>
          <p:nvPr>
            <p:ph idx="1"/>
          </p:nvPr>
        </p:nvSpPr>
        <p:spPr>
          <a:xfrm>
            <a:off x="495300" y="1449375"/>
            <a:ext cx="8915400" cy="4525963"/>
          </a:xfrm>
        </p:spPr>
        <p:txBody>
          <a:bodyPr/>
          <a:lstStyle/>
          <a:p>
            <a:pPr marL="0" indent="0">
              <a:buNone/>
            </a:pPr>
            <a:r>
              <a:rPr lang="cs-CZ" sz="2800" b="1"/>
              <a:t>Rozvoj vedený místní komunitou (CLLD):</a:t>
            </a:r>
          </a:p>
          <a:p>
            <a:pPr lvl="1"/>
            <a:r>
              <a:rPr lang="cs-CZ" sz="2000"/>
              <a:t>zaměřen na </a:t>
            </a:r>
            <a:r>
              <a:rPr lang="cs-CZ" sz="2000" err="1"/>
              <a:t>subregionální</a:t>
            </a:r>
            <a:r>
              <a:rPr lang="cs-CZ" sz="2000"/>
              <a:t>, </a:t>
            </a:r>
            <a:r>
              <a:rPr lang="cs-CZ" sz="2000" b="1"/>
              <a:t>venkovské</a:t>
            </a:r>
            <a:r>
              <a:rPr lang="cs-CZ" sz="2000"/>
              <a:t> a pobřežní </a:t>
            </a:r>
            <a:r>
              <a:rPr lang="cs-CZ" sz="2000" b="1"/>
              <a:t>oblasti</a:t>
            </a:r>
          </a:p>
          <a:p>
            <a:pPr lvl="1"/>
            <a:r>
              <a:rPr lang="cs-CZ" sz="2000"/>
              <a:t>realizován místními akčními skupinami složenými z veřejných i soukromých subjektů</a:t>
            </a:r>
          </a:p>
          <a:p>
            <a:pPr lvl="1"/>
            <a:r>
              <a:rPr lang="cs-CZ" sz="2000"/>
              <a:t>podporuje inovace, spolupráci a síťování s dalšími územními aktéry</a:t>
            </a:r>
          </a:p>
          <a:p>
            <a:pPr marL="0" indent="0">
              <a:buNone/>
            </a:pPr>
            <a:r>
              <a:rPr lang="cs-CZ" sz="2000" b="1"/>
              <a:t>Podpora zahrnuje:</a:t>
            </a:r>
          </a:p>
          <a:p>
            <a:pPr lvl="1"/>
            <a:r>
              <a:rPr lang="cs-CZ" sz="2000"/>
              <a:t>Budování kapacit a přípravné činnosti na podporu návrhu strategie</a:t>
            </a:r>
          </a:p>
          <a:p>
            <a:pPr lvl="1"/>
            <a:r>
              <a:rPr lang="cs-CZ" sz="2000"/>
              <a:t>Přípravu a realizace operací</a:t>
            </a:r>
          </a:p>
          <a:p>
            <a:pPr lvl="1"/>
            <a:r>
              <a:rPr lang="cs-CZ" sz="2000"/>
              <a:t>Řízení, monitorování a hodnocení strategií</a:t>
            </a:r>
          </a:p>
          <a:p>
            <a:pPr marL="60981" indent="0">
              <a:buNone/>
            </a:pPr>
            <a:r>
              <a:rPr lang="cs-CZ" sz="2000"/>
              <a:t>Podpora prostřednictvím LEADER </a:t>
            </a:r>
            <a:r>
              <a:rPr lang="cs-CZ" sz="2400"/>
              <a:t>(</a:t>
            </a:r>
            <a:r>
              <a:rPr lang="cs-CZ" sz="2000"/>
              <a:t>čl. 77)</a:t>
            </a:r>
          </a:p>
        </p:txBody>
      </p:sp>
    </p:spTree>
    <p:extLst>
      <p:ext uri="{BB962C8B-B14F-4D97-AF65-F5344CB8AC3E}">
        <p14:creationId xmlns:p14="http://schemas.microsoft.com/office/powerpoint/2010/main" val="26026836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F5805B3-5B15-E864-D247-B4A49359902A}"/>
              </a:ext>
            </a:extLst>
          </p:cNvPr>
          <p:cNvSpPr>
            <a:spLocks noGrp="1"/>
          </p:cNvSpPr>
          <p:nvPr>
            <p:ph type="title"/>
          </p:nvPr>
        </p:nvSpPr>
        <p:spPr>
          <a:xfrm>
            <a:off x="495300" y="1681235"/>
            <a:ext cx="8915400" cy="1314009"/>
          </a:xfrm>
        </p:spPr>
        <p:txBody>
          <a:bodyPr>
            <a:noAutofit/>
          </a:bodyPr>
          <a:lstStyle/>
          <a:p>
            <a:r>
              <a:rPr lang="cs-CZ" sz="4400"/>
              <a:t>Evropský fond pro konkurenceschopnost</a:t>
            </a:r>
            <a:endParaRPr lang="en-US" sz="4400"/>
          </a:p>
        </p:txBody>
      </p:sp>
    </p:spTree>
    <p:extLst>
      <p:ext uri="{BB962C8B-B14F-4D97-AF65-F5344CB8AC3E}">
        <p14:creationId xmlns:p14="http://schemas.microsoft.com/office/powerpoint/2010/main" val="40373070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60E5BA2B-230C-25A0-C4AF-BFF1C57C8893}"/>
              </a:ext>
            </a:extLst>
          </p:cNvPr>
          <p:cNvSpPr>
            <a:spLocks noGrp="1"/>
          </p:cNvSpPr>
          <p:nvPr>
            <p:ph type="title"/>
          </p:nvPr>
        </p:nvSpPr>
        <p:spPr/>
        <p:txBody>
          <a:bodyPr>
            <a:normAutofit fontScale="90000"/>
          </a:bodyPr>
          <a:lstStyle/>
          <a:p>
            <a:r>
              <a:rPr lang="cs-CZ" sz="3600"/>
              <a:t>Evropský fond pro konkurenceschopnost (ECF)</a:t>
            </a:r>
          </a:p>
        </p:txBody>
      </p:sp>
      <p:sp>
        <p:nvSpPr>
          <p:cNvPr id="4" name="Zástupný obsah 3">
            <a:extLst>
              <a:ext uri="{FF2B5EF4-FFF2-40B4-BE49-F238E27FC236}">
                <a16:creationId xmlns:a16="http://schemas.microsoft.com/office/drawing/2014/main" id="{2267AEAB-BF1D-4DD5-8D0A-2F1F3C663494}"/>
              </a:ext>
            </a:extLst>
          </p:cNvPr>
          <p:cNvSpPr>
            <a:spLocks noGrp="1"/>
          </p:cNvSpPr>
          <p:nvPr>
            <p:ph idx="1"/>
          </p:nvPr>
        </p:nvSpPr>
        <p:spPr>
          <a:xfrm>
            <a:off x="367808" y="1590327"/>
            <a:ext cx="4823415" cy="3677345"/>
          </a:xfrm>
        </p:spPr>
        <p:txBody>
          <a:bodyPr/>
          <a:lstStyle/>
          <a:p>
            <a:pPr marL="0" indent="0">
              <a:lnSpc>
                <a:spcPct val="107000"/>
              </a:lnSpc>
              <a:spcAft>
                <a:spcPts val="650"/>
              </a:spcAft>
              <a:buNone/>
            </a:pPr>
            <a:r>
              <a:rPr lang="cs-CZ" sz="1800" b="1">
                <a:solidFill>
                  <a:srgbClr val="034EA2"/>
                </a:solidFill>
                <a:latin typeface="+mj-lt"/>
                <a:ea typeface="+mj-ea"/>
                <a:cs typeface="+mj-cs"/>
              </a:rPr>
              <a:t>Proč ECF vzniká</a:t>
            </a:r>
          </a:p>
          <a:p>
            <a:pPr marL="278606" indent="-278606">
              <a:lnSpc>
                <a:spcPct val="107000"/>
              </a:lnSpc>
              <a:spcAft>
                <a:spcPts val="650"/>
              </a:spcAft>
              <a:buSzPts val="1000"/>
              <a:buFont typeface="Symbol" panose="05050102010706020507" pitchFamily="18" charset="2"/>
              <a:buChar char=""/>
              <a:tabLst>
                <a:tab pos="371475" algn="l"/>
              </a:tabLst>
            </a:pPr>
            <a:r>
              <a:rPr lang="cs-CZ" sz="1600" kern="100">
                <a:ea typeface="Aptos" panose="020B0004020202020204" pitchFamily="34" charset="0"/>
                <a:cs typeface="Times New Roman" panose="02020603050405020304" pitchFamily="18" charset="0"/>
              </a:rPr>
              <a:t>Fragmentace současného financování – 14 programů </a:t>
            </a:r>
            <a:br>
              <a:rPr lang="cs-CZ" sz="1600" kern="100">
                <a:ea typeface="Aptos" panose="020B0004020202020204" pitchFamily="34" charset="0"/>
                <a:cs typeface="Times New Roman" panose="02020603050405020304" pitchFamily="18" charset="0"/>
              </a:rPr>
            </a:br>
            <a:r>
              <a:rPr lang="cs-CZ" sz="1600" kern="100">
                <a:ea typeface="Aptos" panose="020B0004020202020204" pitchFamily="34" charset="0"/>
                <a:cs typeface="Times New Roman" panose="02020603050405020304" pitchFamily="18" charset="0"/>
              </a:rPr>
              <a:t>s různými pravidly.</a:t>
            </a:r>
          </a:p>
          <a:p>
            <a:pPr marL="278606" indent="-278606">
              <a:lnSpc>
                <a:spcPct val="107000"/>
              </a:lnSpc>
              <a:spcAft>
                <a:spcPts val="650"/>
              </a:spcAft>
              <a:buSzPts val="1000"/>
              <a:buFont typeface="Symbol" panose="05050102010706020507" pitchFamily="18" charset="2"/>
              <a:buChar char=""/>
              <a:tabLst>
                <a:tab pos="371475" algn="l"/>
              </a:tabLst>
            </a:pPr>
            <a:r>
              <a:rPr lang="cs-CZ" sz="1600" kern="100">
                <a:ea typeface="Aptos" panose="020B0004020202020204" pitchFamily="34" charset="0"/>
                <a:cs typeface="Times New Roman" panose="02020603050405020304" pitchFamily="18" charset="0"/>
              </a:rPr>
              <a:t>Zaostávání EU v oblasti inovací, infrastruktury, průmyslu.</a:t>
            </a:r>
          </a:p>
          <a:p>
            <a:pPr marL="278606" indent="-278606">
              <a:lnSpc>
                <a:spcPct val="107000"/>
              </a:lnSpc>
              <a:spcAft>
                <a:spcPts val="650"/>
              </a:spcAft>
              <a:buSzPts val="1000"/>
              <a:buFont typeface="Symbol" panose="05050102010706020507" pitchFamily="18" charset="2"/>
              <a:buChar char=""/>
              <a:tabLst>
                <a:tab pos="371475" algn="l"/>
              </a:tabLst>
            </a:pPr>
            <a:r>
              <a:rPr lang="cs-CZ" sz="1600" kern="100">
                <a:ea typeface="Aptos" panose="020B0004020202020204" pitchFamily="34" charset="0"/>
                <a:cs typeface="Times New Roman" panose="02020603050405020304" pitchFamily="18" charset="0"/>
              </a:rPr>
              <a:t>Potřeba strategické autonomie a snížení závislosti na externích zdrojích.</a:t>
            </a:r>
          </a:p>
          <a:p>
            <a:pPr marL="0" indent="0">
              <a:lnSpc>
                <a:spcPct val="107000"/>
              </a:lnSpc>
              <a:spcAft>
                <a:spcPts val="650"/>
              </a:spcAft>
              <a:buNone/>
            </a:pPr>
            <a:r>
              <a:rPr lang="cs-CZ" sz="1800" b="1">
                <a:solidFill>
                  <a:srgbClr val="034EA2"/>
                </a:solidFill>
                <a:latin typeface="+mj-lt"/>
                <a:ea typeface="+mj-ea"/>
                <a:cs typeface="+mj-cs"/>
              </a:rPr>
              <a:t>Hlavní cíle fondu</a:t>
            </a:r>
          </a:p>
          <a:p>
            <a:pPr marL="278606" indent="-278606">
              <a:lnSpc>
                <a:spcPct val="107000"/>
              </a:lnSpc>
              <a:spcAft>
                <a:spcPts val="650"/>
              </a:spcAft>
              <a:buSzPts val="1000"/>
              <a:buFont typeface="Symbol" panose="05050102010706020507" pitchFamily="18" charset="2"/>
              <a:buChar char=""/>
              <a:tabLst>
                <a:tab pos="371475" algn="l"/>
              </a:tabLst>
            </a:pPr>
            <a:r>
              <a:rPr lang="cs-CZ" sz="1600" kern="100">
                <a:ea typeface="Aptos" panose="020B0004020202020204" pitchFamily="34" charset="0"/>
                <a:cs typeface="Times New Roman" panose="02020603050405020304" pitchFamily="18" charset="0"/>
              </a:rPr>
              <a:t>Podpora výzkumu, inovací, výroby, infrastruktury.</a:t>
            </a:r>
          </a:p>
          <a:p>
            <a:pPr marL="278606" indent="-278606">
              <a:lnSpc>
                <a:spcPct val="107000"/>
              </a:lnSpc>
              <a:spcAft>
                <a:spcPts val="650"/>
              </a:spcAft>
              <a:buSzPts val="1000"/>
              <a:buFont typeface="Symbol" panose="05050102010706020507" pitchFamily="18" charset="2"/>
              <a:buChar char=""/>
              <a:tabLst>
                <a:tab pos="371475" algn="l"/>
              </a:tabLst>
            </a:pPr>
            <a:r>
              <a:rPr lang="cs-CZ" sz="1600" kern="100">
                <a:ea typeface="Aptos" panose="020B0004020202020204" pitchFamily="34" charset="0"/>
                <a:cs typeface="Times New Roman" panose="02020603050405020304" pitchFamily="18" charset="0"/>
              </a:rPr>
              <a:t>Zjednodušení a koordinace financování.</a:t>
            </a:r>
          </a:p>
          <a:p>
            <a:pPr marL="278606" indent="-278606">
              <a:lnSpc>
                <a:spcPct val="107000"/>
              </a:lnSpc>
              <a:spcAft>
                <a:spcPts val="650"/>
              </a:spcAft>
              <a:buSzPts val="1000"/>
              <a:buFont typeface="Symbol" panose="05050102010706020507" pitchFamily="18" charset="2"/>
              <a:buChar char=""/>
              <a:tabLst>
                <a:tab pos="371475" algn="l"/>
              </a:tabLst>
            </a:pPr>
            <a:r>
              <a:rPr lang="cs-CZ" sz="1600" kern="100">
                <a:ea typeface="Aptos" panose="020B0004020202020204" pitchFamily="34" charset="0"/>
                <a:cs typeface="Times New Roman" panose="02020603050405020304" pitchFamily="18" charset="0"/>
              </a:rPr>
              <a:t>Mobilizace soukromých a veřejných investic.</a:t>
            </a:r>
          </a:p>
          <a:p>
            <a:pPr marL="278606" indent="-278606">
              <a:lnSpc>
                <a:spcPct val="107000"/>
              </a:lnSpc>
              <a:spcAft>
                <a:spcPts val="650"/>
              </a:spcAft>
              <a:buSzPts val="1000"/>
              <a:buFont typeface="Symbol" panose="05050102010706020507" pitchFamily="18" charset="2"/>
              <a:buChar char=""/>
              <a:tabLst>
                <a:tab pos="371475" algn="l"/>
              </a:tabLst>
            </a:pPr>
            <a:r>
              <a:rPr lang="cs-CZ" sz="1600" kern="100">
                <a:ea typeface="Aptos" panose="020B0004020202020204" pitchFamily="34" charset="0"/>
                <a:cs typeface="Times New Roman" panose="02020603050405020304" pitchFamily="18" charset="0"/>
              </a:rPr>
              <a:t>Posílení kapacit regionů a podniků.</a:t>
            </a:r>
          </a:p>
        </p:txBody>
      </p:sp>
      <p:sp>
        <p:nvSpPr>
          <p:cNvPr id="5" name="TextovéPole 4">
            <a:extLst>
              <a:ext uri="{FF2B5EF4-FFF2-40B4-BE49-F238E27FC236}">
                <a16:creationId xmlns:a16="http://schemas.microsoft.com/office/drawing/2014/main" id="{B7492F2F-5590-A958-B45F-3F220954874F}"/>
              </a:ext>
            </a:extLst>
          </p:cNvPr>
          <p:cNvSpPr txBox="1"/>
          <p:nvPr/>
        </p:nvSpPr>
        <p:spPr>
          <a:xfrm>
            <a:off x="5454061" y="1590327"/>
            <a:ext cx="3956639" cy="2580322"/>
          </a:xfrm>
          <a:prstGeom prst="rect">
            <a:avLst/>
          </a:prstGeom>
          <a:noFill/>
        </p:spPr>
        <p:txBody>
          <a:bodyPr wrap="square" rtlCol="0">
            <a:spAutoFit/>
          </a:bodyPr>
          <a:lstStyle/>
          <a:p>
            <a:pPr defTabSz="975695">
              <a:lnSpc>
                <a:spcPct val="107000"/>
              </a:lnSpc>
              <a:spcBef>
                <a:spcPct val="20000"/>
              </a:spcBef>
              <a:spcAft>
                <a:spcPts val="650"/>
              </a:spcAft>
            </a:pPr>
            <a:r>
              <a:rPr lang="cs-CZ" sz="1800" b="1">
                <a:solidFill>
                  <a:srgbClr val="034EA2"/>
                </a:solidFill>
                <a:latin typeface="+mj-lt"/>
                <a:ea typeface="+mj-ea"/>
                <a:cs typeface="+mj-cs"/>
              </a:rPr>
              <a:t>Tematické oblasti ECF</a:t>
            </a:r>
          </a:p>
          <a:p>
            <a:pPr marL="278606" indent="-278606">
              <a:lnSpc>
                <a:spcPct val="107000"/>
              </a:lnSpc>
              <a:spcAft>
                <a:spcPts val="650"/>
              </a:spcAft>
              <a:buFont typeface="+mj-lt"/>
              <a:buAutoNum type="arabicPeriod"/>
              <a:tabLst>
                <a:tab pos="371475" algn="l"/>
              </a:tabLst>
            </a:pPr>
            <a:r>
              <a:rPr lang="cs-CZ" sz="1600" kern="100">
                <a:ea typeface="Aptos" panose="020B0004020202020204" pitchFamily="34" charset="0"/>
                <a:cs typeface="Times New Roman" panose="02020603050405020304" pitchFamily="18" charset="0"/>
              </a:rPr>
              <a:t>Čistá transformace a průmyslová dekarbonizace</a:t>
            </a:r>
          </a:p>
          <a:p>
            <a:pPr marL="278606" indent="-278606">
              <a:lnSpc>
                <a:spcPct val="107000"/>
              </a:lnSpc>
              <a:spcAft>
                <a:spcPts val="650"/>
              </a:spcAft>
              <a:buFont typeface="+mj-lt"/>
              <a:buAutoNum type="arabicPeriod"/>
              <a:tabLst>
                <a:tab pos="371475" algn="l"/>
              </a:tabLst>
            </a:pPr>
            <a:r>
              <a:rPr lang="cs-CZ" sz="1600" kern="100">
                <a:ea typeface="Aptos" panose="020B0004020202020204" pitchFamily="34" charset="0"/>
                <a:cs typeface="Times New Roman" panose="02020603050405020304" pitchFamily="18" charset="0"/>
              </a:rPr>
              <a:t>Zdraví, biotechnologie, zemědělství a </a:t>
            </a:r>
            <a:r>
              <a:rPr lang="cs-CZ" sz="1600" kern="100" err="1">
                <a:ea typeface="Aptos" panose="020B0004020202020204" pitchFamily="34" charset="0"/>
                <a:cs typeface="Times New Roman" panose="02020603050405020304" pitchFamily="18" charset="0"/>
              </a:rPr>
              <a:t>bioekonomika</a:t>
            </a:r>
            <a:endParaRPr lang="cs-CZ" sz="1600" kern="100">
              <a:ea typeface="Aptos" panose="020B0004020202020204" pitchFamily="34" charset="0"/>
              <a:cs typeface="Times New Roman" panose="02020603050405020304" pitchFamily="18" charset="0"/>
            </a:endParaRPr>
          </a:p>
          <a:p>
            <a:pPr marL="278606" indent="-278606">
              <a:lnSpc>
                <a:spcPct val="107000"/>
              </a:lnSpc>
              <a:spcAft>
                <a:spcPts val="650"/>
              </a:spcAft>
              <a:buFont typeface="+mj-lt"/>
              <a:buAutoNum type="arabicPeriod"/>
              <a:tabLst>
                <a:tab pos="371475" algn="l"/>
              </a:tabLst>
            </a:pPr>
            <a:r>
              <a:rPr lang="cs-CZ" sz="1600" kern="100">
                <a:ea typeface="Aptos" panose="020B0004020202020204" pitchFamily="34" charset="0"/>
                <a:cs typeface="Times New Roman" panose="02020603050405020304" pitchFamily="18" charset="0"/>
              </a:rPr>
              <a:t>Digitální vedení</a:t>
            </a:r>
          </a:p>
          <a:p>
            <a:pPr marL="278606" indent="-278606">
              <a:lnSpc>
                <a:spcPct val="107000"/>
              </a:lnSpc>
              <a:spcAft>
                <a:spcPts val="650"/>
              </a:spcAft>
              <a:buFont typeface="+mj-lt"/>
              <a:buAutoNum type="arabicPeriod"/>
              <a:tabLst>
                <a:tab pos="371475" algn="l"/>
              </a:tabLst>
            </a:pPr>
            <a:r>
              <a:rPr lang="cs-CZ" sz="1600" kern="100">
                <a:ea typeface="Aptos" panose="020B0004020202020204" pitchFamily="34" charset="0"/>
                <a:cs typeface="Times New Roman" panose="02020603050405020304" pitchFamily="18" charset="0"/>
              </a:rPr>
              <a:t>Odolnost, bezpečnost, obranný průmysl a vesmír</a:t>
            </a:r>
          </a:p>
        </p:txBody>
      </p:sp>
      <p:graphicFrame>
        <p:nvGraphicFramePr>
          <p:cNvPr id="8" name="Diagram 7">
            <a:extLst>
              <a:ext uri="{FF2B5EF4-FFF2-40B4-BE49-F238E27FC236}">
                <a16:creationId xmlns:a16="http://schemas.microsoft.com/office/drawing/2014/main" id="{496B1042-497C-1AA1-D1F2-D5AAF22A2F04}"/>
              </a:ext>
            </a:extLst>
          </p:cNvPr>
          <p:cNvGraphicFramePr/>
          <p:nvPr/>
        </p:nvGraphicFramePr>
        <p:xfrm>
          <a:off x="5454061" y="4254020"/>
          <a:ext cx="4368429" cy="10885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85572"/>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A19F515-F0B0-7EB4-1125-4787FB1E2CAC}"/>
              </a:ext>
            </a:extLst>
          </p:cNvPr>
          <p:cNvSpPr>
            <a:spLocks noGrp="1"/>
          </p:cNvSpPr>
          <p:nvPr>
            <p:ph type="title"/>
          </p:nvPr>
        </p:nvSpPr>
        <p:spPr/>
        <p:txBody>
          <a:bodyPr>
            <a:normAutofit/>
          </a:bodyPr>
          <a:lstStyle/>
          <a:p>
            <a:r>
              <a:rPr lang="cs-CZ" sz="3600"/>
              <a:t>ECF – možnosti pro české regiony</a:t>
            </a:r>
          </a:p>
        </p:txBody>
      </p:sp>
      <p:sp>
        <p:nvSpPr>
          <p:cNvPr id="3" name="Zástupný obsah 2">
            <a:extLst>
              <a:ext uri="{FF2B5EF4-FFF2-40B4-BE49-F238E27FC236}">
                <a16:creationId xmlns:a16="http://schemas.microsoft.com/office/drawing/2014/main" id="{236DD0DB-260C-189F-8B09-92C2282E5704}"/>
              </a:ext>
            </a:extLst>
          </p:cNvPr>
          <p:cNvSpPr>
            <a:spLocks noGrp="1"/>
          </p:cNvSpPr>
          <p:nvPr>
            <p:ph idx="1"/>
          </p:nvPr>
        </p:nvSpPr>
        <p:spPr>
          <a:xfrm>
            <a:off x="495300" y="2916837"/>
            <a:ext cx="8915400" cy="3257926"/>
          </a:xfrm>
        </p:spPr>
        <p:txBody>
          <a:bodyPr/>
          <a:lstStyle/>
          <a:p>
            <a:r>
              <a:rPr lang="cs-CZ" sz="2113" b="1"/>
              <a:t>Vývoj obranných technologií </a:t>
            </a:r>
          </a:p>
          <a:p>
            <a:pPr lvl="1"/>
            <a:r>
              <a:rPr lang="cs-CZ" sz="1795"/>
              <a:t>v regionech s technickými univerzitami (např. Pardubice, Brno, Ostrava)</a:t>
            </a:r>
          </a:p>
          <a:p>
            <a:r>
              <a:rPr lang="cs-CZ" sz="2113" b="1"/>
              <a:t>Zapojení regionálních firem </a:t>
            </a:r>
          </a:p>
          <a:p>
            <a:pPr lvl="1"/>
            <a:r>
              <a:rPr lang="cs-CZ" sz="1795"/>
              <a:t>do evropských hodnotových řetězců v oblasti bezpečnosti, vesmíru nebo digitálních technologií</a:t>
            </a:r>
          </a:p>
          <a:p>
            <a:r>
              <a:rPr lang="cs-CZ" sz="2113" b="1"/>
              <a:t>Rozvoj infrastruktury </a:t>
            </a:r>
          </a:p>
          <a:p>
            <a:pPr lvl="1"/>
            <a:r>
              <a:rPr lang="cs-CZ" sz="1795"/>
              <a:t>např. testovací centra, výrobní kapacity v méně rozvinutých regionech, které by jinak nebyly prioritní</a:t>
            </a:r>
          </a:p>
          <a:p>
            <a:endParaRPr lang="cs-CZ"/>
          </a:p>
        </p:txBody>
      </p:sp>
      <p:graphicFrame>
        <p:nvGraphicFramePr>
          <p:cNvPr id="4" name="Diagram 3">
            <a:extLst>
              <a:ext uri="{FF2B5EF4-FFF2-40B4-BE49-F238E27FC236}">
                <a16:creationId xmlns:a16="http://schemas.microsoft.com/office/drawing/2014/main" id="{C3EDB479-D7FA-A066-6E7A-059F0AA59811}"/>
              </a:ext>
            </a:extLst>
          </p:cNvPr>
          <p:cNvGraphicFramePr/>
          <p:nvPr>
            <p:extLst>
              <p:ext uri="{D42A27DB-BD31-4B8C-83A1-F6EECF244321}">
                <p14:modId xmlns:p14="http://schemas.microsoft.com/office/powerpoint/2010/main" val="2408001308"/>
              </p:ext>
            </p:extLst>
          </p:nvPr>
        </p:nvGraphicFramePr>
        <p:xfrm>
          <a:off x="5537571" y="1503368"/>
          <a:ext cx="4368429" cy="10885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760545540"/>
      </p:ext>
    </p:extLst>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580CEB0-D713-BB4F-37FB-3EB28E90AC5F}"/>
              </a:ext>
            </a:extLst>
          </p:cNvPr>
          <p:cNvSpPr>
            <a:spLocks noGrp="1"/>
          </p:cNvSpPr>
          <p:nvPr>
            <p:ph type="title"/>
          </p:nvPr>
        </p:nvSpPr>
        <p:spPr/>
        <p:txBody>
          <a:bodyPr>
            <a:normAutofit/>
          </a:bodyPr>
          <a:lstStyle/>
          <a:p>
            <a:r>
              <a:rPr lang="cs-CZ" sz="3600"/>
              <a:t>ECF: zhodnocení a postoj MMR-ORP</a:t>
            </a:r>
          </a:p>
        </p:txBody>
      </p:sp>
      <p:sp>
        <p:nvSpPr>
          <p:cNvPr id="3" name="Zástupný obsah 2">
            <a:extLst>
              <a:ext uri="{FF2B5EF4-FFF2-40B4-BE49-F238E27FC236}">
                <a16:creationId xmlns:a16="http://schemas.microsoft.com/office/drawing/2014/main" id="{8D37384D-9BCA-1C54-A3C3-081E02A7CAC0}"/>
              </a:ext>
            </a:extLst>
          </p:cNvPr>
          <p:cNvSpPr>
            <a:spLocks noGrp="1"/>
          </p:cNvSpPr>
          <p:nvPr>
            <p:ph idx="1"/>
          </p:nvPr>
        </p:nvSpPr>
        <p:spPr>
          <a:xfrm>
            <a:off x="495300" y="1394258"/>
            <a:ext cx="8915400" cy="4069483"/>
          </a:xfrm>
        </p:spPr>
        <p:txBody>
          <a:bodyPr/>
          <a:lstStyle/>
          <a:p>
            <a:r>
              <a:rPr lang="cs-CZ" sz="2000" b="1"/>
              <a:t>Klady</a:t>
            </a:r>
          </a:p>
          <a:p>
            <a:pPr lvl="1"/>
            <a:r>
              <a:rPr lang="cs-CZ" sz="1800"/>
              <a:t>Odkaz na základní principy Smlouvy (MRR, rozvoj potenciálu všech regionů); vazba na NRPP</a:t>
            </a:r>
          </a:p>
          <a:p>
            <a:r>
              <a:rPr lang="cs-CZ" sz="2000" b="1"/>
              <a:t>Není zřejmé</a:t>
            </a:r>
          </a:p>
          <a:p>
            <a:pPr lvl="1"/>
            <a:r>
              <a:rPr lang="cs-CZ" sz="1800"/>
              <a:t>Regionální obálky? – zmínka je, ale ne ve smyslu pro ECF, spíše to vypadá na jiné obálky </a:t>
            </a:r>
            <a:br>
              <a:rPr lang="cs-CZ" sz="1800"/>
            </a:br>
            <a:r>
              <a:rPr lang="cs-CZ" sz="1800"/>
              <a:t>v legislativě NRPP</a:t>
            </a:r>
          </a:p>
          <a:p>
            <a:pPr lvl="1"/>
            <a:r>
              <a:rPr lang="cs-CZ" sz="1800"/>
              <a:t>Pokud by byly „národní obálky“ – jak nastavit domácí intervence s cílem vyváženého rozvoje regionů?</a:t>
            </a:r>
          </a:p>
          <a:p>
            <a:r>
              <a:rPr lang="cs-CZ" sz="2000" b="1"/>
              <a:t>Klíčové body</a:t>
            </a:r>
          </a:p>
          <a:p>
            <a:pPr lvl="1"/>
            <a:r>
              <a:rPr lang="cs-CZ" sz="1800"/>
              <a:t>ECF – podpora silných území (řeč SRR – Metropolitní oblasti a Aglomerace)</a:t>
            </a:r>
          </a:p>
          <a:p>
            <a:pPr lvl="1"/>
            <a:r>
              <a:rPr lang="cs-CZ" sz="1800"/>
              <a:t>TIA – v návrhu se s tím nepracuje, ani nebyla zpracována; návrh neobsahuje ani prvky, které „umožnily“ šíření pozitivních trendů / úspěchu z jader do jeho zázemí</a:t>
            </a:r>
          </a:p>
          <a:p>
            <a:pPr lvl="1"/>
            <a:r>
              <a:rPr lang="cs-CZ" sz="1800"/>
              <a:t>Nereflektování veřejnoprávních, územních institucí</a:t>
            </a:r>
          </a:p>
          <a:p>
            <a:pPr lvl="1"/>
            <a:r>
              <a:rPr lang="cs-CZ" sz="1800" b="1"/>
              <a:t>Jak zajistit </a:t>
            </a:r>
            <a:r>
              <a:rPr lang="cs-CZ" sz="1800" b="1" err="1"/>
              <a:t>abkap</a:t>
            </a:r>
            <a:r>
              <a:rPr lang="cs-CZ" sz="1800" b="1"/>
              <a:t>. pro české projekty do ECF?</a:t>
            </a:r>
          </a:p>
        </p:txBody>
      </p:sp>
    </p:spTree>
    <p:extLst>
      <p:ext uri="{BB962C8B-B14F-4D97-AF65-F5344CB8AC3E}">
        <p14:creationId xmlns:p14="http://schemas.microsoft.com/office/powerpoint/2010/main" val="2776861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C7D5F-65BC-E115-4C50-1BEA5D74A6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9DAB11-7F1A-7D53-458B-B5E6F0389B8E}"/>
              </a:ext>
            </a:extLst>
          </p:cNvPr>
          <p:cNvSpPr>
            <a:spLocks noGrp="1"/>
          </p:cNvSpPr>
          <p:nvPr>
            <p:ph type="title"/>
          </p:nvPr>
        </p:nvSpPr>
        <p:spPr>
          <a:xfrm>
            <a:off x="495300" y="1000482"/>
            <a:ext cx="8915400" cy="2428518"/>
          </a:xfrm>
        </p:spPr>
        <p:txBody>
          <a:bodyPr lIns="91440" tIns="45720" rIns="91440" bIns="45720" anchor="t">
            <a:normAutofit/>
          </a:bodyPr>
          <a:lstStyle/>
          <a:p>
            <a:r>
              <a:rPr lang="cs-CZ" sz="4400">
                <a:ea typeface="Calibri"/>
                <a:cs typeface="Calibri"/>
              </a:rPr>
              <a:t>Růst chudších regionů: investice, motivace, efektivita samospráv a rozvoj služeb</a:t>
            </a:r>
            <a:endParaRPr lang="en-US" sz="4400">
              <a:ea typeface="Calibri"/>
              <a:cs typeface="Calibri"/>
            </a:endParaRPr>
          </a:p>
        </p:txBody>
      </p:sp>
    </p:spTree>
    <p:extLst>
      <p:ext uri="{BB962C8B-B14F-4D97-AF65-F5344CB8AC3E}">
        <p14:creationId xmlns:p14="http://schemas.microsoft.com/office/powerpoint/2010/main" val="25323887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3EED5E2-D213-3D57-0E04-F6EAEEBBF89A}"/>
              </a:ext>
            </a:extLst>
          </p:cNvPr>
          <p:cNvGraphicFramePr>
            <a:graphicFrameLocks noChangeAspect="1"/>
          </p:cNvGraphicFramePr>
          <p:nvPr>
            <p:custDataLst>
              <p:tags r:id="rId1"/>
            </p:custDataLst>
          </p:nvPr>
        </p:nvGraphicFramePr>
        <p:xfrm>
          <a:off x="1291" y="644228"/>
          <a:ext cx="1290" cy="1290"/>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think-cell data - do not delete" hidden="1">
                        <a:extLst>
                          <a:ext uri="{FF2B5EF4-FFF2-40B4-BE49-F238E27FC236}">
                            <a16:creationId xmlns:a16="http://schemas.microsoft.com/office/drawing/2014/main" id="{A3EED5E2-D213-3D57-0E04-F6EAEEBBF89A}"/>
                          </a:ext>
                        </a:extLst>
                      </p:cNvPr>
                      <p:cNvPicPr/>
                      <p:nvPr/>
                    </p:nvPicPr>
                    <p:blipFill>
                      <a:blip r:embed="rId5"/>
                      <a:stretch>
                        <a:fillRect/>
                      </a:stretch>
                    </p:blipFill>
                    <p:spPr>
                      <a:xfrm>
                        <a:off x="1291" y="644228"/>
                        <a:ext cx="1290" cy="1290"/>
                      </a:xfrm>
                      <a:prstGeom prst="rect">
                        <a:avLst/>
                      </a:prstGeom>
                    </p:spPr>
                  </p:pic>
                </p:oleObj>
              </mc:Fallback>
            </mc:AlternateContent>
          </a:graphicData>
        </a:graphic>
      </p:graphicFrame>
      <p:sp>
        <p:nvSpPr>
          <p:cNvPr id="247" name="Google Shape;247;p1"/>
          <p:cNvSpPr txBox="1">
            <a:spLocks noGrp="1"/>
          </p:cNvSpPr>
          <p:nvPr>
            <p:ph type="ctrTitle"/>
          </p:nvPr>
        </p:nvSpPr>
        <p:spPr>
          <a:xfrm>
            <a:off x="720450" y="1366818"/>
            <a:ext cx="3598567" cy="2283455"/>
          </a:xfrm>
          <a:noFill/>
          <a:ln>
            <a:noFill/>
          </a:ln>
        </p:spPr>
        <p:txBody>
          <a:bodyPr spcFirstLastPara="1" wrap="square" lIns="0" tIns="0" rIns="0" bIns="0" anchor="ctr" anchorCtr="0">
            <a:noAutofit/>
          </a:bodyPr>
          <a:lstStyle/>
          <a:p>
            <a:pPr lvl="0"/>
            <a:r>
              <a:rPr lang="cs-CZ"/>
              <a:t>NERV: Jak posílit prosperitu chudších regionů</a:t>
            </a:r>
          </a:p>
        </p:txBody>
      </p:sp>
      <p:sp>
        <p:nvSpPr>
          <p:cNvPr id="248" name="Google Shape;248;p1"/>
          <p:cNvSpPr txBox="1">
            <a:spLocks noGrp="1"/>
          </p:cNvSpPr>
          <p:nvPr>
            <p:ph type="body" idx="2"/>
          </p:nvPr>
        </p:nvSpPr>
        <p:spPr>
          <a:xfrm>
            <a:off x="549936" y="4963785"/>
            <a:ext cx="4184531" cy="351000"/>
          </a:xfrm>
          <a:noFill/>
          <a:ln>
            <a:noFill/>
          </a:ln>
        </p:spPr>
        <p:txBody>
          <a:bodyPr spcFirstLastPara="1" wrap="square" lIns="0" tIns="0" rIns="0" bIns="0" anchor="ctr" anchorCtr="0">
            <a:noAutofit/>
          </a:bodyPr>
          <a:lstStyle/>
          <a:p>
            <a:pPr lvl="0"/>
            <a:r>
              <a:rPr lang="cs-CZ"/>
              <a:t>Daniel Prokop</a:t>
            </a:r>
          </a:p>
        </p:txBody>
      </p:sp>
      <p:sp>
        <p:nvSpPr>
          <p:cNvPr id="249" name="Google Shape;249;p1"/>
          <p:cNvSpPr txBox="1">
            <a:spLocks noGrp="1"/>
          </p:cNvSpPr>
          <p:nvPr>
            <p:ph type="body" idx="3"/>
          </p:nvPr>
        </p:nvSpPr>
        <p:spPr>
          <a:xfrm>
            <a:off x="549936" y="5331678"/>
            <a:ext cx="4184531" cy="351000"/>
          </a:xfrm>
          <a:noFill/>
          <a:ln>
            <a:noFill/>
          </a:ln>
        </p:spPr>
        <p:txBody>
          <a:bodyPr spcFirstLastPara="1" wrap="square" lIns="0" tIns="0" rIns="0" bIns="0" anchor="ctr" anchorCtr="0">
            <a:normAutofit/>
          </a:bodyPr>
          <a:lstStyle/>
          <a:p>
            <a:pPr lvl="0"/>
            <a:r>
              <a:rPr lang="cs-CZ"/>
              <a:t>10.09.2025</a:t>
            </a:r>
          </a:p>
        </p:txBody>
      </p:sp>
      <p:pic>
        <p:nvPicPr>
          <p:cNvPr id="3" name="image1.jpg">
            <a:extLst>
              <a:ext uri="{FF2B5EF4-FFF2-40B4-BE49-F238E27FC236}">
                <a16:creationId xmlns:a16="http://schemas.microsoft.com/office/drawing/2014/main" id="{C3D83AE3-4AF7-6E2F-2D40-4DF861AD509B}"/>
              </a:ext>
            </a:extLst>
          </p:cNvPr>
          <p:cNvPicPr/>
          <p:nvPr/>
        </p:nvPicPr>
        <p:blipFill>
          <a:blip r:embed="rId6"/>
          <a:srcRect/>
          <a:stretch>
            <a:fillRect/>
          </a:stretch>
        </p:blipFill>
        <p:spPr>
          <a:xfrm>
            <a:off x="7432269" y="4312386"/>
            <a:ext cx="1603936" cy="1370292"/>
          </a:xfrm>
          <a:prstGeom prst="rect">
            <a:avLst/>
          </a:prstGeom>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453"/>
        <p:cNvGrpSpPr/>
        <p:nvPr/>
      </p:nvGrpSpPr>
      <p:grpSpPr>
        <a:xfrm>
          <a:off x="0" y="0"/>
          <a:ext cx="0" cy="0"/>
          <a:chOff x="0" y="0"/>
          <a:chExt cx="0" cy="0"/>
        </a:xfrm>
      </p:grpSpPr>
      <p:sp>
        <p:nvSpPr>
          <p:cNvPr id="2" name="TextovéPole 1">
            <a:extLst>
              <a:ext uri="{FF2B5EF4-FFF2-40B4-BE49-F238E27FC236}">
                <a16:creationId xmlns:a16="http://schemas.microsoft.com/office/drawing/2014/main" id="{63DB6991-0B21-F271-00B2-AC26DF24B29B}"/>
              </a:ext>
            </a:extLst>
          </p:cNvPr>
          <p:cNvSpPr txBox="1"/>
          <p:nvPr/>
        </p:nvSpPr>
        <p:spPr>
          <a:xfrm>
            <a:off x="3275607" y="5461778"/>
            <a:ext cx="6159650" cy="425629"/>
          </a:xfrm>
          <a:prstGeom prst="rect">
            <a:avLst/>
          </a:prstGeom>
          <a:noFill/>
        </p:spPr>
        <p:txBody>
          <a:bodyPr wrap="square" lIns="0">
            <a:spAutoFit/>
          </a:bodyPr>
          <a:lstStyle/>
          <a:p>
            <a:pPr defTabSz="990570">
              <a:buClr>
                <a:srgbClr val="7F7F7F"/>
              </a:buClr>
              <a:buSzPts val="1100"/>
            </a:pPr>
            <a:r>
              <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a:rPr>
              <a:t>Podobné země: Nevážený průměr Polska, Slovenska, Slovinska a Maďarska</a:t>
            </a:r>
            <a:endPar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endParaRPr>
          </a:p>
          <a:p>
            <a:pPr defTabSz="990570">
              <a:buClr>
                <a:srgbClr val="7F7F7F"/>
              </a:buClr>
              <a:buSzPts val="1100"/>
            </a:pPr>
            <a:r>
              <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a:rPr>
              <a:t>Zdroj: </a:t>
            </a:r>
            <a:r>
              <a:rPr lang="cs-CZ" sz="1083" i="1" kern="0" err="1">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a:rPr>
              <a:t>Eurostat</a:t>
            </a:r>
            <a:endPar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endParaRPr>
          </a:p>
        </p:txBody>
      </p:sp>
      <p:graphicFrame>
        <p:nvGraphicFramePr>
          <p:cNvPr id="7" name="think-cell data - do not delete" hidden="1">
            <a:extLst>
              <a:ext uri="{FF2B5EF4-FFF2-40B4-BE49-F238E27FC236}">
                <a16:creationId xmlns:a16="http://schemas.microsoft.com/office/drawing/2014/main" id="{26D8A56B-D28B-7C0C-06D8-3243BAFDB411}"/>
              </a:ext>
            </a:extLst>
          </p:cNvPr>
          <p:cNvGraphicFramePr>
            <a:graphicFrameLocks noChangeAspect="1"/>
          </p:cNvGraphicFramePr>
          <p:nvPr>
            <p:custDataLst>
              <p:tags r:id="rId1"/>
            </p:custDataLst>
          </p:nvPr>
        </p:nvGraphicFramePr>
        <p:xfrm>
          <a:off x="1291" y="644228"/>
          <a:ext cx="1290" cy="1290"/>
        </p:xfrm>
        <a:graphic>
          <a:graphicData uri="http://schemas.openxmlformats.org/presentationml/2006/ole">
            <mc:AlternateContent xmlns:mc="http://schemas.openxmlformats.org/markup-compatibility/2006">
              <mc:Choice xmlns:v="urn:schemas-microsoft-com:vml" Requires="v">
                <p:oleObj name="think-cell Slide" r:id="rId9" imgW="204" imgH="204" progId="TCLayout.ActiveDocument.1">
                  <p:embed/>
                </p:oleObj>
              </mc:Choice>
              <mc:Fallback>
                <p:oleObj name="think-cell Slide" r:id="rId9" imgW="204" imgH="204" progId="TCLayout.ActiveDocument.1">
                  <p:embed/>
                  <p:pic>
                    <p:nvPicPr>
                      <p:cNvPr id="7" name="think-cell data - do not delete" hidden="1">
                        <a:extLst>
                          <a:ext uri="{FF2B5EF4-FFF2-40B4-BE49-F238E27FC236}">
                            <a16:creationId xmlns:a16="http://schemas.microsoft.com/office/drawing/2014/main" id="{26D8A56B-D28B-7C0C-06D8-3243BAFDB411}"/>
                          </a:ext>
                        </a:extLst>
                      </p:cNvPr>
                      <p:cNvPicPr/>
                      <p:nvPr/>
                    </p:nvPicPr>
                    <p:blipFill>
                      <a:blip r:embed="rId10"/>
                      <a:stretch>
                        <a:fillRect/>
                      </a:stretch>
                    </p:blipFill>
                    <p:spPr>
                      <a:xfrm>
                        <a:off x="1291" y="644228"/>
                        <a:ext cx="1290" cy="1290"/>
                      </a:xfrm>
                      <a:prstGeom prst="rect">
                        <a:avLst/>
                      </a:prstGeom>
                    </p:spPr>
                  </p:pic>
                </p:oleObj>
              </mc:Fallback>
            </mc:AlternateContent>
          </a:graphicData>
        </a:graphic>
      </p:graphicFrame>
      <p:sp>
        <p:nvSpPr>
          <p:cNvPr id="455" name="Google Shape;455;p4"/>
          <p:cNvSpPr txBox="1">
            <a:spLocks noGrp="1"/>
          </p:cNvSpPr>
          <p:nvPr>
            <p:ph type="sldNum" idx="12"/>
          </p:nvPr>
        </p:nvSpPr>
        <p:spPr>
          <a:xfrm>
            <a:off x="7594600" y="700466"/>
            <a:ext cx="2228850" cy="296664"/>
          </a:xfrm>
          <a:prstGeom prst="rect">
            <a:avLst/>
          </a:prstGeom>
          <a:noFill/>
          <a:ln>
            <a:noFill/>
          </a:ln>
        </p:spPr>
        <p:txBody>
          <a:bodyPr spcFirstLastPara="1" wrap="square" lIns="74283" tIns="37131" rIns="74283" bIns="37131" anchor="t" anchorCtr="0">
            <a:noAutofit/>
          </a:bodyPr>
          <a:lstStyle/>
          <a:p>
            <a:pPr defTabSz="990570">
              <a:buClr>
                <a:srgbClr val="7F7F7F"/>
              </a:buClr>
            </a:pPr>
            <a:fld id="{00000000-1234-1234-1234-123412341234}" type="slidenum">
              <a:rPr lang="cs-CZ" b="0" kern="0">
                <a:solidFill>
                  <a:srgbClr val="7F7F7F"/>
                </a:solidFill>
              </a:rPr>
              <a:pPr defTabSz="990570">
                <a:buClr>
                  <a:srgbClr val="7F7F7F"/>
                </a:buClr>
              </a:pPr>
              <a:t>38</a:t>
            </a:fld>
            <a:endParaRPr b="0" kern="0">
              <a:solidFill>
                <a:srgbClr val="7F7F7F"/>
              </a:solidFill>
            </a:endParaRPr>
          </a:p>
        </p:txBody>
      </p:sp>
      <p:cxnSp>
        <p:nvCxnSpPr>
          <p:cNvPr id="39" name="Straight Connector 38">
            <a:extLst>
              <a:ext uri="{FF2B5EF4-FFF2-40B4-BE49-F238E27FC236}">
                <a16:creationId xmlns:a16="http://schemas.microsoft.com/office/drawing/2014/main" id="{06B2FFF2-0EF0-67A3-8EB0-9F4802E813EE}"/>
              </a:ext>
            </a:extLst>
          </p:cNvPr>
          <p:cNvCxnSpPr/>
          <p:nvPr>
            <p:custDataLst>
              <p:tags r:id="rId2"/>
            </p:custDataLst>
          </p:nvPr>
        </p:nvCxnSpPr>
        <p:spPr bwMode="auto">
          <a:xfrm>
            <a:off x="3493160" y="2751832"/>
            <a:ext cx="467052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57" name="Chart 456">
            <a:extLst>
              <a:ext uri="{FF2B5EF4-FFF2-40B4-BE49-F238E27FC236}">
                <a16:creationId xmlns:a16="http://schemas.microsoft.com/office/drawing/2014/main" id="{9CD9463F-54CA-58DD-41D3-E85D33AB5624}"/>
              </a:ext>
            </a:extLst>
          </p:cNvPr>
          <p:cNvGraphicFramePr/>
          <p:nvPr>
            <p:custDataLst>
              <p:tags r:id="rId3"/>
            </p:custDataLst>
          </p:nvPr>
        </p:nvGraphicFramePr>
        <p:xfrm>
          <a:off x="3275607" y="1415424"/>
          <a:ext cx="5431532" cy="4076035"/>
        </p:xfrm>
        <a:graphic>
          <a:graphicData uri="http://schemas.openxmlformats.org/drawingml/2006/chart">
            <c:chart xmlns:c="http://schemas.openxmlformats.org/drawingml/2006/chart" xmlns:r="http://schemas.openxmlformats.org/officeDocument/2006/relationships" r:id="rId11"/>
          </a:graphicData>
        </a:graphic>
      </p:graphicFrame>
      <p:sp>
        <p:nvSpPr>
          <p:cNvPr id="4" name="Google Shape;11;p29">
            <a:extLst>
              <a:ext uri="{FF2B5EF4-FFF2-40B4-BE49-F238E27FC236}">
                <a16:creationId xmlns:a16="http://schemas.microsoft.com/office/drawing/2014/main" id="{2CD9E8C4-D4EB-CC85-5BD2-6CA4F2262D06}"/>
              </a:ext>
            </a:extLst>
          </p:cNvPr>
          <p:cNvSpPr txBox="1">
            <a:spLocks noGrp="1"/>
          </p:cNvSpPr>
          <p:nvPr>
            <p:custDataLst>
              <p:tags r:id="rId4"/>
            </p:custDataLst>
          </p:nvPr>
        </p:nvSpPr>
        <p:spPr bwMode="auto">
          <a:xfrm>
            <a:off x="8497627" y="2034528"/>
            <a:ext cx="971253" cy="17283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L="457200" marR="0" lvl="0" indent="-228600" algn="l" rtl="0">
              <a:lnSpc>
                <a:spcPct val="100000"/>
              </a:lnSpc>
              <a:spcBef>
                <a:spcPts val="1000"/>
              </a:spcBef>
              <a:spcAft>
                <a:spcPts val="0"/>
              </a:spcAft>
              <a:buClr>
                <a:schemeClr val="dk1"/>
              </a:buClr>
              <a:buSzPts val="2000"/>
              <a:buFont typeface="Arial"/>
              <a:buNone/>
              <a:defRPr sz="2000" b="0" i="0" u="none" strike="noStrike" cap="none">
                <a:solidFill>
                  <a:schemeClr val="dk1"/>
                </a:solidFill>
                <a:latin typeface="Fira Sans"/>
                <a:ea typeface="Fira Sans"/>
                <a:cs typeface="Fira Sans"/>
                <a:sym typeface="Fira Sans"/>
              </a:defRPr>
            </a:lvl1pPr>
            <a:lvl2pPr marL="914400" marR="0" lvl="1" indent="-342900" algn="l" rtl="0">
              <a:lnSpc>
                <a:spcPct val="100000"/>
              </a:lnSpc>
              <a:spcBef>
                <a:spcPts val="500"/>
              </a:spcBef>
              <a:spcAft>
                <a:spcPts val="0"/>
              </a:spcAft>
              <a:buClr>
                <a:schemeClr val="accent1"/>
              </a:buClr>
              <a:buSzPts val="1800"/>
              <a:buFont typeface="Fira Sans"/>
              <a:buChar char="*"/>
              <a:defRPr sz="1800" b="0" i="0" u="none" strike="noStrike" cap="none">
                <a:solidFill>
                  <a:srgbClr val="595959"/>
                </a:solidFill>
                <a:latin typeface="Fira Sans"/>
                <a:ea typeface="Fira Sans"/>
                <a:cs typeface="Fira Sans"/>
                <a:sym typeface="Fira Sans"/>
              </a:defRPr>
            </a:lvl2pPr>
            <a:lvl3pPr marL="1371600" marR="0" lvl="2" indent="-330200" algn="l" rtl="0">
              <a:lnSpc>
                <a:spcPct val="100000"/>
              </a:lnSpc>
              <a:spcBef>
                <a:spcPts val="500"/>
              </a:spcBef>
              <a:spcAft>
                <a:spcPts val="0"/>
              </a:spcAft>
              <a:buClr>
                <a:schemeClr val="accent1"/>
              </a:buClr>
              <a:buSzPts val="1600"/>
              <a:buFont typeface="Fira Sans"/>
              <a:buChar char="*"/>
              <a:defRPr sz="1600" b="0" i="0" u="none" strike="noStrike" cap="none">
                <a:solidFill>
                  <a:srgbClr val="595959"/>
                </a:solidFill>
                <a:latin typeface="Fira Sans"/>
                <a:ea typeface="Fira Sans"/>
                <a:cs typeface="Fira Sans"/>
                <a:sym typeface="Fira Sans"/>
              </a:defRPr>
            </a:lvl3pPr>
            <a:lvl4pPr marL="1828800" marR="0" lvl="3" indent="-317500" algn="l" rtl="0">
              <a:lnSpc>
                <a:spcPct val="100000"/>
              </a:lnSpc>
              <a:spcBef>
                <a:spcPts val="500"/>
              </a:spcBef>
              <a:spcAft>
                <a:spcPts val="0"/>
              </a:spcAft>
              <a:buClr>
                <a:schemeClr val="accent1"/>
              </a:buClr>
              <a:buSzPts val="1400"/>
              <a:buFont typeface="Fira Sans"/>
              <a:buChar char="*"/>
              <a:defRPr sz="1400" b="0" i="0" u="none" strike="noStrike" cap="none">
                <a:solidFill>
                  <a:srgbClr val="595959"/>
                </a:solidFill>
                <a:latin typeface="Fira Sans"/>
                <a:ea typeface="Fira Sans"/>
                <a:cs typeface="Fira Sans"/>
                <a:sym typeface="Fira Sans"/>
              </a:defRPr>
            </a:lvl4pPr>
            <a:lvl5pPr marL="2286000" marR="0" lvl="4" indent="-317500" algn="l" rtl="0">
              <a:lnSpc>
                <a:spcPct val="100000"/>
              </a:lnSpc>
              <a:spcBef>
                <a:spcPts val="500"/>
              </a:spcBef>
              <a:spcAft>
                <a:spcPts val="0"/>
              </a:spcAft>
              <a:buClr>
                <a:schemeClr val="accent1"/>
              </a:buClr>
              <a:buSzPts val="1400"/>
              <a:buFont typeface="Fira Sans"/>
              <a:buChar char="*"/>
              <a:defRPr sz="1400" b="0" i="0" u="none" strike="noStrike" cap="none">
                <a:solidFill>
                  <a:srgbClr val="595959"/>
                </a:solidFill>
                <a:latin typeface="Fira Sans"/>
                <a:ea typeface="Fira Sans"/>
                <a:cs typeface="Fira Sans"/>
                <a:sym typeface="Fira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9pPr>
          </a:lstStyle>
          <a:p>
            <a:pPr marL="0" indent="0" defTabSz="990570">
              <a:spcBef>
                <a:spcPct val="0"/>
              </a:spcBef>
              <a:spcAft>
                <a:spcPct val="0"/>
              </a:spcAft>
              <a:buClr>
                <a:srgbClr val="2E2E2E"/>
              </a:buClr>
            </a:pPr>
            <a:fld id="{51C2B581-4EA0-488B-8CFC-54BBDF945923}" type="datetime'''Podo''b''''''n''''é'''' ''ze''''mě'''''''''''''''''''''''''">
              <a:rPr lang="en-GB" altLang="en-US" sz="1137" b="1">
                <a:solidFill>
                  <a:srgbClr val="386DFD">
                    <a:lumMod val="60000"/>
                    <a:lumOff val="40000"/>
                  </a:srgbClr>
                </a:solidFill>
                <a:latin typeface="Open Sans" panose="020B0606030504020204" pitchFamily="34" charset="0"/>
                <a:ea typeface="Open Sans" panose="020B0606030504020204" pitchFamily="34" charset="0"/>
                <a:cs typeface="Open Sans" panose="020B0606030504020204" pitchFamily="34" charset="0"/>
                <a:sym typeface="Fira Sans" panose="020B0503050000020004" pitchFamily="34" charset="0"/>
              </a:rPr>
              <a:pPr marL="0" indent="0" defTabSz="990570">
                <a:spcBef>
                  <a:spcPct val="0"/>
                </a:spcBef>
                <a:spcAft>
                  <a:spcPct val="0"/>
                </a:spcAft>
                <a:buClr>
                  <a:srgbClr val="2E2E2E"/>
                </a:buClr>
              </a:pPr>
              <a:t>Podobné země</a:t>
            </a:fld>
            <a:endParaRPr lang="en-GB" sz="1137" b="1">
              <a:solidFill>
                <a:srgbClr val="386DFD">
                  <a:lumMod val="60000"/>
                  <a:lumOff val="40000"/>
                </a:srgbClr>
              </a:solidFill>
              <a:latin typeface="Open Sans" panose="020B0606030504020204" pitchFamily="34" charset="0"/>
              <a:ea typeface="Open Sans" panose="020B0606030504020204" pitchFamily="34" charset="0"/>
              <a:cs typeface="Open Sans" panose="020B0606030504020204" pitchFamily="34" charset="0"/>
              <a:sym typeface="Fira Sans" panose="020B0503050000020004" pitchFamily="34" charset="0"/>
            </a:endParaRPr>
          </a:p>
        </p:txBody>
      </p:sp>
      <p:sp>
        <p:nvSpPr>
          <p:cNvPr id="5" name="Google Shape;11;p29">
            <a:extLst>
              <a:ext uri="{FF2B5EF4-FFF2-40B4-BE49-F238E27FC236}">
                <a16:creationId xmlns:a16="http://schemas.microsoft.com/office/drawing/2014/main" id="{ACE3D0CB-D1C5-F680-F9E4-DD02359D2FFD}"/>
              </a:ext>
            </a:extLst>
          </p:cNvPr>
          <p:cNvSpPr txBox="1">
            <a:spLocks noGrp="1"/>
          </p:cNvSpPr>
          <p:nvPr>
            <p:custDataLst>
              <p:tags r:id="rId5"/>
            </p:custDataLst>
          </p:nvPr>
        </p:nvSpPr>
        <p:spPr bwMode="auto">
          <a:xfrm>
            <a:off x="8497626" y="2673033"/>
            <a:ext cx="692647" cy="17283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L="457200" marR="0" lvl="0" indent="-228600" algn="l" rtl="0">
              <a:lnSpc>
                <a:spcPct val="100000"/>
              </a:lnSpc>
              <a:spcBef>
                <a:spcPts val="1000"/>
              </a:spcBef>
              <a:spcAft>
                <a:spcPts val="0"/>
              </a:spcAft>
              <a:buClr>
                <a:schemeClr val="dk1"/>
              </a:buClr>
              <a:buSzPts val="2000"/>
              <a:buFont typeface="Arial"/>
              <a:buNone/>
              <a:defRPr sz="2000" b="0" i="0" u="none" strike="noStrike" cap="none">
                <a:solidFill>
                  <a:schemeClr val="dk1"/>
                </a:solidFill>
                <a:latin typeface="Fira Sans"/>
                <a:ea typeface="Fira Sans"/>
                <a:cs typeface="Fira Sans"/>
                <a:sym typeface="Fira Sans"/>
              </a:defRPr>
            </a:lvl1pPr>
            <a:lvl2pPr marL="914400" marR="0" lvl="1" indent="-342900" algn="l" rtl="0">
              <a:lnSpc>
                <a:spcPct val="100000"/>
              </a:lnSpc>
              <a:spcBef>
                <a:spcPts val="500"/>
              </a:spcBef>
              <a:spcAft>
                <a:spcPts val="0"/>
              </a:spcAft>
              <a:buClr>
                <a:schemeClr val="accent1"/>
              </a:buClr>
              <a:buSzPts val="1800"/>
              <a:buFont typeface="Fira Sans"/>
              <a:buChar char="*"/>
              <a:defRPr sz="1800" b="0" i="0" u="none" strike="noStrike" cap="none">
                <a:solidFill>
                  <a:srgbClr val="595959"/>
                </a:solidFill>
                <a:latin typeface="Fira Sans"/>
                <a:ea typeface="Fira Sans"/>
                <a:cs typeface="Fira Sans"/>
                <a:sym typeface="Fira Sans"/>
              </a:defRPr>
            </a:lvl2pPr>
            <a:lvl3pPr marL="1371600" marR="0" lvl="2" indent="-330200" algn="l" rtl="0">
              <a:lnSpc>
                <a:spcPct val="100000"/>
              </a:lnSpc>
              <a:spcBef>
                <a:spcPts val="500"/>
              </a:spcBef>
              <a:spcAft>
                <a:spcPts val="0"/>
              </a:spcAft>
              <a:buClr>
                <a:schemeClr val="accent1"/>
              </a:buClr>
              <a:buSzPts val="1600"/>
              <a:buFont typeface="Fira Sans"/>
              <a:buChar char="*"/>
              <a:defRPr sz="1600" b="0" i="0" u="none" strike="noStrike" cap="none">
                <a:solidFill>
                  <a:srgbClr val="595959"/>
                </a:solidFill>
                <a:latin typeface="Fira Sans"/>
                <a:ea typeface="Fira Sans"/>
                <a:cs typeface="Fira Sans"/>
                <a:sym typeface="Fira Sans"/>
              </a:defRPr>
            </a:lvl3pPr>
            <a:lvl4pPr marL="1828800" marR="0" lvl="3" indent="-317500" algn="l" rtl="0">
              <a:lnSpc>
                <a:spcPct val="100000"/>
              </a:lnSpc>
              <a:spcBef>
                <a:spcPts val="500"/>
              </a:spcBef>
              <a:spcAft>
                <a:spcPts val="0"/>
              </a:spcAft>
              <a:buClr>
                <a:schemeClr val="accent1"/>
              </a:buClr>
              <a:buSzPts val="1400"/>
              <a:buFont typeface="Fira Sans"/>
              <a:buChar char="*"/>
              <a:defRPr sz="1400" b="0" i="0" u="none" strike="noStrike" cap="none">
                <a:solidFill>
                  <a:srgbClr val="595959"/>
                </a:solidFill>
                <a:latin typeface="Fira Sans"/>
                <a:ea typeface="Fira Sans"/>
                <a:cs typeface="Fira Sans"/>
                <a:sym typeface="Fira Sans"/>
              </a:defRPr>
            </a:lvl4pPr>
            <a:lvl5pPr marL="2286000" marR="0" lvl="4" indent="-317500" algn="l" rtl="0">
              <a:lnSpc>
                <a:spcPct val="100000"/>
              </a:lnSpc>
              <a:spcBef>
                <a:spcPts val="500"/>
              </a:spcBef>
              <a:spcAft>
                <a:spcPts val="0"/>
              </a:spcAft>
              <a:buClr>
                <a:schemeClr val="accent1"/>
              </a:buClr>
              <a:buSzPts val="1400"/>
              <a:buFont typeface="Fira Sans"/>
              <a:buChar char="*"/>
              <a:defRPr sz="1400" b="0" i="0" u="none" strike="noStrike" cap="none">
                <a:solidFill>
                  <a:srgbClr val="595959"/>
                </a:solidFill>
                <a:latin typeface="Fira Sans"/>
                <a:ea typeface="Fira Sans"/>
                <a:cs typeface="Fira Sans"/>
                <a:sym typeface="Fira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9pPr>
          </a:lstStyle>
          <a:p>
            <a:pPr marL="0" indent="0" defTabSz="990570">
              <a:spcBef>
                <a:spcPct val="0"/>
              </a:spcBef>
              <a:spcAft>
                <a:spcPct val="0"/>
              </a:spcAft>
              <a:buClr>
                <a:srgbClr val="2E2E2E"/>
              </a:buClr>
            </a:pPr>
            <a:fld id="{F60A934D-579A-4CD9-84E8-A7A5DD2C921A}" type="datetime'Prů''''m''''''''''''''''''''''ě''r'' ''''''E''''''''''U'''''">
              <a:rPr lang="en-GB" altLang="en-US" sz="1137" b="1">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panose="020B0503050000020004" pitchFamily="34" charset="0"/>
              </a:rPr>
              <a:pPr marL="0" indent="0" defTabSz="990570">
                <a:spcBef>
                  <a:spcPct val="0"/>
                </a:spcBef>
                <a:spcAft>
                  <a:spcPct val="0"/>
                </a:spcAft>
                <a:buClr>
                  <a:srgbClr val="2E2E2E"/>
                </a:buClr>
              </a:pPr>
              <a:t>Průměr EU</a:t>
            </a:fld>
            <a:endParaRPr lang="en-GB" sz="1137" b="1">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panose="020B0503050000020004" pitchFamily="34" charset="0"/>
            </a:endParaRPr>
          </a:p>
        </p:txBody>
      </p:sp>
      <p:sp>
        <p:nvSpPr>
          <p:cNvPr id="23" name="Google Shape;11;p29">
            <a:extLst>
              <a:ext uri="{FF2B5EF4-FFF2-40B4-BE49-F238E27FC236}">
                <a16:creationId xmlns:a16="http://schemas.microsoft.com/office/drawing/2014/main" id="{617EBF6F-7404-45FF-A075-98C72738C07F}"/>
              </a:ext>
            </a:extLst>
          </p:cNvPr>
          <p:cNvSpPr txBox="1">
            <a:spLocks noGrp="1"/>
          </p:cNvSpPr>
          <p:nvPr>
            <p:custDataLst>
              <p:tags r:id="rId6"/>
            </p:custDataLst>
          </p:nvPr>
        </p:nvSpPr>
        <p:spPr bwMode="auto">
          <a:xfrm>
            <a:off x="8522243" y="3112746"/>
            <a:ext cx="395982" cy="17283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L="457200" marR="0" lvl="0" indent="-228600" algn="l" rtl="0">
              <a:lnSpc>
                <a:spcPct val="100000"/>
              </a:lnSpc>
              <a:spcBef>
                <a:spcPts val="1000"/>
              </a:spcBef>
              <a:spcAft>
                <a:spcPts val="0"/>
              </a:spcAft>
              <a:buClr>
                <a:schemeClr val="dk1"/>
              </a:buClr>
              <a:buSzPts val="2000"/>
              <a:buFont typeface="Arial"/>
              <a:buNone/>
              <a:defRPr sz="2000" b="0" i="0" u="none" strike="noStrike" cap="none">
                <a:solidFill>
                  <a:schemeClr val="dk1"/>
                </a:solidFill>
                <a:latin typeface="Fira Sans"/>
                <a:ea typeface="Fira Sans"/>
                <a:cs typeface="Fira Sans"/>
                <a:sym typeface="Fira Sans"/>
              </a:defRPr>
            </a:lvl1pPr>
            <a:lvl2pPr marL="914400" marR="0" lvl="1" indent="-342900" algn="l" rtl="0">
              <a:lnSpc>
                <a:spcPct val="100000"/>
              </a:lnSpc>
              <a:spcBef>
                <a:spcPts val="500"/>
              </a:spcBef>
              <a:spcAft>
                <a:spcPts val="0"/>
              </a:spcAft>
              <a:buClr>
                <a:schemeClr val="accent1"/>
              </a:buClr>
              <a:buSzPts val="1800"/>
              <a:buFont typeface="Fira Sans"/>
              <a:buChar char="*"/>
              <a:defRPr sz="1800" b="0" i="0" u="none" strike="noStrike" cap="none">
                <a:solidFill>
                  <a:srgbClr val="595959"/>
                </a:solidFill>
                <a:latin typeface="Fira Sans"/>
                <a:ea typeface="Fira Sans"/>
                <a:cs typeface="Fira Sans"/>
                <a:sym typeface="Fira Sans"/>
              </a:defRPr>
            </a:lvl2pPr>
            <a:lvl3pPr marL="1371600" marR="0" lvl="2" indent="-330200" algn="l" rtl="0">
              <a:lnSpc>
                <a:spcPct val="100000"/>
              </a:lnSpc>
              <a:spcBef>
                <a:spcPts val="500"/>
              </a:spcBef>
              <a:spcAft>
                <a:spcPts val="0"/>
              </a:spcAft>
              <a:buClr>
                <a:schemeClr val="accent1"/>
              </a:buClr>
              <a:buSzPts val="1600"/>
              <a:buFont typeface="Fira Sans"/>
              <a:buChar char="*"/>
              <a:defRPr sz="1600" b="0" i="0" u="none" strike="noStrike" cap="none">
                <a:solidFill>
                  <a:srgbClr val="595959"/>
                </a:solidFill>
                <a:latin typeface="Fira Sans"/>
                <a:ea typeface="Fira Sans"/>
                <a:cs typeface="Fira Sans"/>
                <a:sym typeface="Fira Sans"/>
              </a:defRPr>
            </a:lvl3pPr>
            <a:lvl4pPr marL="1828800" marR="0" lvl="3" indent="-317500" algn="l" rtl="0">
              <a:lnSpc>
                <a:spcPct val="100000"/>
              </a:lnSpc>
              <a:spcBef>
                <a:spcPts val="500"/>
              </a:spcBef>
              <a:spcAft>
                <a:spcPts val="0"/>
              </a:spcAft>
              <a:buClr>
                <a:schemeClr val="accent1"/>
              </a:buClr>
              <a:buSzPts val="1400"/>
              <a:buFont typeface="Fira Sans"/>
              <a:buChar char="*"/>
              <a:defRPr sz="1400" b="0" i="0" u="none" strike="noStrike" cap="none">
                <a:solidFill>
                  <a:srgbClr val="595959"/>
                </a:solidFill>
                <a:latin typeface="Fira Sans"/>
                <a:ea typeface="Fira Sans"/>
                <a:cs typeface="Fira Sans"/>
                <a:sym typeface="Fira Sans"/>
              </a:defRPr>
            </a:lvl4pPr>
            <a:lvl5pPr marL="2286000" marR="0" lvl="4" indent="-317500" algn="l" rtl="0">
              <a:lnSpc>
                <a:spcPct val="100000"/>
              </a:lnSpc>
              <a:spcBef>
                <a:spcPts val="500"/>
              </a:spcBef>
              <a:spcAft>
                <a:spcPts val="0"/>
              </a:spcAft>
              <a:buClr>
                <a:schemeClr val="accent1"/>
              </a:buClr>
              <a:buSzPts val="1400"/>
              <a:buFont typeface="Fira Sans"/>
              <a:buChar char="*"/>
              <a:defRPr sz="1400" b="0" i="0" u="none" strike="noStrike" cap="none">
                <a:solidFill>
                  <a:srgbClr val="595959"/>
                </a:solidFill>
                <a:latin typeface="Fira Sans"/>
                <a:ea typeface="Fira Sans"/>
                <a:cs typeface="Fira Sans"/>
                <a:sym typeface="Fira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Fira Sans"/>
                <a:ea typeface="Fira Sans"/>
                <a:cs typeface="Fira Sans"/>
                <a:sym typeface="Fira Sans"/>
              </a:defRPr>
            </a:lvl9pPr>
          </a:lstStyle>
          <a:p>
            <a:pPr marL="0" indent="0" defTabSz="990570">
              <a:spcBef>
                <a:spcPct val="0"/>
              </a:spcBef>
              <a:spcAft>
                <a:spcPct val="0"/>
              </a:spcAft>
              <a:buClr>
                <a:srgbClr val="2E2E2E"/>
              </a:buClr>
            </a:pPr>
            <a:fld id="{5FC6E59D-99AA-4573-B742-578243585EAB}" type="datetime'Č''''''e''s''''k''''''''o'''''''''''''">
              <a:rPr lang="en-GB" altLang="en-US" sz="1137" b="1">
                <a:solidFill>
                  <a:srgbClr val="BA67EF">
                    <a:lumMod val="60000"/>
                    <a:lumOff val="40000"/>
                  </a:srgbClr>
                </a:solidFill>
                <a:latin typeface="Open Sans" panose="020B0606030504020204" pitchFamily="34" charset="0"/>
                <a:ea typeface="Open Sans" panose="020B0606030504020204" pitchFamily="34" charset="0"/>
                <a:cs typeface="Open Sans" panose="020B0606030504020204" pitchFamily="34" charset="0"/>
                <a:sym typeface="Fira Sans" panose="020B0503050000020004" pitchFamily="34" charset="0"/>
              </a:rPr>
              <a:pPr marL="0" indent="0" defTabSz="990570">
                <a:spcBef>
                  <a:spcPct val="0"/>
                </a:spcBef>
                <a:spcAft>
                  <a:spcPct val="0"/>
                </a:spcAft>
                <a:buClr>
                  <a:srgbClr val="2E2E2E"/>
                </a:buClr>
              </a:pPr>
              <a:t>Česko</a:t>
            </a:fld>
            <a:endParaRPr lang="en-GB" sz="1137" b="1">
              <a:solidFill>
                <a:srgbClr val="BA67EF">
                  <a:lumMod val="60000"/>
                  <a:lumOff val="40000"/>
                </a:srgbClr>
              </a:solidFill>
              <a:latin typeface="Open Sans" panose="020B0606030504020204" pitchFamily="34" charset="0"/>
              <a:ea typeface="Open Sans" panose="020B0606030504020204" pitchFamily="34" charset="0"/>
              <a:cs typeface="Open Sans" panose="020B0606030504020204" pitchFamily="34" charset="0"/>
              <a:sym typeface="Fira Sans" panose="020B0503050000020004" pitchFamily="34" charset="0"/>
            </a:endParaRPr>
          </a:p>
        </p:txBody>
      </p:sp>
      <p:sp>
        <p:nvSpPr>
          <p:cNvPr id="3" name="Google Shape;348;p40">
            <a:extLst>
              <a:ext uri="{FF2B5EF4-FFF2-40B4-BE49-F238E27FC236}">
                <a16:creationId xmlns:a16="http://schemas.microsoft.com/office/drawing/2014/main" id="{567A7557-195C-0031-C1F4-15B29C096C26}"/>
              </a:ext>
            </a:extLst>
          </p:cNvPr>
          <p:cNvSpPr txBox="1">
            <a:spLocks/>
          </p:cNvSpPr>
          <p:nvPr/>
        </p:nvSpPr>
        <p:spPr>
          <a:xfrm>
            <a:off x="210611" y="890153"/>
            <a:ext cx="2727105" cy="3526499"/>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buClr>
                <a:srgbClr val="FFFFFF"/>
              </a:buClr>
            </a:pPr>
            <a:r>
              <a:rPr lang="pl-PL" sz="3467" kern="0">
                <a:solidFill>
                  <a:srgbClr val="FFFFFF"/>
                </a:solidFill>
              </a:rPr>
              <a:t>Rosteme pomalu</a:t>
            </a:r>
            <a:br>
              <a:rPr lang="pl-PL" sz="3467" kern="0">
                <a:solidFill>
                  <a:srgbClr val="FFFFFF"/>
                </a:solidFill>
              </a:rPr>
            </a:br>
            <a:r>
              <a:rPr lang="pl-PL" sz="3467" kern="0">
                <a:solidFill>
                  <a:srgbClr val="FFFFFF"/>
                </a:solidFill>
              </a:rPr>
              <a:t>a netýká se to jen HDP</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DCACC673-3587-9FFF-7CCD-A50F5EE89045}"/>
            </a:ext>
          </a:extLst>
        </p:cNvPr>
        <p:cNvGrpSpPr/>
        <p:nvPr/>
      </p:nvGrpSpPr>
      <p:grpSpPr>
        <a:xfrm>
          <a:off x="0" y="0"/>
          <a:ext cx="0" cy="0"/>
          <a:chOff x="0" y="0"/>
          <a:chExt cx="0" cy="0"/>
        </a:xfrm>
      </p:grpSpPr>
      <p:graphicFrame>
        <p:nvGraphicFramePr>
          <p:cNvPr id="3" name="Graf 2">
            <a:extLst>
              <a:ext uri="{FF2B5EF4-FFF2-40B4-BE49-F238E27FC236}">
                <a16:creationId xmlns:a16="http://schemas.microsoft.com/office/drawing/2014/main" id="{7A6FC926-F32C-4216-8E54-99766A58C8D2}"/>
              </a:ext>
            </a:extLst>
          </p:cNvPr>
          <p:cNvGraphicFramePr>
            <a:graphicFrameLocks/>
          </p:cNvGraphicFramePr>
          <p:nvPr/>
        </p:nvGraphicFramePr>
        <p:xfrm>
          <a:off x="5207628" y="2629277"/>
          <a:ext cx="4325100" cy="26871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Graf 1">
            <a:extLst>
              <a:ext uri="{FF2B5EF4-FFF2-40B4-BE49-F238E27FC236}">
                <a16:creationId xmlns:a16="http://schemas.microsoft.com/office/drawing/2014/main" id="{6DEF60AF-1A2D-7F8A-2274-9B6FE88005C5}"/>
              </a:ext>
            </a:extLst>
          </p:cNvPr>
          <p:cNvGraphicFramePr>
            <a:graphicFrameLocks/>
          </p:cNvGraphicFramePr>
          <p:nvPr/>
        </p:nvGraphicFramePr>
        <p:xfrm>
          <a:off x="627900" y="2629277"/>
          <a:ext cx="4325100" cy="2687100"/>
        </p:xfrm>
        <a:graphic>
          <a:graphicData uri="http://schemas.openxmlformats.org/drawingml/2006/chart">
            <c:chart xmlns:c="http://schemas.openxmlformats.org/drawingml/2006/chart" xmlns:r="http://schemas.openxmlformats.org/officeDocument/2006/relationships" r:id="rId4"/>
          </a:graphicData>
        </a:graphic>
      </p:graphicFrame>
      <p:sp>
        <p:nvSpPr>
          <p:cNvPr id="443" name="Google Shape;443;p60">
            <a:extLst>
              <a:ext uri="{FF2B5EF4-FFF2-40B4-BE49-F238E27FC236}">
                <a16:creationId xmlns:a16="http://schemas.microsoft.com/office/drawing/2014/main" id="{40353B5E-4A5E-7B9F-BE89-77BAE46C6AFD}"/>
              </a:ext>
            </a:extLst>
          </p:cNvPr>
          <p:cNvSpPr txBox="1">
            <a:spLocks noGrp="1"/>
          </p:cNvSpPr>
          <p:nvPr>
            <p:ph type="title"/>
          </p:nvPr>
        </p:nvSpPr>
        <p:spPr>
          <a:xfrm>
            <a:off x="652662" y="987831"/>
            <a:ext cx="8546927" cy="791180"/>
          </a:xfrm>
          <a:prstGeom prst="rect">
            <a:avLst/>
          </a:prstGeom>
          <a:noFill/>
          <a:ln>
            <a:noFill/>
          </a:ln>
        </p:spPr>
        <p:txBody>
          <a:bodyPr spcFirstLastPara="1" wrap="square" lIns="0" tIns="0" rIns="0" bIns="0" anchor="ctr" anchorCtr="0">
            <a:noAutofit/>
          </a:bodyPr>
          <a:lstStyle/>
          <a:p>
            <a:pPr>
              <a:buSzPts val="2400"/>
            </a:pPr>
            <a:r>
              <a:rPr lang="cs-CZ" sz="2600"/>
              <a:t>Nevyužitý potenciál regionů …</a:t>
            </a:r>
            <a:br>
              <a:rPr lang="cs-CZ" sz="2600"/>
            </a:br>
            <a:r>
              <a:rPr lang="cs-CZ" sz="2600"/>
              <a:t>.. a nejde jen o HDP (produktivita, vzdělávání, atd.)</a:t>
            </a:r>
            <a:endParaRPr sz="2600"/>
          </a:p>
        </p:txBody>
      </p:sp>
      <p:pic>
        <p:nvPicPr>
          <p:cNvPr id="444" name="Google Shape;444;p60">
            <a:extLst>
              <a:ext uri="{FF2B5EF4-FFF2-40B4-BE49-F238E27FC236}">
                <a16:creationId xmlns:a16="http://schemas.microsoft.com/office/drawing/2014/main" id="{7BCBAAED-E13E-6F3C-1C32-45E1C129E3BF}"/>
              </a:ext>
            </a:extLst>
          </p:cNvPr>
          <p:cNvPicPr preferRelativeResize="0"/>
          <p:nvPr/>
        </p:nvPicPr>
        <p:blipFill rotWithShape="1">
          <a:blip r:embed="rId5">
            <a:alphaModFix/>
          </a:blip>
          <a:srcRect l="3" t="4589" r="-1" b="28045"/>
          <a:stretch/>
        </p:blipFill>
        <p:spPr>
          <a:xfrm>
            <a:off x="3234929" y="913222"/>
            <a:ext cx="0" cy="0"/>
          </a:xfrm>
          <a:prstGeom prst="ellipse">
            <a:avLst/>
          </a:prstGeom>
          <a:noFill/>
          <a:ln>
            <a:noFill/>
          </a:ln>
        </p:spPr>
      </p:pic>
      <p:sp>
        <p:nvSpPr>
          <p:cNvPr id="5" name="TextovéPole 4">
            <a:extLst>
              <a:ext uri="{FF2B5EF4-FFF2-40B4-BE49-F238E27FC236}">
                <a16:creationId xmlns:a16="http://schemas.microsoft.com/office/drawing/2014/main" id="{4B2848CB-8544-E704-8035-EB8DF2386D8B}"/>
              </a:ext>
            </a:extLst>
          </p:cNvPr>
          <p:cNvSpPr txBox="1"/>
          <p:nvPr/>
        </p:nvSpPr>
        <p:spPr>
          <a:xfrm>
            <a:off x="1188378" y="2175298"/>
            <a:ext cx="3787754" cy="317331"/>
          </a:xfrm>
          <a:prstGeom prst="rect">
            <a:avLst/>
          </a:prstGeom>
          <a:noFill/>
        </p:spPr>
        <p:txBody>
          <a:bodyPr wrap="square" lIns="0" rtlCol="0">
            <a:spAutoFit/>
          </a:bodyPr>
          <a:lstStyle/>
          <a:p>
            <a:pPr defTabSz="742927">
              <a:defRPr/>
            </a:pPr>
            <a:r>
              <a:rPr lang="cs-CZ" sz="1462" b="1">
                <a:solidFill>
                  <a:srgbClr val="FFFFFF"/>
                </a:solidFill>
                <a:latin typeface="Open Sans" panose="020B0606030504020204" pitchFamily="34" charset="0"/>
                <a:ea typeface="Open Sans" panose="020B0606030504020204" pitchFamily="34" charset="0"/>
                <a:cs typeface="Open Sans" panose="020B0606030504020204" pitchFamily="34" charset="0"/>
                <a:sym typeface="Arial"/>
              </a:rPr>
              <a:t>Česká republika </a:t>
            </a:r>
            <a:r>
              <a:rPr lang="cs-CZ" sz="1300">
                <a:solidFill>
                  <a:srgbClr val="FFFFFF"/>
                </a:solidFill>
                <a:latin typeface="Open Sans" panose="020B0606030504020204" pitchFamily="34" charset="0"/>
                <a:ea typeface="Open Sans" panose="020B0606030504020204" pitchFamily="34" charset="0"/>
                <a:cs typeface="Open Sans" panose="020B0606030504020204" pitchFamily="34" charset="0"/>
                <a:sym typeface="Arial"/>
              </a:rPr>
              <a:t>(bez Prahy)</a:t>
            </a:r>
            <a:endParaRPr lang="cs-CZ" sz="1462">
              <a:solidFill>
                <a:srgbClr val="FFFFFF"/>
              </a:solidFill>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6" name="TextovéPole 5">
            <a:extLst>
              <a:ext uri="{FF2B5EF4-FFF2-40B4-BE49-F238E27FC236}">
                <a16:creationId xmlns:a16="http://schemas.microsoft.com/office/drawing/2014/main" id="{8B4D11A0-CB50-3D86-BE77-D7244058B96C}"/>
              </a:ext>
            </a:extLst>
          </p:cNvPr>
          <p:cNvSpPr txBox="1"/>
          <p:nvPr/>
        </p:nvSpPr>
        <p:spPr>
          <a:xfrm>
            <a:off x="5872900" y="2165709"/>
            <a:ext cx="3787754" cy="317331"/>
          </a:xfrm>
          <a:prstGeom prst="rect">
            <a:avLst/>
          </a:prstGeom>
          <a:noFill/>
        </p:spPr>
        <p:txBody>
          <a:bodyPr wrap="square" lIns="0" rtlCol="0">
            <a:spAutoFit/>
          </a:bodyPr>
          <a:lstStyle/>
          <a:p>
            <a:pPr defTabSz="742927">
              <a:defRPr/>
            </a:pPr>
            <a:r>
              <a:rPr lang="cs-CZ" sz="1462" b="1">
                <a:solidFill>
                  <a:srgbClr val="FFFFFF"/>
                </a:solidFill>
                <a:latin typeface="Fira Sans"/>
                <a:cs typeface="Arial"/>
                <a:sym typeface="Arial"/>
              </a:rPr>
              <a:t>Polsko</a:t>
            </a:r>
            <a:r>
              <a:rPr lang="cs-CZ" sz="1462">
                <a:solidFill>
                  <a:srgbClr val="FFFFFF"/>
                </a:solidFill>
                <a:latin typeface="Fira Sans"/>
                <a:cs typeface="Arial"/>
                <a:sym typeface="Arial"/>
              </a:rPr>
              <a:t> </a:t>
            </a:r>
            <a:r>
              <a:rPr lang="cs-CZ" sz="1300">
                <a:solidFill>
                  <a:srgbClr val="FFFFFF"/>
                </a:solidFill>
                <a:latin typeface="Fira Sans" panose="020B0503050000020004" pitchFamily="34" charset="0"/>
                <a:ea typeface="Inter" panose="02000503000000020004" pitchFamily="2" charset="0"/>
                <a:cs typeface="Arial"/>
                <a:sym typeface="Arial"/>
              </a:rPr>
              <a:t>(bez Varšavy)</a:t>
            </a:r>
            <a:endParaRPr lang="cs-CZ" sz="1462">
              <a:solidFill>
                <a:srgbClr val="FFFFFF"/>
              </a:solidFill>
              <a:latin typeface="Fira Sans"/>
              <a:cs typeface="Arial"/>
              <a:sym typeface="Arial"/>
            </a:endParaRPr>
          </a:p>
        </p:txBody>
      </p:sp>
      <p:sp>
        <p:nvSpPr>
          <p:cNvPr id="7" name="TextovéPole 6">
            <a:extLst>
              <a:ext uri="{FF2B5EF4-FFF2-40B4-BE49-F238E27FC236}">
                <a16:creationId xmlns:a16="http://schemas.microsoft.com/office/drawing/2014/main" id="{EA1F98E5-C743-46EE-8D2A-1195F513B76C}"/>
              </a:ext>
            </a:extLst>
          </p:cNvPr>
          <p:cNvSpPr txBox="1"/>
          <p:nvPr/>
        </p:nvSpPr>
        <p:spPr>
          <a:xfrm>
            <a:off x="858177" y="5461778"/>
            <a:ext cx="6159650" cy="425629"/>
          </a:xfrm>
          <a:prstGeom prst="rect">
            <a:avLst/>
          </a:prstGeom>
          <a:noFill/>
        </p:spPr>
        <p:txBody>
          <a:bodyPr wrap="square" lIns="0">
            <a:spAutoFit/>
          </a:bodyPr>
          <a:lstStyle/>
          <a:p>
            <a:pPr defTabSz="742927">
              <a:defRPr/>
            </a:pPr>
            <a:r>
              <a:rPr lang="cs-CZ" sz="1083" i="1">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rPr>
              <a:t>Růst HDP regionů (NUTS2); změna </a:t>
            </a:r>
            <a:r>
              <a:rPr lang="cs-CZ" sz="1083" i="1" err="1">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rPr>
              <a:t>reálního</a:t>
            </a:r>
            <a:r>
              <a:rPr lang="cs-CZ" sz="1083" i="1">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rPr>
              <a:t> HDP</a:t>
            </a:r>
          </a:p>
          <a:p>
            <a:pPr defTabSz="742927">
              <a:defRPr/>
            </a:pPr>
            <a:r>
              <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a:rPr>
              <a:t>Zdroj: </a:t>
            </a:r>
            <a:r>
              <a:rPr lang="cs-CZ" sz="1083" i="1" kern="0" err="1">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a:rPr>
              <a:t>Eurostat</a:t>
            </a:r>
            <a:endPar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endParaRPr>
          </a:p>
        </p:txBody>
      </p:sp>
      <p:pic>
        <p:nvPicPr>
          <p:cNvPr id="8" name="Picture 2">
            <a:extLst>
              <a:ext uri="{FF2B5EF4-FFF2-40B4-BE49-F238E27FC236}">
                <a16:creationId xmlns:a16="http://schemas.microsoft.com/office/drawing/2014/main" id="{0E285AB5-58AE-9485-3D71-BF7738B738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3155" y="2191753"/>
            <a:ext cx="273000" cy="273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 Flag: Poland on Apple iOS 11.2">
            <a:extLst>
              <a:ext uri="{FF2B5EF4-FFF2-40B4-BE49-F238E27FC236}">
                <a16:creationId xmlns:a16="http://schemas.microsoft.com/office/drawing/2014/main" id="{588F78BB-36B8-2989-C91D-7F5D33FB9F6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37678" y="2191753"/>
            <a:ext cx="273000" cy="27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3504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234A9B-1B69-7A57-9A73-55C5933B9F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64689B-04AA-5993-03A9-377B0C1D7162}"/>
              </a:ext>
            </a:extLst>
          </p:cNvPr>
          <p:cNvSpPr>
            <a:spLocks noGrp="1"/>
          </p:cNvSpPr>
          <p:nvPr>
            <p:ph type="title"/>
          </p:nvPr>
        </p:nvSpPr>
        <p:spPr/>
        <p:txBody>
          <a:bodyPr lIns="91440" tIns="45720" rIns="91440" bIns="45720" anchor="t">
            <a:normAutofit/>
          </a:bodyPr>
          <a:lstStyle/>
          <a:p>
            <a:r>
              <a:rPr lang="cs-CZ" sz="3600">
                <a:solidFill>
                  <a:srgbClr val="0C4CA3"/>
                </a:solidFill>
                <a:cs typeface="Calibri"/>
              </a:rPr>
              <a:t>Plnění úkolů z TK</a:t>
            </a:r>
            <a:endParaRPr lang="en-US" sz="3600">
              <a:solidFill>
                <a:srgbClr val="0C4CA3"/>
              </a:solidFill>
              <a:cs typeface="Calibri"/>
            </a:endParaRPr>
          </a:p>
          <a:p>
            <a:endParaRPr lang="en-US" sz="3600">
              <a:ea typeface="Calibri"/>
              <a:cs typeface="Calibri"/>
            </a:endParaRPr>
          </a:p>
        </p:txBody>
      </p:sp>
      <p:sp>
        <p:nvSpPr>
          <p:cNvPr id="3" name="Content Placeholder 2">
            <a:extLst>
              <a:ext uri="{FF2B5EF4-FFF2-40B4-BE49-F238E27FC236}">
                <a16:creationId xmlns:a16="http://schemas.microsoft.com/office/drawing/2014/main" id="{D5B43491-A542-64E2-AFE4-79209A718412}"/>
              </a:ext>
            </a:extLst>
          </p:cNvPr>
          <p:cNvSpPr>
            <a:spLocks noGrp="1"/>
          </p:cNvSpPr>
          <p:nvPr>
            <p:ph idx="1"/>
          </p:nvPr>
        </p:nvSpPr>
        <p:spPr>
          <a:xfrm>
            <a:off x="495300" y="1600204"/>
            <a:ext cx="9053302" cy="4525963"/>
          </a:xfrm>
        </p:spPr>
        <p:txBody>
          <a:bodyPr lIns="91440" tIns="45720" rIns="91440" bIns="45720" anchor="t"/>
          <a:lstStyle/>
          <a:p>
            <a:pPr marL="374650" indent="-374650"/>
            <a:r>
              <a:rPr lang="cs-CZ" sz="3200">
                <a:latin typeface="+mj-lt"/>
                <a:ea typeface="Calibri"/>
                <a:cs typeface="Arial"/>
              </a:rPr>
              <a:t>Bezúplatný převod pozemků po těžbě - splněno </a:t>
            </a:r>
          </a:p>
          <a:p>
            <a:pPr marL="1248410" lvl="2" indent="-249555">
              <a:buFont typeface="Wingdings" pitchFamily="34" charset="0"/>
              <a:buChar char="§"/>
            </a:pPr>
            <a:r>
              <a:rPr lang="cs-CZ" sz="2800">
                <a:latin typeface="+mj-lt"/>
                <a:ea typeface="Calibri"/>
                <a:cs typeface="Arial"/>
              </a:rPr>
              <a:t>Návodky získány od MF i MPO</a:t>
            </a:r>
            <a:r>
              <a:rPr lang="cs-CZ" sz="1800">
                <a:latin typeface="+mj-lt"/>
                <a:ea typeface="Calibri"/>
                <a:cs typeface="Arial"/>
              </a:rPr>
              <a:t> </a:t>
            </a:r>
          </a:p>
          <a:p>
            <a:pPr marL="374650" indent="-374650"/>
            <a:endParaRPr lang="en-US" sz="4000">
              <a:latin typeface="+mj-lt"/>
              <a:ea typeface="Calibri"/>
              <a:cs typeface="Calibri"/>
            </a:endParaRPr>
          </a:p>
        </p:txBody>
      </p:sp>
    </p:spTree>
    <p:extLst>
      <p:ext uri="{BB962C8B-B14F-4D97-AF65-F5344CB8AC3E}">
        <p14:creationId xmlns:p14="http://schemas.microsoft.com/office/powerpoint/2010/main" val="37399542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ED80BAF4-4CEC-EC78-05DA-97AE31E614F0}"/>
            </a:ext>
          </a:extLst>
        </p:cNvPr>
        <p:cNvGrpSpPr/>
        <p:nvPr/>
      </p:nvGrpSpPr>
      <p:grpSpPr>
        <a:xfrm>
          <a:off x="0" y="0"/>
          <a:ext cx="0" cy="0"/>
          <a:chOff x="0" y="0"/>
          <a:chExt cx="0" cy="0"/>
        </a:xfrm>
      </p:grpSpPr>
      <p:sp>
        <p:nvSpPr>
          <p:cNvPr id="3" name="Google Shape;251;p33">
            <a:extLst>
              <a:ext uri="{FF2B5EF4-FFF2-40B4-BE49-F238E27FC236}">
                <a16:creationId xmlns:a16="http://schemas.microsoft.com/office/drawing/2014/main" id="{D3DCC21F-F2C3-DF67-D2D7-EAEF2ED72A31}"/>
              </a:ext>
            </a:extLst>
          </p:cNvPr>
          <p:cNvSpPr txBox="1">
            <a:spLocks/>
          </p:cNvSpPr>
          <p:nvPr/>
        </p:nvSpPr>
        <p:spPr>
          <a:xfrm>
            <a:off x="622960" y="2077391"/>
            <a:ext cx="8211905" cy="361274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495285" indent="-343948" defTabSz="990570">
              <a:buClr>
                <a:srgbClr val="FFFFFF"/>
              </a:buClr>
            </a:pPr>
            <a:r>
              <a:rPr lang="cs-CZ" sz="1517" b="1" kern="0">
                <a:solidFill>
                  <a:srgbClr val="FFFFFF"/>
                </a:solidFill>
              </a:rPr>
              <a:t>Regionální rozvoj priorita napříč resorty </a:t>
            </a:r>
            <a:r>
              <a:rPr lang="cs-CZ" sz="1517" kern="0">
                <a:solidFill>
                  <a:srgbClr val="FFFFFF"/>
                </a:solidFill>
              </a:rPr>
              <a:t>–&gt; fondy, RUD, daně, vzdělávání, doprava, sociální systém</a:t>
            </a:r>
            <a:r>
              <a:rPr lang="cs-CZ" sz="1517" b="1" kern="0">
                <a:solidFill>
                  <a:srgbClr val="FFFFFF"/>
                </a:solidFill>
              </a:rPr>
              <a:t> </a:t>
            </a:r>
          </a:p>
          <a:p>
            <a:pPr marL="495285" indent="-343948" defTabSz="990570">
              <a:buClr>
                <a:srgbClr val="FFFFFF"/>
              </a:buClr>
            </a:pPr>
            <a:endParaRPr lang="cs-CZ" sz="1517" b="1" kern="0">
              <a:solidFill>
                <a:srgbClr val="FFFFFF"/>
              </a:solidFill>
            </a:endParaRPr>
          </a:p>
          <a:p>
            <a:pPr marL="495285" indent="-343948" defTabSz="990570">
              <a:buClr>
                <a:srgbClr val="FFFFFF"/>
              </a:buClr>
            </a:pPr>
            <a:r>
              <a:rPr lang="cs-CZ" sz="1517" b="1" kern="0">
                <a:solidFill>
                  <a:srgbClr val="FFFFFF"/>
                </a:solidFill>
              </a:rPr>
              <a:t>Rozvoj nevyžaduje další výrazné finance -&gt;</a:t>
            </a:r>
            <a:r>
              <a:rPr lang="cs-CZ" sz="1517" kern="0">
                <a:solidFill>
                  <a:srgbClr val="FFFFFF"/>
                </a:solidFill>
              </a:rPr>
              <a:t> lepší využití RUD, úspor, fondů, soukromých investic</a:t>
            </a:r>
          </a:p>
          <a:p>
            <a:pPr marL="495285" indent="-343948" defTabSz="990570">
              <a:buClr>
                <a:srgbClr val="FFFFFF"/>
              </a:buClr>
            </a:pPr>
            <a:endParaRPr lang="cs-CZ" sz="1517" kern="0">
              <a:solidFill>
                <a:srgbClr val="FFFFFF"/>
              </a:solidFill>
            </a:endParaRPr>
          </a:p>
          <a:p>
            <a:pPr marL="495285" indent="-343948" defTabSz="990570">
              <a:buClr>
                <a:srgbClr val="FFFFFF"/>
              </a:buClr>
            </a:pPr>
            <a:r>
              <a:rPr lang="cs-CZ" sz="1517" b="1" kern="0" err="1">
                <a:solidFill>
                  <a:srgbClr val="FFFFFF"/>
                </a:solidFill>
              </a:rPr>
              <a:t>Mikroregionalita</a:t>
            </a:r>
            <a:r>
              <a:rPr lang="cs-CZ" sz="1517" b="1" kern="0">
                <a:solidFill>
                  <a:srgbClr val="FFFFFF"/>
                </a:solidFill>
              </a:rPr>
              <a:t> nerovností </a:t>
            </a:r>
            <a:r>
              <a:rPr lang="cs-CZ" sz="1517" kern="0">
                <a:solidFill>
                  <a:srgbClr val="FFFFFF"/>
                </a:solidFill>
              </a:rPr>
              <a:t>-&gt; krajský přístup nestačí </a:t>
            </a:r>
            <a:endParaRPr lang="cs-CZ" sz="1517" b="1" kern="0">
              <a:solidFill>
                <a:srgbClr val="FFFFFF"/>
              </a:solidFill>
            </a:endParaRPr>
          </a:p>
          <a:p>
            <a:pPr marL="495285" indent="-343948" defTabSz="990570">
              <a:buClr>
                <a:srgbClr val="FFFFFF"/>
              </a:buClr>
            </a:pPr>
            <a:endParaRPr lang="cs-CZ" sz="1517" b="1" kern="0">
              <a:solidFill>
                <a:srgbClr val="FFFFFF"/>
              </a:solidFill>
            </a:endParaRPr>
          </a:p>
          <a:p>
            <a:pPr marL="495285" indent="-343948" defTabSz="990570">
              <a:buClr>
                <a:srgbClr val="FFFFFF"/>
              </a:buClr>
            </a:pPr>
            <a:r>
              <a:rPr lang="cs-CZ" sz="1517" b="1" kern="0">
                <a:solidFill>
                  <a:srgbClr val="FFFFFF"/>
                </a:solidFill>
              </a:rPr>
              <a:t>Dva přístupy / cíle: </a:t>
            </a:r>
          </a:p>
          <a:p>
            <a:pPr marL="151337" indent="0" defTabSz="990570">
              <a:buClr>
                <a:srgbClr val="FFFFFF"/>
              </a:buClr>
              <a:buNone/>
            </a:pPr>
            <a:br>
              <a:rPr lang="cs-CZ" sz="1517" b="1" kern="0">
                <a:solidFill>
                  <a:srgbClr val="FFFFFF"/>
                </a:solidFill>
              </a:rPr>
            </a:br>
            <a:r>
              <a:rPr lang="cs-CZ" sz="1517" b="1" kern="0">
                <a:solidFill>
                  <a:srgbClr val="FFFFFF"/>
                </a:solidFill>
              </a:rPr>
              <a:t>      </a:t>
            </a:r>
            <a:r>
              <a:rPr lang="cs-CZ" sz="1517" kern="0">
                <a:solidFill>
                  <a:srgbClr val="FFFFFF"/>
                </a:solidFill>
              </a:rPr>
              <a:t>a) více ekonomických regionálních center</a:t>
            </a:r>
          </a:p>
          <a:p>
            <a:pPr marL="151337" indent="0" defTabSz="990570">
              <a:buClr>
                <a:srgbClr val="FFFFFF"/>
              </a:buClr>
              <a:buNone/>
            </a:pPr>
            <a:r>
              <a:rPr lang="cs-CZ" sz="1517" kern="0">
                <a:solidFill>
                  <a:srgbClr val="FFFFFF"/>
                </a:solidFill>
              </a:rPr>
              <a:t>      b) zlepšení vzdělávání a služeb na úrovni mikroregionů</a:t>
            </a:r>
          </a:p>
        </p:txBody>
      </p:sp>
      <p:sp>
        <p:nvSpPr>
          <p:cNvPr id="4" name="Google Shape;443;p60">
            <a:extLst>
              <a:ext uri="{FF2B5EF4-FFF2-40B4-BE49-F238E27FC236}">
                <a16:creationId xmlns:a16="http://schemas.microsoft.com/office/drawing/2014/main" id="{B8766772-AAB6-D775-E88D-CBFC21EFDE67}"/>
              </a:ext>
            </a:extLst>
          </p:cNvPr>
          <p:cNvSpPr txBox="1">
            <a:spLocks noGrp="1"/>
          </p:cNvSpPr>
          <p:nvPr>
            <p:ph type="title"/>
          </p:nvPr>
        </p:nvSpPr>
        <p:spPr>
          <a:xfrm>
            <a:off x="652662" y="987831"/>
            <a:ext cx="8546927" cy="791180"/>
          </a:xfrm>
          <a:prstGeom prst="rect">
            <a:avLst/>
          </a:prstGeom>
          <a:noFill/>
          <a:ln>
            <a:noFill/>
          </a:ln>
        </p:spPr>
        <p:txBody>
          <a:bodyPr spcFirstLastPara="1" wrap="square" lIns="0" tIns="0" rIns="0" bIns="0" anchor="ctr" anchorCtr="0">
            <a:noAutofit/>
          </a:bodyPr>
          <a:lstStyle/>
          <a:p>
            <a:pPr>
              <a:buSzPts val="2400"/>
            </a:pPr>
            <a:r>
              <a:rPr lang="cs-CZ" sz="2600"/>
              <a:t>Principy doporučení NERV</a:t>
            </a:r>
            <a:endParaRPr sz="2600"/>
          </a:p>
        </p:txBody>
      </p:sp>
    </p:spTree>
    <p:extLst>
      <p:ext uri="{BB962C8B-B14F-4D97-AF65-F5344CB8AC3E}">
        <p14:creationId xmlns:p14="http://schemas.microsoft.com/office/powerpoint/2010/main" val="23909710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73842459-8754-28EF-AA6A-257CFCF27DFA}"/>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1594B01F-FFF8-CC8C-1D04-8D12D1098C46}"/>
              </a:ext>
            </a:extLst>
          </p:cNvPr>
          <p:cNvGraphicFramePr/>
          <p:nvPr/>
        </p:nvGraphicFramePr>
        <p:xfrm>
          <a:off x="-145337" y="1252182"/>
          <a:ext cx="5664097" cy="3955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251;p33">
            <a:extLst>
              <a:ext uri="{FF2B5EF4-FFF2-40B4-BE49-F238E27FC236}">
                <a16:creationId xmlns:a16="http://schemas.microsoft.com/office/drawing/2014/main" id="{9EE42667-433C-B4DB-0438-C7F3400EDAB6}"/>
              </a:ext>
            </a:extLst>
          </p:cNvPr>
          <p:cNvSpPr txBox="1">
            <a:spLocks/>
          </p:cNvSpPr>
          <p:nvPr/>
        </p:nvSpPr>
        <p:spPr>
          <a:xfrm>
            <a:off x="5317542" y="1578064"/>
            <a:ext cx="4303166" cy="361274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Strategické investice (dostupnost, transformace energetiky, vzdělávání, inovace)</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Nehradit průběžné financování dotacemi, necukrovat samosprávy</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Lepší řízení a slazení fondů na úrovni vlády </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Lepší cílení do chudších regionů (Dnes nižší čerpání)</a:t>
            </a:r>
          </a:p>
        </p:txBody>
      </p:sp>
    </p:spTree>
    <p:extLst>
      <p:ext uri="{BB962C8B-B14F-4D97-AF65-F5344CB8AC3E}">
        <p14:creationId xmlns:p14="http://schemas.microsoft.com/office/powerpoint/2010/main" val="20019439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94ACA173-7C24-7AF1-5DB5-8E518506DA77}"/>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8BD8506-487C-A4AC-1212-58F5BD12580C}"/>
              </a:ext>
            </a:extLst>
          </p:cNvPr>
          <p:cNvGraphicFramePr/>
          <p:nvPr/>
        </p:nvGraphicFramePr>
        <p:xfrm>
          <a:off x="-145337" y="1252182"/>
          <a:ext cx="5664097" cy="3955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251;p33">
            <a:extLst>
              <a:ext uri="{FF2B5EF4-FFF2-40B4-BE49-F238E27FC236}">
                <a16:creationId xmlns:a16="http://schemas.microsoft.com/office/drawing/2014/main" id="{AFA231AE-B760-30BA-2680-1A756972B331}"/>
              </a:ext>
            </a:extLst>
          </p:cNvPr>
          <p:cNvSpPr txBox="1">
            <a:spLocks/>
          </p:cNvSpPr>
          <p:nvPr/>
        </p:nvSpPr>
        <p:spPr>
          <a:xfrm>
            <a:off x="5317542" y="1578064"/>
            <a:ext cx="4303166" cy="361274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Podporujme regionální centra </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Motivujeme ke spolupráci obcí</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Odměňujeme ekonomickou aktivitu a s</a:t>
            </a:r>
            <a:r>
              <a:rPr lang="it-IT" sz="1733" kern="0">
                <a:solidFill>
                  <a:srgbClr val="BEE3DB"/>
                </a:solidFill>
              </a:rPr>
              <a:t>polečné investice</a:t>
            </a: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Omezí zbytné generování úspor</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Spravedlivé financování služeb v chudších regionech</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p:txBody>
      </p:sp>
    </p:spTree>
    <p:extLst>
      <p:ext uri="{BB962C8B-B14F-4D97-AF65-F5344CB8AC3E}">
        <p14:creationId xmlns:p14="http://schemas.microsoft.com/office/powerpoint/2010/main" val="34254391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394">
          <a:extLst>
            <a:ext uri="{FF2B5EF4-FFF2-40B4-BE49-F238E27FC236}">
              <a16:creationId xmlns:a16="http://schemas.microsoft.com/office/drawing/2014/main" id="{4558DC4F-CD3F-CB1A-0621-BDA9E3D5FB8B}"/>
            </a:ext>
          </a:extLst>
        </p:cNvPr>
        <p:cNvGrpSpPr/>
        <p:nvPr/>
      </p:nvGrpSpPr>
      <p:grpSpPr>
        <a:xfrm>
          <a:off x="0" y="0"/>
          <a:ext cx="0" cy="0"/>
          <a:chOff x="0" y="0"/>
          <a:chExt cx="0" cy="0"/>
        </a:xfrm>
      </p:grpSpPr>
      <p:sp>
        <p:nvSpPr>
          <p:cNvPr id="5" name="Google Shape;348;p40">
            <a:extLst>
              <a:ext uri="{FF2B5EF4-FFF2-40B4-BE49-F238E27FC236}">
                <a16:creationId xmlns:a16="http://schemas.microsoft.com/office/drawing/2014/main" id="{C9EC9FFB-1AAF-24BB-0F53-B66132CB3F04}"/>
              </a:ext>
            </a:extLst>
          </p:cNvPr>
          <p:cNvSpPr txBox="1">
            <a:spLocks/>
          </p:cNvSpPr>
          <p:nvPr/>
        </p:nvSpPr>
        <p:spPr>
          <a:xfrm>
            <a:off x="210611" y="890153"/>
            <a:ext cx="3514459" cy="4566483"/>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spcAft>
                <a:spcPts val="1950"/>
              </a:spcAft>
              <a:buClr>
                <a:srgbClr val="FFFFFF"/>
              </a:buClr>
            </a:pPr>
            <a:r>
              <a:rPr lang="pl-PL" sz="3033" kern="0">
                <a:solidFill>
                  <a:srgbClr val="FFFFFF"/>
                </a:solidFill>
              </a:rPr>
              <a:t>Nejvíce ušetří ti nejmenší a Praha</a:t>
            </a:r>
          </a:p>
          <a:p>
            <a:pPr defTabSz="990570">
              <a:spcAft>
                <a:spcPts val="1950"/>
              </a:spcAft>
              <a:buClr>
                <a:srgbClr val="FFFFFF"/>
              </a:buClr>
            </a:pPr>
            <a:r>
              <a:rPr lang="pl-PL" sz="3033" kern="0">
                <a:solidFill>
                  <a:srgbClr val="FFFFFF"/>
                </a:solidFill>
              </a:rPr>
              <a:t>Ročne odkládáme 0,6 % HDP, průměr EÚ = 0 %</a:t>
            </a:r>
          </a:p>
          <a:p>
            <a:pPr defTabSz="990570">
              <a:spcAft>
                <a:spcPts val="1950"/>
              </a:spcAft>
              <a:buClr>
                <a:srgbClr val="FFFFFF"/>
              </a:buClr>
            </a:pPr>
            <a:r>
              <a:rPr lang="pl-PL" sz="3033" kern="0">
                <a:solidFill>
                  <a:srgbClr val="FFFFFF"/>
                </a:solidFill>
              </a:rPr>
              <a:t>Průměrná úroková míra &lt;2 %</a:t>
            </a:r>
          </a:p>
        </p:txBody>
      </p:sp>
      <p:pic>
        <p:nvPicPr>
          <p:cNvPr id="4" name="Obrázek 3" descr="Obsah obrázku text, snímek obrazovky, diagram, Vykreslený graf&#10;&#10;Obsah vygenerovaný umělou inteligencí může být nesprávný.">
            <a:extLst>
              <a:ext uri="{FF2B5EF4-FFF2-40B4-BE49-F238E27FC236}">
                <a16:creationId xmlns:a16="http://schemas.microsoft.com/office/drawing/2014/main" id="{F86C1AB2-B3E3-99A7-396F-222FDCD2BD05}"/>
              </a:ext>
            </a:extLst>
          </p:cNvPr>
          <p:cNvPicPr>
            <a:picLocks noChangeAspect="1"/>
          </p:cNvPicPr>
          <p:nvPr/>
        </p:nvPicPr>
        <p:blipFill>
          <a:blip r:embed="rId3"/>
          <a:stretch>
            <a:fillRect/>
          </a:stretch>
        </p:blipFill>
        <p:spPr>
          <a:xfrm>
            <a:off x="4558926" y="1429508"/>
            <a:ext cx="4760802" cy="3435751"/>
          </a:xfrm>
          <a:prstGeom prst="rect">
            <a:avLst/>
          </a:prstGeom>
        </p:spPr>
      </p:pic>
      <p:sp>
        <p:nvSpPr>
          <p:cNvPr id="2" name="TextovéPole 1">
            <a:extLst>
              <a:ext uri="{FF2B5EF4-FFF2-40B4-BE49-F238E27FC236}">
                <a16:creationId xmlns:a16="http://schemas.microsoft.com/office/drawing/2014/main" id="{2D444072-ACE7-3DD4-CC24-0F224F0FDFCD}"/>
              </a:ext>
            </a:extLst>
          </p:cNvPr>
          <p:cNvSpPr txBox="1"/>
          <p:nvPr/>
        </p:nvSpPr>
        <p:spPr>
          <a:xfrm>
            <a:off x="4558927" y="4937597"/>
            <a:ext cx="6159650" cy="258982"/>
          </a:xfrm>
          <a:prstGeom prst="rect">
            <a:avLst/>
          </a:prstGeom>
          <a:noFill/>
        </p:spPr>
        <p:txBody>
          <a:bodyPr wrap="square" lIns="0">
            <a:spAutoFit/>
          </a:bodyPr>
          <a:lstStyle/>
          <a:p>
            <a:pPr defTabSz="742927">
              <a:defRPr/>
            </a:pPr>
            <a:r>
              <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a:rPr>
              <a:t>Zdroj: Státní pokladna</a:t>
            </a:r>
            <a:endPar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endParaRPr>
          </a:p>
        </p:txBody>
      </p:sp>
    </p:spTree>
    <p:extLst>
      <p:ext uri="{BB962C8B-B14F-4D97-AF65-F5344CB8AC3E}">
        <p14:creationId xmlns:p14="http://schemas.microsoft.com/office/powerpoint/2010/main" val="27535700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347">
          <a:extLst>
            <a:ext uri="{FF2B5EF4-FFF2-40B4-BE49-F238E27FC236}">
              <a16:creationId xmlns:a16="http://schemas.microsoft.com/office/drawing/2014/main" id="{57F977DD-99FE-C0CB-97B6-A0374A1BADBA}"/>
            </a:ext>
          </a:extLst>
        </p:cNvPr>
        <p:cNvGrpSpPr/>
        <p:nvPr/>
      </p:nvGrpSpPr>
      <p:grpSpPr>
        <a:xfrm>
          <a:off x="0" y="0"/>
          <a:ext cx="0" cy="0"/>
          <a:chOff x="0" y="0"/>
          <a:chExt cx="0" cy="0"/>
        </a:xfrm>
      </p:grpSpPr>
      <p:pic>
        <p:nvPicPr>
          <p:cNvPr id="5" name="Obrázek 4" descr="Obsah obrázku snímek obrazovky, prostor, diagram, astronomie&#10;&#10;Obsah generovaný pomocí AI může být nesprávný.">
            <a:extLst>
              <a:ext uri="{FF2B5EF4-FFF2-40B4-BE49-F238E27FC236}">
                <a16:creationId xmlns:a16="http://schemas.microsoft.com/office/drawing/2014/main" id="{C650D503-05A3-CC6F-7AC8-218C663A75D5}"/>
              </a:ext>
            </a:extLst>
          </p:cNvPr>
          <p:cNvPicPr>
            <a:picLocks noChangeAspect="1"/>
          </p:cNvPicPr>
          <p:nvPr/>
        </p:nvPicPr>
        <p:blipFill>
          <a:blip r:embed="rId3"/>
          <a:stretch>
            <a:fillRect/>
          </a:stretch>
        </p:blipFill>
        <p:spPr>
          <a:xfrm>
            <a:off x="3457493" y="1226932"/>
            <a:ext cx="6237895" cy="4813859"/>
          </a:xfrm>
          <a:prstGeom prst="rect">
            <a:avLst/>
          </a:prstGeom>
        </p:spPr>
      </p:pic>
      <p:sp>
        <p:nvSpPr>
          <p:cNvPr id="2" name="TextovéPole 1">
            <a:extLst>
              <a:ext uri="{FF2B5EF4-FFF2-40B4-BE49-F238E27FC236}">
                <a16:creationId xmlns:a16="http://schemas.microsoft.com/office/drawing/2014/main" id="{30FB1A22-159A-D6DF-C81B-C4B5008A2F70}"/>
              </a:ext>
            </a:extLst>
          </p:cNvPr>
          <p:cNvSpPr txBox="1"/>
          <p:nvPr/>
        </p:nvSpPr>
        <p:spPr>
          <a:xfrm>
            <a:off x="858177" y="5418799"/>
            <a:ext cx="6159650" cy="258982"/>
          </a:xfrm>
          <a:prstGeom prst="rect">
            <a:avLst/>
          </a:prstGeom>
          <a:noFill/>
        </p:spPr>
        <p:txBody>
          <a:bodyPr wrap="square" lIns="0">
            <a:spAutoFit/>
          </a:bodyPr>
          <a:lstStyle/>
          <a:p>
            <a:pPr defTabSz="742927">
              <a:defRPr/>
            </a:pPr>
            <a:r>
              <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a:rPr>
              <a:t>Zdroj: MF</a:t>
            </a:r>
            <a:endPar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3" name="Google Shape;348;p40">
            <a:extLst>
              <a:ext uri="{FF2B5EF4-FFF2-40B4-BE49-F238E27FC236}">
                <a16:creationId xmlns:a16="http://schemas.microsoft.com/office/drawing/2014/main" id="{AB2F915C-532E-13CC-A629-B9ECC7FECAA1}"/>
              </a:ext>
            </a:extLst>
          </p:cNvPr>
          <p:cNvSpPr txBox="1">
            <a:spLocks/>
          </p:cNvSpPr>
          <p:nvPr/>
        </p:nvSpPr>
        <p:spPr>
          <a:xfrm>
            <a:off x="210611" y="890153"/>
            <a:ext cx="3246881" cy="4566483"/>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spcAft>
                <a:spcPts val="1950"/>
              </a:spcAft>
              <a:buClr>
                <a:srgbClr val="FFFFFF"/>
              </a:buClr>
            </a:pPr>
            <a:r>
              <a:rPr lang="pl-PL" sz="3033" kern="0">
                <a:solidFill>
                  <a:srgbClr val="D6A4F5"/>
                </a:solidFill>
              </a:rPr>
              <a:t>Nemotivujeme k spolupráci</a:t>
            </a:r>
          </a:p>
          <a:p>
            <a:pPr defTabSz="990570">
              <a:spcAft>
                <a:spcPts val="1950"/>
              </a:spcAft>
              <a:buClr>
                <a:srgbClr val="FFFFFF"/>
              </a:buClr>
            </a:pPr>
            <a:r>
              <a:rPr lang="pl-PL" sz="3033" kern="0">
                <a:solidFill>
                  <a:srgbClr val="BEE3DB"/>
                </a:solidFill>
              </a:rPr>
              <a:t>Podfinancované regionální centra</a:t>
            </a:r>
          </a:p>
          <a:p>
            <a:pPr defTabSz="990570">
              <a:spcAft>
                <a:spcPts val="1950"/>
              </a:spcAft>
              <a:buClr>
                <a:srgbClr val="FFFFFF"/>
              </a:buClr>
            </a:pPr>
            <a:r>
              <a:rPr lang="pl-PL" sz="3033" kern="0">
                <a:solidFill>
                  <a:srgbClr val="386DFD">
                    <a:lumMod val="60000"/>
                    <a:lumOff val="40000"/>
                  </a:srgbClr>
                </a:solidFill>
              </a:rPr>
              <a:t>Nadfinancované metropole</a:t>
            </a:r>
          </a:p>
        </p:txBody>
      </p:sp>
    </p:spTree>
    <p:extLst>
      <p:ext uri="{BB962C8B-B14F-4D97-AF65-F5344CB8AC3E}">
        <p14:creationId xmlns:p14="http://schemas.microsoft.com/office/powerpoint/2010/main" val="27266392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410"/>
        <p:cNvGrpSpPr/>
        <p:nvPr/>
      </p:nvGrpSpPr>
      <p:grpSpPr>
        <a:xfrm>
          <a:off x="0" y="0"/>
          <a:ext cx="0" cy="0"/>
          <a:chOff x="0" y="0"/>
          <a:chExt cx="0" cy="0"/>
        </a:xfrm>
      </p:grpSpPr>
      <p:pic>
        <p:nvPicPr>
          <p:cNvPr id="412" name="Google Shape;412;p56"/>
          <p:cNvPicPr preferRelativeResize="0"/>
          <p:nvPr/>
        </p:nvPicPr>
        <p:blipFill rotWithShape="1">
          <a:blip r:embed="rId3">
            <a:alphaModFix/>
          </a:blip>
          <a:srcRect l="3" t="4589" r="-1" b="28045"/>
          <a:stretch/>
        </p:blipFill>
        <p:spPr>
          <a:xfrm>
            <a:off x="3234929" y="913222"/>
            <a:ext cx="0" cy="0"/>
          </a:xfrm>
          <a:prstGeom prst="ellipse">
            <a:avLst/>
          </a:prstGeom>
          <a:noFill/>
          <a:ln>
            <a:noFill/>
          </a:ln>
        </p:spPr>
      </p:pic>
      <p:sp>
        <p:nvSpPr>
          <p:cNvPr id="2" name="Google Shape;348;p40">
            <a:extLst>
              <a:ext uri="{FF2B5EF4-FFF2-40B4-BE49-F238E27FC236}">
                <a16:creationId xmlns:a16="http://schemas.microsoft.com/office/drawing/2014/main" id="{DE9564B3-E12B-440A-1724-EE27DBFF80AE}"/>
              </a:ext>
            </a:extLst>
          </p:cNvPr>
          <p:cNvSpPr txBox="1">
            <a:spLocks/>
          </p:cNvSpPr>
          <p:nvPr/>
        </p:nvSpPr>
        <p:spPr>
          <a:xfrm>
            <a:off x="210610" y="890153"/>
            <a:ext cx="3170350" cy="4287877"/>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buClr>
                <a:srgbClr val="FFFFFF"/>
              </a:buClr>
            </a:pPr>
            <a:r>
              <a:rPr lang="pl-PL" sz="3467" kern="0">
                <a:solidFill>
                  <a:srgbClr val="FFFFFF"/>
                </a:solidFill>
              </a:rPr>
              <a:t>Řešením je ponechat větší část ekonomických daní v území, jak to dělají v EU</a:t>
            </a:r>
          </a:p>
        </p:txBody>
      </p:sp>
      <p:sp>
        <p:nvSpPr>
          <p:cNvPr id="3" name="TextovéPole 2">
            <a:extLst>
              <a:ext uri="{FF2B5EF4-FFF2-40B4-BE49-F238E27FC236}">
                <a16:creationId xmlns:a16="http://schemas.microsoft.com/office/drawing/2014/main" id="{135CDD52-C26D-BC88-2D4E-41FA6E7078D3}"/>
              </a:ext>
            </a:extLst>
          </p:cNvPr>
          <p:cNvSpPr txBox="1"/>
          <p:nvPr/>
        </p:nvSpPr>
        <p:spPr>
          <a:xfrm>
            <a:off x="858177" y="5424908"/>
            <a:ext cx="6159650" cy="258982"/>
          </a:xfrm>
          <a:prstGeom prst="rect">
            <a:avLst/>
          </a:prstGeom>
          <a:noFill/>
        </p:spPr>
        <p:txBody>
          <a:bodyPr wrap="square" lIns="0">
            <a:spAutoFit/>
          </a:bodyPr>
          <a:lstStyle/>
          <a:p>
            <a:pPr defTabSz="742927">
              <a:defRPr/>
            </a:pPr>
            <a:r>
              <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a:rPr>
              <a:t>Zdroj: Evropská komise</a:t>
            </a:r>
            <a:endPar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endParaRPr>
          </a:p>
        </p:txBody>
      </p:sp>
      <p:graphicFrame>
        <p:nvGraphicFramePr>
          <p:cNvPr id="10" name="Graf 9">
            <a:extLst>
              <a:ext uri="{FF2B5EF4-FFF2-40B4-BE49-F238E27FC236}">
                <a16:creationId xmlns:a16="http://schemas.microsoft.com/office/drawing/2014/main" id="{46358E4E-EB4E-78C0-D742-ECECA81BFF02}"/>
              </a:ext>
            </a:extLst>
          </p:cNvPr>
          <p:cNvGraphicFramePr/>
          <p:nvPr/>
        </p:nvGraphicFramePr>
        <p:xfrm>
          <a:off x="3518768" y="1539692"/>
          <a:ext cx="6387232" cy="4469382"/>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410">
          <a:extLst>
            <a:ext uri="{FF2B5EF4-FFF2-40B4-BE49-F238E27FC236}">
              <a16:creationId xmlns:a16="http://schemas.microsoft.com/office/drawing/2014/main" id="{3BBD350E-B89C-D8B7-5B69-C3EF3FCEB037}"/>
            </a:ext>
          </a:extLst>
        </p:cNvPr>
        <p:cNvGrpSpPr/>
        <p:nvPr/>
      </p:nvGrpSpPr>
      <p:grpSpPr>
        <a:xfrm>
          <a:off x="0" y="0"/>
          <a:ext cx="0" cy="0"/>
          <a:chOff x="0" y="0"/>
          <a:chExt cx="0" cy="0"/>
        </a:xfrm>
      </p:grpSpPr>
      <p:pic>
        <p:nvPicPr>
          <p:cNvPr id="17" name="Obrázek 16" descr="Obsah obrázku snímek obrazovky, text, diagram&#10;&#10;Obsah generovaný pomocí AI může být nesprávný.">
            <a:extLst>
              <a:ext uri="{FF2B5EF4-FFF2-40B4-BE49-F238E27FC236}">
                <a16:creationId xmlns:a16="http://schemas.microsoft.com/office/drawing/2014/main" id="{26A0B085-99A4-389D-6419-90207AAABEDC}"/>
              </a:ext>
            </a:extLst>
          </p:cNvPr>
          <p:cNvPicPr>
            <a:picLocks noChangeAspect="1"/>
          </p:cNvPicPr>
          <p:nvPr/>
        </p:nvPicPr>
        <p:blipFill>
          <a:blip r:embed="rId3"/>
          <a:stretch>
            <a:fillRect/>
          </a:stretch>
        </p:blipFill>
        <p:spPr>
          <a:xfrm>
            <a:off x="3215278" y="984855"/>
            <a:ext cx="6246370" cy="4820400"/>
          </a:xfrm>
          <a:prstGeom prst="rect">
            <a:avLst/>
          </a:prstGeom>
        </p:spPr>
      </p:pic>
      <p:pic>
        <p:nvPicPr>
          <p:cNvPr id="412" name="Google Shape;412;p56">
            <a:extLst>
              <a:ext uri="{FF2B5EF4-FFF2-40B4-BE49-F238E27FC236}">
                <a16:creationId xmlns:a16="http://schemas.microsoft.com/office/drawing/2014/main" id="{C78B78C0-6CBE-32C8-3C00-AA5FCCBE27FB}"/>
              </a:ext>
            </a:extLst>
          </p:cNvPr>
          <p:cNvPicPr preferRelativeResize="0"/>
          <p:nvPr/>
        </p:nvPicPr>
        <p:blipFill rotWithShape="1">
          <a:blip r:embed="rId4">
            <a:alphaModFix/>
          </a:blip>
          <a:srcRect l="3" t="4589" r="-1" b="28045"/>
          <a:stretch/>
        </p:blipFill>
        <p:spPr>
          <a:xfrm>
            <a:off x="3234929" y="913222"/>
            <a:ext cx="0" cy="0"/>
          </a:xfrm>
          <a:prstGeom prst="ellipse">
            <a:avLst/>
          </a:prstGeom>
          <a:noFill/>
          <a:ln>
            <a:noFill/>
          </a:ln>
        </p:spPr>
      </p:pic>
      <p:sp>
        <p:nvSpPr>
          <p:cNvPr id="2" name="Google Shape;348;p40">
            <a:extLst>
              <a:ext uri="{FF2B5EF4-FFF2-40B4-BE49-F238E27FC236}">
                <a16:creationId xmlns:a16="http://schemas.microsoft.com/office/drawing/2014/main" id="{E66E67AC-C674-4CE4-2530-4A08EC222C09}"/>
              </a:ext>
            </a:extLst>
          </p:cNvPr>
          <p:cNvSpPr txBox="1">
            <a:spLocks/>
          </p:cNvSpPr>
          <p:nvPr/>
        </p:nvSpPr>
        <p:spPr>
          <a:xfrm>
            <a:off x="210611" y="890153"/>
            <a:ext cx="3004668" cy="4287877"/>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buClr>
                <a:srgbClr val="FFFFFF"/>
              </a:buClr>
            </a:pPr>
            <a:r>
              <a:rPr lang="pl-PL" sz="3467" kern="0">
                <a:solidFill>
                  <a:srgbClr val="FFFFFF"/>
                </a:solidFill>
              </a:rPr>
              <a:t>Obce dnes financujeme bez vztahu k rozvinutosti regionů </a:t>
            </a:r>
          </a:p>
        </p:txBody>
      </p:sp>
    </p:spTree>
    <p:extLst>
      <p:ext uri="{BB962C8B-B14F-4D97-AF65-F5344CB8AC3E}">
        <p14:creationId xmlns:p14="http://schemas.microsoft.com/office/powerpoint/2010/main" val="37517058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10">
          <a:extLst>
            <a:ext uri="{FF2B5EF4-FFF2-40B4-BE49-F238E27FC236}">
              <a16:creationId xmlns:a16="http://schemas.microsoft.com/office/drawing/2014/main" id="{6B2CFF4A-670D-800B-871C-51AE9501DE5B}"/>
            </a:ext>
          </a:extLst>
        </p:cNvPr>
        <p:cNvGrpSpPr/>
        <p:nvPr/>
      </p:nvGrpSpPr>
      <p:grpSpPr>
        <a:xfrm>
          <a:off x="0" y="0"/>
          <a:ext cx="0" cy="0"/>
          <a:chOff x="0" y="0"/>
          <a:chExt cx="0" cy="0"/>
        </a:xfrm>
      </p:grpSpPr>
      <p:pic>
        <p:nvPicPr>
          <p:cNvPr id="5" name="Obrázek 4" descr="Obsah obrázku snímek obrazovky, text, diagram, Vykreslený graf&#10;&#10;Obsah generovaný pomocí AI může být nesprávný.">
            <a:extLst>
              <a:ext uri="{FF2B5EF4-FFF2-40B4-BE49-F238E27FC236}">
                <a16:creationId xmlns:a16="http://schemas.microsoft.com/office/drawing/2014/main" id="{18D5FD42-E240-0500-DD69-D80B5B0DE569}"/>
              </a:ext>
            </a:extLst>
          </p:cNvPr>
          <p:cNvPicPr>
            <a:picLocks noChangeAspect="1"/>
          </p:cNvPicPr>
          <p:nvPr/>
        </p:nvPicPr>
        <p:blipFill>
          <a:blip r:embed="rId3"/>
          <a:stretch>
            <a:fillRect/>
          </a:stretch>
        </p:blipFill>
        <p:spPr>
          <a:xfrm>
            <a:off x="3215277" y="984855"/>
            <a:ext cx="6246370" cy="4820400"/>
          </a:xfrm>
          <a:prstGeom prst="rect">
            <a:avLst/>
          </a:prstGeom>
        </p:spPr>
      </p:pic>
      <p:pic>
        <p:nvPicPr>
          <p:cNvPr id="412" name="Google Shape;412;p56">
            <a:extLst>
              <a:ext uri="{FF2B5EF4-FFF2-40B4-BE49-F238E27FC236}">
                <a16:creationId xmlns:a16="http://schemas.microsoft.com/office/drawing/2014/main" id="{437C4099-EB39-EC0E-2B76-6EF49FE233C1}"/>
              </a:ext>
            </a:extLst>
          </p:cNvPr>
          <p:cNvPicPr preferRelativeResize="0"/>
          <p:nvPr/>
        </p:nvPicPr>
        <p:blipFill rotWithShape="1">
          <a:blip r:embed="rId4">
            <a:alphaModFix/>
          </a:blip>
          <a:srcRect l="3" t="4589" r="-1" b="28045"/>
          <a:stretch/>
        </p:blipFill>
        <p:spPr>
          <a:xfrm>
            <a:off x="3234929" y="913222"/>
            <a:ext cx="0" cy="0"/>
          </a:xfrm>
          <a:prstGeom prst="ellipse">
            <a:avLst/>
          </a:prstGeom>
          <a:noFill/>
          <a:ln>
            <a:noFill/>
          </a:ln>
        </p:spPr>
      </p:pic>
      <p:sp>
        <p:nvSpPr>
          <p:cNvPr id="2" name="Google Shape;348;p40">
            <a:extLst>
              <a:ext uri="{FF2B5EF4-FFF2-40B4-BE49-F238E27FC236}">
                <a16:creationId xmlns:a16="http://schemas.microsoft.com/office/drawing/2014/main" id="{AD1F4992-A844-D0B0-5AC3-479A51DAE5BE}"/>
              </a:ext>
            </a:extLst>
          </p:cNvPr>
          <p:cNvSpPr txBox="1">
            <a:spLocks/>
          </p:cNvSpPr>
          <p:nvPr/>
        </p:nvSpPr>
        <p:spPr>
          <a:xfrm>
            <a:off x="210611" y="890153"/>
            <a:ext cx="3004668" cy="4287877"/>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buClr>
                <a:srgbClr val="FFFFFF"/>
              </a:buClr>
            </a:pPr>
            <a:r>
              <a:rPr lang="pl-PL" sz="3467" kern="0">
                <a:solidFill>
                  <a:srgbClr val="FFFFFF"/>
                </a:solidFill>
              </a:rPr>
              <a:t>Bonifikace ekonomické aktivity by tento vztah vychýlila</a:t>
            </a:r>
          </a:p>
        </p:txBody>
      </p:sp>
    </p:spTree>
    <p:extLst>
      <p:ext uri="{BB962C8B-B14F-4D97-AF65-F5344CB8AC3E}">
        <p14:creationId xmlns:p14="http://schemas.microsoft.com/office/powerpoint/2010/main" val="12547394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410">
          <a:extLst>
            <a:ext uri="{FF2B5EF4-FFF2-40B4-BE49-F238E27FC236}">
              <a16:creationId xmlns:a16="http://schemas.microsoft.com/office/drawing/2014/main" id="{B9D72755-9378-C3F1-716D-D53C6B0B854B}"/>
            </a:ext>
          </a:extLst>
        </p:cNvPr>
        <p:cNvGrpSpPr/>
        <p:nvPr/>
      </p:nvGrpSpPr>
      <p:grpSpPr>
        <a:xfrm>
          <a:off x="0" y="0"/>
          <a:ext cx="0" cy="0"/>
          <a:chOff x="0" y="0"/>
          <a:chExt cx="0" cy="0"/>
        </a:xfrm>
      </p:grpSpPr>
      <p:pic>
        <p:nvPicPr>
          <p:cNvPr id="4" name="Obrázek 3" descr="Obsah obrázku mapa, snímek obrazovky&#10;&#10;Obsah generovaný pomocí AI může být nesprávný.">
            <a:extLst>
              <a:ext uri="{FF2B5EF4-FFF2-40B4-BE49-F238E27FC236}">
                <a16:creationId xmlns:a16="http://schemas.microsoft.com/office/drawing/2014/main" id="{17AC7415-5564-090E-09C5-59B5F24E4D13}"/>
              </a:ext>
            </a:extLst>
          </p:cNvPr>
          <p:cNvPicPr>
            <a:picLocks noChangeAspect="1"/>
          </p:cNvPicPr>
          <p:nvPr/>
        </p:nvPicPr>
        <p:blipFill>
          <a:blip r:embed="rId3"/>
          <a:srcRect t="6420" r="72349" b="81070"/>
          <a:stretch>
            <a:fillRect/>
          </a:stretch>
        </p:blipFill>
        <p:spPr>
          <a:xfrm>
            <a:off x="6367314" y="1138238"/>
            <a:ext cx="2977988" cy="1063543"/>
          </a:xfrm>
          <a:prstGeom prst="rect">
            <a:avLst/>
          </a:prstGeom>
          <a:solidFill>
            <a:schemeClr val="accent2">
              <a:alpha val="50000"/>
            </a:schemeClr>
          </a:solidFill>
        </p:spPr>
      </p:pic>
      <p:sp>
        <p:nvSpPr>
          <p:cNvPr id="8" name="Google Shape;348;p40">
            <a:extLst>
              <a:ext uri="{FF2B5EF4-FFF2-40B4-BE49-F238E27FC236}">
                <a16:creationId xmlns:a16="http://schemas.microsoft.com/office/drawing/2014/main" id="{26AD13EE-623E-E070-5268-E94FE2615267}"/>
              </a:ext>
            </a:extLst>
          </p:cNvPr>
          <p:cNvSpPr txBox="1">
            <a:spLocks/>
          </p:cNvSpPr>
          <p:nvPr/>
        </p:nvSpPr>
        <p:spPr>
          <a:xfrm>
            <a:off x="210610" y="890153"/>
            <a:ext cx="3715100" cy="4287877"/>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buClr>
                <a:srgbClr val="FFFFFF"/>
              </a:buClr>
            </a:pPr>
            <a:r>
              <a:rPr lang="pl-PL" sz="3467" kern="0">
                <a:solidFill>
                  <a:srgbClr val="FFFFFF"/>
                </a:solidFill>
              </a:rPr>
              <a:t>Rozvoj dětí ze znevýhodněného prostředí je nákladnější</a:t>
            </a:r>
          </a:p>
        </p:txBody>
      </p:sp>
      <p:pic>
        <p:nvPicPr>
          <p:cNvPr id="3" name="Obrázek 2" descr="Obsah obrázku mapa, snímek obrazovky&#10;&#10;Obsah generovaný pomocí AI může být nesprávný.">
            <a:extLst>
              <a:ext uri="{FF2B5EF4-FFF2-40B4-BE49-F238E27FC236}">
                <a16:creationId xmlns:a16="http://schemas.microsoft.com/office/drawing/2014/main" id="{65F851A9-6568-AA53-6C25-0E9A3B87CE2F}"/>
              </a:ext>
            </a:extLst>
          </p:cNvPr>
          <p:cNvPicPr>
            <a:picLocks noChangeAspect="1"/>
          </p:cNvPicPr>
          <p:nvPr/>
        </p:nvPicPr>
        <p:blipFill>
          <a:blip r:embed="rId3"/>
          <a:srcRect t="18436" b="10198"/>
          <a:stretch>
            <a:fillRect/>
          </a:stretch>
        </p:blipFill>
        <p:spPr>
          <a:xfrm>
            <a:off x="2744287" y="1486783"/>
            <a:ext cx="7059026" cy="3976593"/>
          </a:xfrm>
          <a:prstGeom prst="rect">
            <a:avLst/>
          </a:prstGeom>
        </p:spPr>
      </p:pic>
      <p:sp>
        <p:nvSpPr>
          <p:cNvPr id="2" name="TextovéPole 1">
            <a:extLst>
              <a:ext uri="{FF2B5EF4-FFF2-40B4-BE49-F238E27FC236}">
                <a16:creationId xmlns:a16="http://schemas.microsoft.com/office/drawing/2014/main" id="{48F1DF60-A96F-D0CA-877C-C56400A25DA6}"/>
              </a:ext>
            </a:extLst>
          </p:cNvPr>
          <p:cNvSpPr txBox="1"/>
          <p:nvPr/>
        </p:nvSpPr>
        <p:spPr>
          <a:xfrm>
            <a:off x="858177" y="5424908"/>
            <a:ext cx="6159650" cy="258982"/>
          </a:xfrm>
          <a:prstGeom prst="rect">
            <a:avLst/>
          </a:prstGeom>
          <a:noFill/>
        </p:spPr>
        <p:txBody>
          <a:bodyPr wrap="square" lIns="0">
            <a:spAutoFit/>
          </a:bodyPr>
          <a:lstStyle/>
          <a:p>
            <a:pPr defTabSz="742927">
              <a:defRPr/>
            </a:pPr>
            <a:r>
              <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Fira Sans"/>
              </a:rPr>
              <a:t>Zdroj: Propočet PAQ</a:t>
            </a:r>
            <a:endParaRPr lang="cs-CZ" sz="1083" i="1" kern="0">
              <a:solidFill>
                <a:srgbClr val="2E2E2E">
                  <a:lumMod val="50000"/>
                  <a:lumOff val="50000"/>
                </a:srgbClr>
              </a:solidFill>
              <a:latin typeface="Open Sans" panose="020B0606030504020204" pitchFamily="34" charset="0"/>
              <a:ea typeface="Open Sans" panose="020B0606030504020204" pitchFamily="34" charset="0"/>
              <a:cs typeface="Open Sans" panose="020B0606030504020204" pitchFamily="34" charset="0"/>
              <a:sym typeface="Arial"/>
            </a:endParaRPr>
          </a:p>
        </p:txBody>
      </p:sp>
    </p:spTree>
    <p:extLst>
      <p:ext uri="{BB962C8B-B14F-4D97-AF65-F5344CB8AC3E}">
        <p14:creationId xmlns:p14="http://schemas.microsoft.com/office/powerpoint/2010/main" val="9677784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410">
          <a:extLst>
            <a:ext uri="{FF2B5EF4-FFF2-40B4-BE49-F238E27FC236}">
              <a16:creationId xmlns:a16="http://schemas.microsoft.com/office/drawing/2014/main" id="{4B579522-447B-AAD6-6B32-BC50C81A1825}"/>
            </a:ext>
          </a:extLst>
        </p:cNvPr>
        <p:cNvGrpSpPr/>
        <p:nvPr/>
      </p:nvGrpSpPr>
      <p:grpSpPr>
        <a:xfrm>
          <a:off x="0" y="0"/>
          <a:ext cx="0" cy="0"/>
          <a:chOff x="0" y="0"/>
          <a:chExt cx="0" cy="0"/>
        </a:xfrm>
      </p:grpSpPr>
      <p:pic>
        <p:nvPicPr>
          <p:cNvPr id="412" name="Google Shape;412;p56">
            <a:extLst>
              <a:ext uri="{FF2B5EF4-FFF2-40B4-BE49-F238E27FC236}">
                <a16:creationId xmlns:a16="http://schemas.microsoft.com/office/drawing/2014/main" id="{45836222-5C9F-62CA-E76D-E6F907F03246}"/>
              </a:ext>
            </a:extLst>
          </p:cNvPr>
          <p:cNvPicPr preferRelativeResize="0"/>
          <p:nvPr/>
        </p:nvPicPr>
        <p:blipFill rotWithShape="1">
          <a:blip r:embed="rId3">
            <a:alphaModFix/>
          </a:blip>
          <a:srcRect l="3" t="4589" r="-1" b="28045"/>
          <a:stretch/>
        </p:blipFill>
        <p:spPr>
          <a:xfrm>
            <a:off x="3234929" y="913222"/>
            <a:ext cx="0" cy="0"/>
          </a:xfrm>
          <a:prstGeom prst="ellipse">
            <a:avLst/>
          </a:prstGeom>
          <a:noFill/>
          <a:ln>
            <a:noFill/>
          </a:ln>
        </p:spPr>
      </p:pic>
      <p:sp>
        <p:nvSpPr>
          <p:cNvPr id="2" name="Google Shape;348;p40">
            <a:extLst>
              <a:ext uri="{FF2B5EF4-FFF2-40B4-BE49-F238E27FC236}">
                <a16:creationId xmlns:a16="http://schemas.microsoft.com/office/drawing/2014/main" id="{61A7E6AF-EE56-04C9-60C4-425E7D910AAF}"/>
              </a:ext>
            </a:extLst>
          </p:cNvPr>
          <p:cNvSpPr txBox="1">
            <a:spLocks/>
          </p:cNvSpPr>
          <p:nvPr/>
        </p:nvSpPr>
        <p:spPr>
          <a:xfrm>
            <a:off x="210611" y="890153"/>
            <a:ext cx="3576370" cy="4912159"/>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buClr>
                <a:srgbClr val="FFFFFF"/>
              </a:buClr>
            </a:pPr>
            <a:r>
              <a:rPr lang="pl-PL" sz="3467" kern="0">
                <a:solidFill>
                  <a:srgbClr val="FFFFFF"/>
                </a:solidFill>
              </a:rPr>
              <a:t>Reflektování cen služeb zadrží regionální nerovnosti</a:t>
            </a:r>
          </a:p>
        </p:txBody>
      </p:sp>
      <p:pic>
        <p:nvPicPr>
          <p:cNvPr id="4" name="Obrázek 3" descr="Obsah obrázku snímek obrazovky, diagram, prostor, astronomie&#10;&#10;Obsah generovaný pomocí AI může být nesprávný.">
            <a:extLst>
              <a:ext uri="{FF2B5EF4-FFF2-40B4-BE49-F238E27FC236}">
                <a16:creationId xmlns:a16="http://schemas.microsoft.com/office/drawing/2014/main" id="{EEB6CE0F-572D-6B00-7ACD-AE1E8A8E0391}"/>
              </a:ext>
            </a:extLst>
          </p:cNvPr>
          <p:cNvPicPr>
            <a:picLocks noChangeAspect="1"/>
          </p:cNvPicPr>
          <p:nvPr/>
        </p:nvPicPr>
        <p:blipFill>
          <a:blip r:embed="rId4"/>
          <a:stretch>
            <a:fillRect/>
          </a:stretch>
        </p:blipFill>
        <p:spPr>
          <a:xfrm>
            <a:off x="3215279" y="984856"/>
            <a:ext cx="6248499" cy="4822043"/>
          </a:xfrm>
          <a:prstGeom prst="rect">
            <a:avLst/>
          </a:prstGeom>
        </p:spPr>
      </p:pic>
    </p:spTree>
    <p:extLst>
      <p:ext uri="{BB962C8B-B14F-4D97-AF65-F5344CB8AC3E}">
        <p14:creationId xmlns:p14="http://schemas.microsoft.com/office/powerpoint/2010/main" val="476159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09E77-0145-F3CA-8CCB-C954F0768670}"/>
              </a:ext>
            </a:extLst>
          </p:cNvPr>
          <p:cNvSpPr>
            <a:spLocks noGrp="1"/>
          </p:cNvSpPr>
          <p:nvPr>
            <p:ph type="title"/>
          </p:nvPr>
        </p:nvSpPr>
        <p:spPr/>
        <p:txBody>
          <a:bodyPr lIns="91440" tIns="45720" rIns="91440" bIns="45720" anchor="t">
            <a:normAutofit/>
          </a:bodyPr>
          <a:lstStyle/>
          <a:p>
            <a:r>
              <a:rPr lang="en-US" sz="3600" err="1">
                <a:solidFill>
                  <a:srgbClr val="0C4CA3"/>
                </a:solidFill>
                <a:cs typeface="Calibri"/>
              </a:rPr>
              <a:t>Novinky</a:t>
            </a:r>
            <a:r>
              <a:rPr lang="en-US" sz="3600">
                <a:solidFill>
                  <a:srgbClr val="0C4CA3"/>
                </a:solidFill>
                <a:cs typeface="Calibri"/>
              </a:rPr>
              <a:t> RE:START</a:t>
            </a:r>
          </a:p>
        </p:txBody>
      </p:sp>
      <p:sp>
        <p:nvSpPr>
          <p:cNvPr id="3" name="Content Placeholder 2">
            <a:extLst>
              <a:ext uri="{FF2B5EF4-FFF2-40B4-BE49-F238E27FC236}">
                <a16:creationId xmlns:a16="http://schemas.microsoft.com/office/drawing/2014/main" id="{79BFD934-D538-FCBE-611B-DE1951495F98}"/>
              </a:ext>
            </a:extLst>
          </p:cNvPr>
          <p:cNvSpPr>
            <a:spLocks noGrp="1"/>
          </p:cNvSpPr>
          <p:nvPr>
            <p:ph idx="1"/>
          </p:nvPr>
        </p:nvSpPr>
        <p:spPr>
          <a:xfrm>
            <a:off x="495450" y="1181427"/>
            <a:ext cx="8915400" cy="4623163"/>
          </a:xfrm>
        </p:spPr>
        <p:txBody>
          <a:bodyPr lIns="91440" tIns="45720" rIns="91440" bIns="45720" anchor="t"/>
          <a:lstStyle/>
          <a:p>
            <a:pPr marL="0" indent="0">
              <a:buNone/>
            </a:pPr>
            <a:endParaRPr lang="en-US" sz="3000" b="1">
              <a:solidFill>
                <a:srgbClr val="034EA2"/>
              </a:solidFill>
            </a:endParaRPr>
          </a:p>
          <a:p>
            <a:pPr marL="374650" indent="-374650"/>
            <a:r>
              <a:rPr lang="en-US" sz="2800" err="1">
                <a:ea typeface="Calibri"/>
                <a:cs typeface="Calibri"/>
              </a:rPr>
              <a:t>Dopisy</a:t>
            </a:r>
            <a:r>
              <a:rPr lang="en-US" sz="2800">
                <a:ea typeface="Calibri"/>
                <a:cs typeface="Calibri"/>
              </a:rPr>
              <a:t> </a:t>
            </a:r>
            <a:r>
              <a:rPr lang="en-US" sz="2800" err="1">
                <a:ea typeface="Calibri"/>
                <a:cs typeface="Calibri"/>
              </a:rPr>
              <a:t>na</a:t>
            </a:r>
            <a:r>
              <a:rPr lang="en-US" sz="2800">
                <a:ea typeface="Calibri"/>
                <a:cs typeface="Calibri"/>
              </a:rPr>
              <a:t> </a:t>
            </a:r>
            <a:r>
              <a:rPr lang="en-US" sz="2800" err="1">
                <a:ea typeface="Calibri"/>
                <a:cs typeface="Calibri"/>
              </a:rPr>
              <a:t>gesční</a:t>
            </a:r>
            <a:r>
              <a:rPr lang="en-US" sz="2800">
                <a:ea typeface="Calibri"/>
                <a:cs typeface="Calibri"/>
              </a:rPr>
              <a:t> </a:t>
            </a:r>
            <a:r>
              <a:rPr lang="en-US" sz="2800" err="1">
                <a:ea typeface="Calibri"/>
                <a:cs typeface="Calibri"/>
              </a:rPr>
              <a:t>resorty</a:t>
            </a:r>
            <a:endParaRPr lang="en-US" sz="2800">
              <a:ea typeface="Calibri"/>
              <a:cs typeface="Calibri"/>
            </a:endParaRPr>
          </a:p>
          <a:p>
            <a:pPr marL="374650" indent="-374650"/>
            <a:r>
              <a:rPr lang="en-US" sz="2800" err="1">
                <a:ea typeface="Calibri"/>
                <a:cs typeface="Calibri"/>
              </a:rPr>
              <a:t>Příprava</a:t>
            </a:r>
            <a:r>
              <a:rPr lang="en-US" sz="2800">
                <a:ea typeface="Calibri"/>
                <a:cs typeface="Calibri"/>
              </a:rPr>
              <a:t> AP 7: </a:t>
            </a:r>
          </a:p>
          <a:p>
            <a:pPr marL="1248410" lvl="2" indent="-249555">
              <a:buFont typeface="Wingdings" pitchFamily="34" charset="0"/>
              <a:buChar char="§"/>
            </a:pPr>
            <a:r>
              <a:rPr lang="en-US" sz="2800" err="1">
                <a:ea typeface="Calibri"/>
                <a:cs typeface="Calibri"/>
              </a:rPr>
              <a:t>konec</a:t>
            </a:r>
            <a:r>
              <a:rPr lang="en-US" sz="2800">
                <a:ea typeface="Calibri"/>
                <a:cs typeface="Calibri"/>
              </a:rPr>
              <a:t> </a:t>
            </a:r>
            <a:r>
              <a:rPr lang="en-US" sz="2800" err="1">
                <a:ea typeface="Calibri"/>
                <a:cs typeface="Calibri"/>
              </a:rPr>
              <a:t>roku</a:t>
            </a:r>
            <a:r>
              <a:rPr lang="en-US" sz="2800">
                <a:ea typeface="Calibri"/>
                <a:cs typeface="Calibri"/>
              </a:rPr>
              <a:t> 2025</a:t>
            </a:r>
          </a:p>
          <a:p>
            <a:pPr marL="1248410" lvl="2" indent="-249555">
              <a:buFont typeface="Wingdings" pitchFamily="34" charset="0"/>
              <a:buChar char="§"/>
            </a:pPr>
            <a:r>
              <a:rPr lang="en-US" sz="2800" err="1">
                <a:ea typeface="Calibri"/>
                <a:cs typeface="Calibri"/>
              </a:rPr>
              <a:t>seznam</a:t>
            </a:r>
            <a:r>
              <a:rPr lang="en-US" sz="2800">
                <a:ea typeface="Calibri"/>
                <a:cs typeface="Calibri"/>
              </a:rPr>
              <a:t> </a:t>
            </a:r>
            <a:r>
              <a:rPr lang="en-US" sz="2800" err="1">
                <a:ea typeface="Calibri"/>
                <a:cs typeface="Calibri"/>
              </a:rPr>
              <a:t>Strategických</a:t>
            </a:r>
            <a:r>
              <a:rPr lang="en-US" sz="2800">
                <a:ea typeface="Calibri"/>
                <a:cs typeface="Calibri"/>
              </a:rPr>
              <a:t> </a:t>
            </a:r>
            <a:r>
              <a:rPr lang="en-US" sz="2800" err="1">
                <a:ea typeface="Calibri"/>
                <a:cs typeface="Calibri"/>
              </a:rPr>
              <a:t>projektů</a:t>
            </a:r>
            <a:endParaRPr lang="en-US" sz="2800">
              <a:ea typeface="Calibri"/>
              <a:cs typeface="Calibri"/>
            </a:endParaRPr>
          </a:p>
          <a:p>
            <a:pPr marL="374650" indent="-374650"/>
            <a:r>
              <a:rPr lang="en-US" sz="2800" err="1">
                <a:ea typeface="Calibri"/>
                <a:cs typeface="Calibri"/>
              </a:rPr>
              <a:t>Podařilo</a:t>
            </a:r>
            <a:r>
              <a:rPr lang="en-US" sz="2800">
                <a:ea typeface="Calibri"/>
                <a:cs typeface="Calibri"/>
              </a:rPr>
              <a:t> se </a:t>
            </a:r>
            <a:r>
              <a:rPr lang="en-US" sz="2800" err="1">
                <a:ea typeface="Calibri"/>
                <a:cs typeface="Calibri"/>
              </a:rPr>
              <a:t>vyjednat</a:t>
            </a:r>
            <a:r>
              <a:rPr lang="en-US" sz="2800">
                <a:ea typeface="Calibri"/>
                <a:cs typeface="Calibri"/>
              </a:rPr>
              <a:t> </a:t>
            </a:r>
            <a:r>
              <a:rPr lang="en-US" sz="2800" err="1">
                <a:ea typeface="Calibri"/>
                <a:cs typeface="Calibri"/>
              </a:rPr>
              <a:t>rozšíření</a:t>
            </a:r>
            <a:r>
              <a:rPr lang="en-US" sz="2800">
                <a:ea typeface="Calibri"/>
                <a:cs typeface="Calibri"/>
              </a:rPr>
              <a:t> </a:t>
            </a:r>
            <a:r>
              <a:rPr lang="en-US" sz="2800" err="1">
                <a:ea typeface="Calibri"/>
                <a:cs typeface="Calibri"/>
              </a:rPr>
              <a:t>výzvy</a:t>
            </a:r>
            <a:r>
              <a:rPr lang="en-US" sz="2800">
                <a:ea typeface="Calibri"/>
                <a:cs typeface="Calibri"/>
              </a:rPr>
              <a:t> č. 81 IROP</a:t>
            </a:r>
          </a:p>
          <a:p>
            <a:pPr marL="374650" indent="-374650"/>
            <a:r>
              <a:rPr lang="en-US" sz="2800" err="1">
                <a:ea typeface="Calibri"/>
                <a:cs typeface="Calibri"/>
              </a:rPr>
              <a:t>Připomínkování</a:t>
            </a:r>
            <a:r>
              <a:rPr lang="en-US" sz="2800">
                <a:ea typeface="Calibri"/>
                <a:cs typeface="Calibri"/>
              </a:rPr>
              <a:t> </a:t>
            </a:r>
            <a:r>
              <a:rPr lang="en-US" sz="2800" err="1">
                <a:ea typeface="Calibri"/>
                <a:cs typeface="Calibri"/>
              </a:rPr>
              <a:t>výzev</a:t>
            </a:r>
            <a:r>
              <a:rPr lang="en-US" sz="2800">
                <a:ea typeface="Calibri"/>
                <a:cs typeface="Calibri"/>
              </a:rPr>
              <a:t> z OP TAK + </a:t>
            </a:r>
            <a:r>
              <a:rPr lang="en-US" sz="2800" err="1">
                <a:ea typeface="Calibri"/>
                <a:cs typeface="Calibri"/>
              </a:rPr>
              <a:t>výzva</a:t>
            </a:r>
            <a:r>
              <a:rPr lang="en-US" sz="2800">
                <a:ea typeface="Calibri"/>
                <a:cs typeface="Calibri"/>
              </a:rPr>
              <a:t> pro NNO (</a:t>
            </a:r>
            <a:r>
              <a:rPr lang="en-US" sz="2800" err="1">
                <a:ea typeface="Calibri"/>
                <a:cs typeface="Calibri"/>
              </a:rPr>
              <a:t>plánované</a:t>
            </a:r>
            <a:r>
              <a:rPr lang="en-US" sz="2800">
                <a:ea typeface="Calibri"/>
                <a:cs typeface="Calibri"/>
              </a:rPr>
              <a:t> </a:t>
            </a:r>
            <a:r>
              <a:rPr lang="en-US" sz="2800" err="1">
                <a:ea typeface="Calibri"/>
                <a:cs typeface="Calibri"/>
              </a:rPr>
              <a:t>zahrutí</a:t>
            </a:r>
            <a:r>
              <a:rPr lang="en-US" sz="2800">
                <a:ea typeface="Calibri"/>
                <a:cs typeface="Calibri"/>
              </a:rPr>
              <a:t> </a:t>
            </a:r>
            <a:r>
              <a:rPr lang="en-US" sz="2800" err="1">
                <a:ea typeface="Calibri"/>
                <a:cs typeface="Calibri"/>
              </a:rPr>
              <a:t>témat</a:t>
            </a:r>
            <a:r>
              <a:rPr lang="en-US" sz="2800">
                <a:ea typeface="Calibri"/>
                <a:cs typeface="Calibri"/>
              </a:rPr>
              <a:t> ze SPR)</a:t>
            </a:r>
          </a:p>
          <a:p>
            <a:pPr marL="1248410" lvl="2" indent="-249555">
              <a:buFont typeface="Wingdings" pitchFamily="34" charset="0"/>
              <a:buChar char="§"/>
            </a:pPr>
            <a:endParaRPr lang="en-US" sz="2400">
              <a:ea typeface="Calibri"/>
              <a:cs typeface="Calibri"/>
            </a:endParaRPr>
          </a:p>
          <a:p>
            <a:pPr marL="374650" indent="-374650"/>
            <a:endParaRPr lang="en-US" sz="2800">
              <a:ea typeface="Calibri"/>
              <a:cs typeface="Calibri"/>
            </a:endParaRPr>
          </a:p>
          <a:p>
            <a:pPr marL="374650" indent="-374650"/>
            <a:endParaRPr lang="en-US">
              <a:ea typeface="Calibri"/>
              <a:cs typeface="Calibri"/>
            </a:endParaRPr>
          </a:p>
        </p:txBody>
      </p:sp>
      <p:pic>
        <p:nvPicPr>
          <p:cNvPr id="5" name="Picture 4">
            <a:extLst>
              <a:ext uri="{FF2B5EF4-FFF2-40B4-BE49-F238E27FC236}">
                <a16:creationId xmlns:a16="http://schemas.microsoft.com/office/drawing/2014/main" id="{B352147F-EB88-0948-43CC-99D947E300CA}"/>
              </a:ext>
            </a:extLst>
          </p:cNvPr>
          <p:cNvPicPr>
            <a:picLocks noChangeAspect="1"/>
          </p:cNvPicPr>
          <p:nvPr/>
        </p:nvPicPr>
        <p:blipFill>
          <a:blip r:embed="rId2"/>
          <a:srcRect r="4762" b="980"/>
          <a:stretch>
            <a:fillRect/>
          </a:stretch>
        </p:blipFill>
        <p:spPr>
          <a:xfrm>
            <a:off x="8609056" y="116578"/>
            <a:ext cx="1068826" cy="1066128"/>
          </a:xfrm>
          <a:prstGeom prst="rect">
            <a:avLst/>
          </a:prstGeom>
        </p:spPr>
      </p:pic>
    </p:spTree>
    <p:extLst>
      <p:ext uri="{BB962C8B-B14F-4D97-AF65-F5344CB8AC3E}">
        <p14:creationId xmlns:p14="http://schemas.microsoft.com/office/powerpoint/2010/main" val="31949151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026FFB85-4FD9-EBD3-F8FC-DA8BD1DE82C8}"/>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9C1D0C7F-196B-17F3-425A-068F6CA63E0E}"/>
              </a:ext>
            </a:extLst>
          </p:cNvPr>
          <p:cNvGraphicFramePr/>
          <p:nvPr/>
        </p:nvGraphicFramePr>
        <p:xfrm>
          <a:off x="-145337" y="1252182"/>
          <a:ext cx="5664097" cy="3955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251;p33">
            <a:extLst>
              <a:ext uri="{FF2B5EF4-FFF2-40B4-BE49-F238E27FC236}">
                <a16:creationId xmlns:a16="http://schemas.microsoft.com/office/drawing/2014/main" id="{80680E94-77B8-A97E-7323-1FE8A1B319A6}"/>
              </a:ext>
            </a:extLst>
          </p:cNvPr>
          <p:cNvSpPr txBox="1">
            <a:spLocks/>
          </p:cNvSpPr>
          <p:nvPr/>
        </p:nvSpPr>
        <p:spPr>
          <a:xfrm>
            <a:off x="5317542" y="1578064"/>
            <a:ext cx="4303166" cy="361274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Systematizace společenství obcí – celé ORP, minimální agendy a finanční podpora (vyčlení z RUD)</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Úspory z rozsahu do kvality služeb</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Profesionální řízení agend, které nemá smysl tříštit (vzdělávání, vodohospodářství, sociální služby, územní plánování…)</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p:txBody>
      </p:sp>
    </p:spTree>
    <p:extLst>
      <p:ext uri="{BB962C8B-B14F-4D97-AF65-F5344CB8AC3E}">
        <p14:creationId xmlns:p14="http://schemas.microsoft.com/office/powerpoint/2010/main" val="294986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B3DB2-15AC-D277-BC12-F1036B862225}"/>
            </a:ext>
          </a:extLst>
        </p:cNvPr>
        <p:cNvGrpSpPr/>
        <p:nvPr/>
      </p:nvGrpSpPr>
      <p:grpSpPr>
        <a:xfrm>
          <a:off x="0" y="0"/>
          <a:ext cx="0" cy="0"/>
          <a:chOff x="0" y="0"/>
          <a:chExt cx="0" cy="0"/>
        </a:xfrm>
      </p:grpSpPr>
      <p:sp>
        <p:nvSpPr>
          <p:cNvPr id="6" name="Obdélník 5">
            <a:extLst>
              <a:ext uri="{FF2B5EF4-FFF2-40B4-BE49-F238E27FC236}">
                <a16:creationId xmlns:a16="http://schemas.microsoft.com/office/drawing/2014/main" id="{2ADAB7CA-26F4-BD86-9E90-3F3744850334}"/>
              </a:ext>
            </a:extLst>
          </p:cNvPr>
          <p:cNvSpPr/>
          <p:nvPr/>
        </p:nvSpPr>
        <p:spPr>
          <a:xfrm>
            <a:off x="3566160" y="1051560"/>
            <a:ext cx="6182995" cy="4891088"/>
          </a:xfrm>
          <a:prstGeom prst="rect">
            <a:avLst/>
          </a:prstGeom>
          <a:solidFill>
            <a:schemeClr val="accent2">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90570">
              <a:buClr>
                <a:srgbClr val="000000"/>
              </a:buClr>
            </a:pPr>
            <a:endParaRPr lang="en-US" sz="1517" kern="0">
              <a:solidFill>
                <a:srgbClr val="F59AFF"/>
              </a:solidFill>
              <a:latin typeface="Arial"/>
              <a:sym typeface="Arial"/>
            </a:endParaRPr>
          </a:p>
        </p:txBody>
      </p:sp>
      <p:pic>
        <p:nvPicPr>
          <p:cNvPr id="4" name="Obrázek 3" descr="Obsah obrázku mapa, snímek obrazovky&#10;&#10;Obsah generovaný pomocí AI může být nesprávný.">
            <a:extLst>
              <a:ext uri="{FF2B5EF4-FFF2-40B4-BE49-F238E27FC236}">
                <a16:creationId xmlns:a16="http://schemas.microsoft.com/office/drawing/2014/main" id="{3C48B1BF-66E4-4FE2-22FD-B2E03332FAAE}"/>
              </a:ext>
            </a:extLst>
          </p:cNvPr>
          <p:cNvPicPr>
            <a:picLocks noChangeAspect="1"/>
          </p:cNvPicPr>
          <p:nvPr/>
        </p:nvPicPr>
        <p:blipFill>
          <a:blip r:embed="rId2"/>
          <a:stretch>
            <a:fillRect/>
          </a:stretch>
        </p:blipFill>
        <p:spPr>
          <a:xfrm>
            <a:off x="3716693" y="1051560"/>
            <a:ext cx="5842598" cy="4754880"/>
          </a:xfrm>
          <a:prstGeom prst="rect">
            <a:avLst/>
          </a:prstGeom>
        </p:spPr>
      </p:pic>
      <p:sp>
        <p:nvSpPr>
          <p:cNvPr id="7" name="Google Shape;348;p40">
            <a:extLst>
              <a:ext uri="{FF2B5EF4-FFF2-40B4-BE49-F238E27FC236}">
                <a16:creationId xmlns:a16="http://schemas.microsoft.com/office/drawing/2014/main" id="{8B5DDAEB-3F30-840E-6C1D-006D80DB57F9}"/>
              </a:ext>
            </a:extLst>
          </p:cNvPr>
          <p:cNvSpPr txBox="1">
            <a:spLocks/>
          </p:cNvSpPr>
          <p:nvPr/>
        </p:nvSpPr>
        <p:spPr>
          <a:xfrm>
            <a:off x="210610" y="1047431"/>
            <a:ext cx="3355550" cy="4754880"/>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spcAft>
                <a:spcPts val="1950"/>
              </a:spcAft>
              <a:buClr>
                <a:srgbClr val="FFFFFF"/>
              </a:buClr>
            </a:pPr>
            <a:r>
              <a:rPr lang="cs-CZ" sz="1950" kern="0">
                <a:solidFill>
                  <a:srgbClr val="FFFFFF"/>
                </a:solidFill>
              </a:rPr>
              <a:t>Úspory z rozsahu: </a:t>
            </a:r>
            <a:r>
              <a:rPr lang="cs-CZ" sz="1950" i="1" kern="0">
                <a:solidFill>
                  <a:srgbClr val="FFFFFF"/>
                </a:solidFill>
              </a:rPr>
              <a:t>jen</a:t>
            </a:r>
            <a:r>
              <a:rPr lang="en-US" sz="1950" i="1" kern="0">
                <a:solidFill>
                  <a:srgbClr val="FFFFFF"/>
                </a:solidFill>
              </a:rPr>
              <a:t> </a:t>
            </a:r>
            <a:r>
              <a:rPr lang="en-US" sz="1950" i="1" kern="0" err="1">
                <a:solidFill>
                  <a:srgbClr val="FFFFFF"/>
                </a:solidFill>
              </a:rPr>
              <a:t>sdílení</a:t>
            </a:r>
            <a:r>
              <a:rPr lang="en-US" sz="1950" i="1" kern="0">
                <a:solidFill>
                  <a:srgbClr val="FFFFFF"/>
                </a:solidFill>
              </a:rPr>
              <a:t> </a:t>
            </a:r>
            <a:r>
              <a:rPr lang="en-US" sz="1950" i="1" kern="0" err="1">
                <a:solidFill>
                  <a:srgbClr val="FFFFFF"/>
                </a:solidFill>
              </a:rPr>
              <a:t>účetnictví</a:t>
            </a:r>
            <a:r>
              <a:rPr lang="en-US" sz="1950" i="1" kern="0">
                <a:solidFill>
                  <a:srgbClr val="FFFFFF"/>
                </a:solidFill>
              </a:rPr>
              <a:t> a </a:t>
            </a:r>
            <a:r>
              <a:rPr lang="en-US" sz="1950" i="1" kern="0" err="1">
                <a:solidFill>
                  <a:srgbClr val="FFFFFF"/>
                </a:solidFill>
              </a:rPr>
              <a:t>správy</a:t>
            </a:r>
            <a:r>
              <a:rPr lang="en-US" sz="1950" i="1" kern="0">
                <a:solidFill>
                  <a:srgbClr val="FFFFFF"/>
                </a:solidFill>
              </a:rPr>
              <a:t> </a:t>
            </a:r>
            <a:r>
              <a:rPr lang="en-US" sz="1950" i="1" kern="0" err="1">
                <a:solidFill>
                  <a:srgbClr val="FFFFFF"/>
                </a:solidFill>
              </a:rPr>
              <a:t>budov</a:t>
            </a:r>
            <a:r>
              <a:rPr lang="en-US" sz="1950" i="1" kern="0">
                <a:solidFill>
                  <a:srgbClr val="FFFFFF"/>
                </a:solidFill>
              </a:rPr>
              <a:t> by </a:t>
            </a:r>
            <a:r>
              <a:rPr lang="en-US" sz="1950" i="1" kern="0" err="1">
                <a:solidFill>
                  <a:srgbClr val="FFFFFF"/>
                </a:solidFill>
              </a:rPr>
              <a:t>ušetřilo</a:t>
            </a:r>
            <a:r>
              <a:rPr lang="en-US" sz="1950" i="1" kern="0">
                <a:solidFill>
                  <a:srgbClr val="FFFFFF"/>
                </a:solidFill>
              </a:rPr>
              <a:t> </a:t>
            </a:r>
            <a:r>
              <a:rPr lang="en-US" sz="1950" i="1" kern="0" err="1">
                <a:solidFill>
                  <a:srgbClr val="FFFFFF"/>
                </a:solidFill>
              </a:rPr>
              <a:t>téměř</a:t>
            </a:r>
            <a:r>
              <a:rPr lang="en-US" sz="1950" i="1" kern="0">
                <a:solidFill>
                  <a:srgbClr val="FFFFFF"/>
                </a:solidFill>
              </a:rPr>
              <a:t> 2 </a:t>
            </a:r>
            <a:r>
              <a:rPr lang="en-US" sz="1950" i="1" kern="0" err="1">
                <a:solidFill>
                  <a:srgbClr val="FFFFFF"/>
                </a:solidFill>
              </a:rPr>
              <a:t>mld</a:t>
            </a:r>
            <a:r>
              <a:rPr lang="en-US" sz="1950" i="1" kern="0">
                <a:solidFill>
                  <a:srgbClr val="FFFFFF"/>
                </a:solidFill>
              </a:rPr>
              <a:t>. </a:t>
            </a:r>
            <a:r>
              <a:rPr lang="en-US" sz="1950" i="1" kern="0" err="1">
                <a:solidFill>
                  <a:srgbClr val="FFFFFF"/>
                </a:solidFill>
              </a:rPr>
              <a:t>Kč</a:t>
            </a:r>
            <a:r>
              <a:rPr lang="en-US" sz="1950" i="1" kern="0">
                <a:solidFill>
                  <a:srgbClr val="FFFFFF"/>
                </a:solidFill>
              </a:rPr>
              <a:t> </a:t>
            </a:r>
            <a:r>
              <a:rPr lang="en-US" sz="1950" i="1" kern="0" err="1">
                <a:solidFill>
                  <a:srgbClr val="FFFFFF"/>
                </a:solidFill>
              </a:rPr>
              <a:t>ročně</a:t>
            </a:r>
            <a:r>
              <a:rPr lang="en-US" sz="1950" i="1" kern="0">
                <a:solidFill>
                  <a:srgbClr val="FFFFFF"/>
                </a:solidFill>
              </a:rPr>
              <a:t>.</a:t>
            </a:r>
            <a:endParaRPr lang="cs-CZ" sz="1950" i="1" kern="0">
              <a:solidFill>
                <a:srgbClr val="FFFFFF"/>
              </a:solidFill>
            </a:endParaRPr>
          </a:p>
          <a:p>
            <a:pPr defTabSz="990570">
              <a:spcAft>
                <a:spcPts val="1950"/>
              </a:spcAft>
              <a:buClr>
                <a:srgbClr val="FFFFFF"/>
              </a:buClr>
            </a:pPr>
            <a:r>
              <a:rPr lang="cs-CZ" sz="1950" kern="0" err="1">
                <a:solidFill>
                  <a:srgbClr val="FFFFFF"/>
                </a:solidFill>
              </a:rPr>
              <a:t>Kvalitnejší</a:t>
            </a:r>
            <a:r>
              <a:rPr lang="cs-CZ" sz="1950" kern="0">
                <a:solidFill>
                  <a:srgbClr val="FFFFFF"/>
                </a:solidFill>
              </a:rPr>
              <a:t> služby: </a:t>
            </a:r>
            <a:r>
              <a:rPr lang="cs-CZ" sz="1950" i="1" kern="0">
                <a:solidFill>
                  <a:srgbClr val="FFFFFF"/>
                </a:solidFill>
              </a:rPr>
              <a:t>úspory ufinancují více než devítičlenný tým vedoucích pedagogických pracovníků</a:t>
            </a:r>
          </a:p>
        </p:txBody>
      </p:sp>
    </p:spTree>
    <p:extLst>
      <p:ext uri="{BB962C8B-B14F-4D97-AF65-F5344CB8AC3E}">
        <p14:creationId xmlns:p14="http://schemas.microsoft.com/office/powerpoint/2010/main" val="8454934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661DA4B7-2347-36EC-87E7-F3AA5A7D6D41}"/>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CFEF866C-AA8B-44B2-B9A3-3D3D619C94DA}"/>
              </a:ext>
            </a:extLst>
          </p:cNvPr>
          <p:cNvGraphicFramePr/>
          <p:nvPr/>
        </p:nvGraphicFramePr>
        <p:xfrm>
          <a:off x="-145337" y="1252182"/>
          <a:ext cx="5664097" cy="3955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251;p33">
            <a:extLst>
              <a:ext uri="{FF2B5EF4-FFF2-40B4-BE49-F238E27FC236}">
                <a16:creationId xmlns:a16="http://schemas.microsoft.com/office/drawing/2014/main" id="{38B60BC2-911E-87D6-9A61-35483D06E909}"/>
              </a:ext>
            </a:extLst>
          </p:cNvPr>
          <p:cNvSpPr txBox="1">
            <a:spLocks/>
          </p:cNvSpPr>
          <p:nvPr/>
        </p:nvSpPr>
        <p:spPr>
          <a:xfrm>
            <a:off x="5317542" y="1578064"/>
            <a:ext cx="4303166" cy="361274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Rychlejší odpisy firem (možno i do chudších regionů jako v PL)</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Posílení dopravní dostupnosti regionální dostupnosti více center (nejen Praha, VRT)</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Lepší systémy investic do českých firem a infrastruktury (IES, 3. pilíř)</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p:txBody>
      </p:sp>
    </p:spTree>
    <p:extLst>
      <p:ext uri="{BB962C8B-B14F-4D97-AF65-F5344CB8AC3E}">
        <p14:creationId xmlns:p14="http://schemas.microsoft.com/office/powerpoint/2010/main" val="23701481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269DF2CB-6BD0-57A1-6103-E55643072037}"/>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1CDFDDC1-6CBE-A1E0-98D9-DFC441FF0976}"/>
              </a:ext>
            </a:extLst>
          </p:cNvPr>
          <p:cNvGraphicFramePr/>
          <p:nvPr/>
        </p:nvGraphicFramePr>
        <p:xfrm>
          <a:off x="-145337" y="1252182"/>
          <a:ext cx="5664097" cy="3955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251;p33">
            <a:extLst>
              <a:ext uri="{FF2B5EF4-FFF2-40B4-BE49-F238E27FC236}">
                <a16:creationId xmlns:a16="http://schemas.microsoft.com/office/drawing/2014/main" id="{D8F13FC4-E123-B0A7-5DFC-A70F04A7BA70}"/>
              </a:ext>
            </a:extLst>
          </p:cNvPr>
          <p:cNvSpPr txBox="1">
            <a:spLocks/>
          </p:cNvSpPr>
          <p:nvPr/>
        </p:nvSpPr>
        <p:spPr>
          <a:xfrm>
            <a:off x="5317542" y="1578064"/>
            <a:ext cx="4303166" cy="361274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pt-BR" sz="1733" kern="0">
                <a:solidFill>
                  <a:srgbClr val="BEE3DB"/>
                </a:solidFill>
              </a:rPr>
              <a:t>Menší danění práce a firem, vyšší majetku a spotřeby</a:t>
            </a:r>
            <a:r>
              <a:rPr lang="cs-CZ" sz="1733" kern="0">
                <a:solidFill>
                  <a:srgbClr val="BEE3DB"/>
                </a:solidFill>
              </a:rPr>
              <a:t> = RUST</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Omezení </a:t>
            </a:r>
            <a:r>
              <a:rPr lang="cs-CZ" sz="1733" kern="0" err="1">
                <a:solidFill>
                  <a:srgbClr val="BEE3DB"/>
                </a:solidFill>
              </a:rPr>
              <a:t>degresivity</a:t>
            </a:r>
            <a:r>
              <a:rPr lang="cs-CZ" sz="1733" kern="0">
                <a:solidFill>
                  <a:srgbClr val="BEE3DB"/>
                </a:solidFill>
              </a:rPr>
              <a:t> u OSVČ a nemovitostí = miliardy v kupní síle či peníze na služby</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Omezení motivací k šedé ekonomice a úniků z trhu práce (vysoké danění chudších zaměstnanců, DPP atd.)</a:t>
            </a:r>
          </a:p>
          <a:p>
            <a:pPr marL="0" indent="0" defTabSz="990570">
              <a:spcAft>
                <a:spcPts val="1950"/>
              </a:spcAft>
              <a:buClr>
                <a:srgbClr val="FFFFFF"/>
              </a:buClr>
              <a:buNone/>
            </a:pP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sk-SK"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p:txBody>
      </p:sp>
    </p:spTree>
    <p:extLst>
      <p:ext uri="{BB962C8B-B14F-4D97-AF65-F5344CB8AC3E}">
        <p14:creationId xmlns:p14="http://schemas.microsoft.com/office/powerpoint/2010/main" val="920829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7ADAB-6B74-D166-3057-53B021809DDA}"/>
            </a:ext>
          </a:extLst>
        </p:cNvPr>
        <p:cNvGrpSpPr/>
        <p:nvPr/>
      </p:nvGrpSpPr>
      <p:grpSpPr>
        <a:xfrm>
          <a:off x="0" y="0"/>
          <a:ext cx="0" cy="0"/>
          <a:chOff x="0" y="0"/>
          <a:chExt cx="0" cy="0"/>
        </a:xfrm>
      </p:grpSpPr>
      <p:pic>
        <p:nvPicPr>
          <p:cNvPr id="3" name="Picture 17">
            <a:extLst>
              <a:ext uri="{FF2B5EF4-FFF2-40B4-BE49-F238E27FC236}">
                <a16:creationId xmlns:a16="http://schemas.microsoft.com/office/drawing/2014/main" id="{72621F18-9BF4-22D7-9A23-D76CE5BCEF02}"/>
              </a:ext>
            </a:extLst>
          </p:cNvPr>
          <p:cNvPicPr>
            <a:picLocks noChangeAspect="1"/>
          </p:cNvPicPr>
          <p:nvPr/>
        </p:nvPicPr>
        <p:blipFill>
          <a:blip r:embed="rId2"/>
          <a:stretch>
            <a:fillRect/>
          </a:stretch>
        </p:blipFill>
        <p:spPr>
          <a:xfrm>
            <a:off x="3586391" y="1030177"/>
            <a:ext cx="5915114" cy="4053951"/>
          </a:xfrm>
          <a:prstGeom prst="rect">
            <a:avLst/>
          </a:prstGeom>
        </p:spPr>
      </p:pic>
      <p:sp>
        <p:nvSpPr>
          <p:cNvPr id="4" name="Google Shape;348;p40">
            <a:extLst>
              <a:ext uri="{FF2B5EF4-FFF2-40B4-BE49-F238E27FC236}">
                <a16:creationId xmlns:a16="http://schemas.microsoft.com/office/drawing/2014/main" id="{620AD12A-C80D-D113-A6BE-FC0C07A97FA8}"/>
              </a:ext>
            </a:extLst>
          </p:cNvPr>
          <p:cNvSpPr txBox="1">
            <a:spLocks/>
          </p:cNvSpPr>
          <p:nvPr/>
        </p:nvSpPr>
        <p:spPr>
          <a:xfrm>
            <a:off x="210610" y="1047431"/>
            <a:ext cx="3355550" cy="4754880"/>
          </a:xfrm>
          <a:prstGeom prst="rect">
            <a:avLst/>
          </a:prstGeom>
          <a:noFill/>
          <a:ln>
            <a:noFill/>
          </a:ln>
        </p:spPr>
        <p:txBody>
          <a:bodyPr spcFirstLastPara="1" wrap="square" lIns="99044" tIns="99044" rIns="99044" bIns="99044"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1pPr>
            <a:lvl2pPr marR="0" lvl="1"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2pPr>
            <a:lvl3pPr marR="0" lvl="2"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3pPr>
            <a:lvl4pPr marR="0" lvl="3"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4pPr>
            <a:lvl5pPr marR="0" lvl="4"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5pPr>
            <a:lvl6pPr marR="0" lvl="5"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6pPr>
            <a:lvl7pPr marR="0" lvl="6"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7pPr>
            <a:lvl8pPr marR="0" lvl="7"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8pPr>
            <a:lvl9pPr marR="0" lvl="8" algn="l" rtl="0">
              <a:lnSpc>
                <a:spcPct val="100000"/>
              </a:lnSpc>
              <a:spcBef>
                <a:spcPts val="0"/>
              </a:spcBef>
              <a:spcAft>
                <a:spcPts val="0"/>
              </a:spcAft>
              <a:buClr>
                <a:schemeClr val="accent2"/>
              </a:buClr>
              <a:buSzPts val="3500"/>
              <a:buFont typeface="DM Serif Display"/>
              <a:buNone/>
              <a:defRPr sz="3500" b="0" i="0" u="none" strike="noStrike" cap="none">
                <a:solidFill>
                  <a:schemeClr val="accent2"/>
                </a:solidFill>
                <a:latin typeface="DM Serif Display"/>
                <a:ea typeface="DM Serif Display"/>
                <a:cs typeface="DM Serif Display"/>
                <a:sym typeface="DM Serif Display"/>
              </a:defRPr>
            </a:lvl9pPr>
          </a:lstStyle>
          <a:p>
            <a:pPr defTabSz="990570">
              <a:spcAft>
                <a:spcPts val="1950"/>
              </a:spcAft>
              <a:buClr>
                <a:srgbClr val="FFFFFF"/>
              </a:buClr>
            </a:pPr>
            <a:r>
              <a:rPr lang="cs-CZ" sz="1950" kern="0">
                <a:solidFill>
                  <a:srgbClr val="FFFFFF"/>
                </a:solidFill>
              </a:rPr>
              <a:t>Regresivní daňový systém – poškozuje i chudé regiony</a:t>
            </a:r>
          </a:p>
        </p:txBody>
      </p:sp>
    </p:spTree>
    <p:extLst>
      <p:ext uri="{BB962C8B-B14F-4D97-AF65-F5344CB8AC3E}">
        <p14:creationId xmlns:p14="http://schemas.microsoft.com/office/powerpoint/2010/main" val="19597305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4DBA25EE-6E89-6DE5-1C3C-AEDC8E7B9815}"/>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85BC9AE6-F475-AE61-E75C-73A3C05D18BC}"/>
              </a:ext>
            </a:extLst>
          </p:cNvPr>
          <p:cNvGraphicFramePr/>
          <p:nvPr/>
        </p:nvGraphicFramePr>
        <p:xfrm>
          <a:off x="-145337" y="1252182"/>
          <a:ext cx="5664097" cy="3955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251;p33">
            <a:extLst>
              <a:ext uri="{FF2B5EF4-FFF2-40B4-BE49-F238E27FC236}">
                <a16:creationId xmlns:a16="http://schemas.microsoft.com/office/drawing/2014/main" id="{4E1C8EF1-ACD2-F104-79F7-AFB78C05807B}"/>
              </a:ext>
            </a:extLst>
          </p:cNvPr>
          <p:cNvSpPr txBox="1">
            <a:spLocks/>
          </p:cNvSpPr>
          <p:nvPr/>
        </p:nvSpPr>
        <p:spPr>
          <a:xfrm>
            <a:off x="5317542" y="1650379"/>
            <a:ext cx="4303166" cy="354042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Omezení roztříštěnosti ZŠ (úspory z rozsahu, omezení administrativy, lepší řízení)</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Omezení extrémní specializace SŠ</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Indexové financování škol</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Specifická opatření, která pomáhají zvýšit úspěšnost</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a:p>
            <a:pPr marL="151337" indent="0" defTabSz="990570">
              <a:spcAft>
                <a:spcPts val="650"/>
              </a:spcAft>
              <a:buClr>
                <a:srgbClr val="FFFFFF"/>
              </a:buClr>
              <a:buNone/>
            </a:pP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sk-SK"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p:txBody>
      </p:sp>
    </p:spTree>
    <p:extLst>
      <p:ext uri="{BB962C8B-B14F-4D97-AF65-F5344CB8AC3E}">
        <p14:creationId xmlns:p14="http://schemas.microsoft.com/office/powerpoint/2010/main" val="4268469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B45B5-C750-7D32-7A50-D45E12CFD517}"/>
            </a:ext>
          </a:extLst>
        </p:cNvPr>
        <p:cNvGrpSpPr/>
        <p:nvPr/>
      </p:nvGrpSpPr>
      <p:grpSpPr>
        <a:xfrm>
          <a:off x="0" y="0"/>
          <a:ext cx="0" cy="0"/>
          <a:chOff x="0" y="0"/>
          <a:chExt cx="0" cy="0"/>
        </a:xfrm>
      </p:grpSpPr>
      <p:grpSp>
        <p:nvGrpSpPr>
          <p:cNvPr id="8" name="Skupina 7">
            <a:extLst>
              <a:ext uri="{FF2B5EF4-FFF2-40B4-BE49-F238E27FC236}">
                <a16:creationId xmlns:a16="http://schemas.microsoft.com/office/drawing/2014/main" id="{0958EE81-EE91-5E21-0DA9-0E2AB133713E}"/>
              </a:ext>
            </a:extLst>
          </p:cNvPr>
          <p:cNvGrpSpPr/>
          <p:nvPr/>
        </p:nvGrpSpPr>
        <p:grpSpPr>
          <a:xfrm>
            <a:off x="1083470" y="766763"/>
            <a:ext cx="7980783" cy="5324475"/>
            <a:chOff x="1076325" y="561975"/>
            <a:chExt cx="6410325" cy="4276725"/>
          </a:xfrm>
        </p:grpSpPr>
        <p:sp>
          <p:nvSpPr>
            <p:cNvPr id="7" name="Obdélník 6">
              <a:extLst>
                <a:ext uri="{FF2B5EF4-FFF2-40B4-BE49-F238E27FC236}">
                  <a16:creationId xmlns:a16="http://schemas.microsoft.com/office/drawing/2014/main" id="{EFE08BE5-74A9-1940-3046-A3643DE2FACC}"/>
                </a:ext>
              </a:extLst>
            </p:cNvPr>
            <p:cNvSpPr/>
            <p:nvPr/>
          </p:nvSpPr>
          <p:spPr>
            <a:xfrm>
              <a:off x="1076325" y="561975"/>
              <a:ext cx="6410325" cy="4276725"/>
            </a:xfrm>
            <a:prstGeom prst="rect">
              <a:avLst/>
            </a:prstGeom>
            <a:solidFill>
              <a:schemeClr val="accent2">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90570">
                <a:buClr>
                  <a:srgbClr val="000000"/>
                </a:buClr>
              </a:pPr>
              <a:endParaRPr lang="en-US" sz="1517" kern="0">
                <a:solidFill>
                  <a:srgbClr val="F59AFF"/>
                </a:solidFill>
                <a:latin typeface="Arial"/>
                <a:sym typeface="Arial"/>
              </a:endParaRPr>
            </a:p>
          </p:txBody>
        </p:sp>
        <p:pic>
          <p:nvPicPr>
            <p:cNvPr id="6" name="Obrázek 5" descr="Obsah obrázku snímek obrazovky, text, kruh&#10;&#10;Obsah generovaný pomocí AI může být nesprávný.">
              <a:extLst>
                <a:ext uri="{FF2B5EF4-FFF2-40B4-BE49-F238E27FC236}">
                  <a16:creationId xmlns:a16="http://schemas.microsoft.com/office/drawing/2014/main" id="{8F266EB2-A381-A2F2-0D61-44FF15A580D0}"/>
                </a:ext>
              </a:extLst>
            </p:cNvPr>
            <p:cNvPicPr>
              <a:picLocks noChangeAspect="1"/>
            </p:cNvPicPr>
            <p:nvPr/>
          </p:nvPicPr>
          <p:blipFill>
            <a:blip r:embed="rId2"/>
            <a:stretch>
              <a:fillRect/>
            </a:stretch>
          </p:blipFill>
          <p:spPr>
            <a:xfrm>
              <a:off x="1419005" y="909564"/>
              <a:ext cx="5734270" cy="3757685"/>
            </a:xfrm>
            <a:prstGeom prst="rect">
              <a:avLst/>
            </a:prstGeom>
          </p:spPr>
        </p:pic>
      </p:grpSp>
    </p:spTree>
    <p:extLst>
      <p:ext uri="{BB962C8B-B14F-4D97-AF65-F5344CB8AC3E}">
        <p14:creationId xmlns:p14="http://schemas.microsoft.com/office/powerpoint/2010/main" val="23455467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8A52E25A-25AE-AA07-09AD-40BA2CDDDF63}"/>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C4684FB4-F2F8-7AF3-BCB4-1F5E0C90C5A6}"/>
              </a:ext>
            </a:extLst>
          </p:cNvPr>
          <p:cNvGraphicFramePr/>
          <p:nvPr/>
        </p:nvGraphicFramePr>
        <p:xfrm>
          <a:off x="-145337" y="1252182"/>
          <a:ext cx="5664097" cy="3955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251;p33">
            <a:extLst>
              <a:ext uri="{FF2B5EF4-FFF2-40B4-BE49-F238E27FC236}">
                <a16:creationId xmlns:a16="http://schemas.microsoft.com/office/drawing/2014/main" id="{25BCB501-F060-7ED5-05EB-3B3D314D26C6}"/>
              </a:ext>
            </a:extLst>
          </p:cNvPr>
          <p:cNvSpPr txBox="1">
            <a:spLocks/>
          </p:cNvSpPr>
          <p:nvPr/>
        </p:nvSpPr>
        <p:spPr>
          <a:xfrm>
            <a:off x="5317542" y="1578064"/>
            <a:ext cx="4303166" cy="361274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sk-SK" sz="1733" kern="0" err="1">
                <a:solidFill>
                  <a:srgbClr val="BEE3DB"/>
                </a:solidFill>
              </a:rPr>
              <a:t>Posílení</a:t>
            </a:r>
            <a:r>
              <a:rPr lang="sk-SK" sz="1733" kern="0">
                <a:solidFill>
                  <a:srgbClr val="BEE3DB"/>
                </a:solidFill>
              </a:rPr>
              <a:t> vstupu do </a:t>
            </a:r>
            <a:r>
              <a:rPr lang="sk-SK" sz="1733" kern="0" err="1">
                <a:solidFill>
                  <a:srgbClr val="BEE3DB"/>
                </a:solidFill>
              </a:rPr>
              <a:t>oddlužení</a:t>
            </a:r>
            <a:r>
              <a:rPr lang="sk-SK" sz="1733" kern="0">
                <a:solidFill>
                  <a:srgbClr val="BEE3DB"/>
                </a:solidFill>
              </a:rPr>
              <a:t> (</a:t>
            </a:r>
            <a:r>
              <a:rPr lang="sk-SK" sz="1733" kern="0" err="1">
                <a:solidFill>
                  <a:srgbClr val="BEE3DB"/>
                </a:solidFill>
              </a:rPr>
              <a:t>informování</a:t>
            </a:r>
            <a:r>
              <a:rPr lang="sk-SK" sz="1733" kern="0">
                <a:solidFill>
                  <a:srgbClr val="BEE3DB"/>
                </a:solidFill>
              </a:rPr>
              <a:t>)</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sk-SK" sz="1733" kern="0" err="1">
                <a:solidFill>
                  <a:srgbClr val="BEE3DB"/>
                </a:solidFill>
              </a:rPr>
              <a:t>Srážky</a:t>
            </a:r>
            <a:r>
              <a:rPr lang="sk-SK" sz="1733" kern="0">
                <a:solidFill>
                  <a:srgbClr val="BEE3DB"/>
                </a:solidFill>
              </a:rPr>
              <a:t> v </a:t>
            </a:r>
            <a:r>
              <a:rPr lang="sk-SK" sz="1733" kern="0" err="1">
                <a:solidFill>
                  <a:srgbClr val="BEE3DB"/>
                </a:solidFill>
              </a:rPr>
              <a:t>exekucích</a:t>
            </a:r>
            <a:r>
              <a:rPr lang="sk-SK" sz="1733" kern="0">
                <a:solidFill>
                  <a:srgbClr val="BEE3DB"/>
                </a:solidFill>
              </a:rPr>
              <a:t> </a:t>
            </a:r>
            <a:r>
              <a:rPr lang="sk-SK" sz="1733" kern="0" err="1">
                <a:solidFill>
                  <a:srgbClr val="BEE3DB"/>
                </a:solidFill>
              </a:rPr>
              <a:t>motivující</a:t>
            </a:r>
            <a:r>
              <a:rPr lang="sk-SK" sz="1733" kern="0">
                <a:solidFill>
                  <a:srgbClr val="BEE3DB"/>
                </a:solidFill>
              </a:rPr>
              <a:t> </a:t>
            </a:r>
            <a:r>
              <a:rPr lang="sk-SK" sz="1733" kern="0" err="1">
                <a:solidFill>
                  <a:srgbClr val="BEE3DB"/>
                </a:solidFill>
              </a:rPr>
              <a:t>legálně</a:t>
            </a:r>
            <a:r>
              <a:rPr lang="sk-SK" sz="1733" kern="0">
                <a:solidFill>
                  <a:srgbClr val="BEE3DB"/>
                </a:solidFill>
              </a:rPr>
              <a:t> </a:t>
            </a:r>
            <a:r>
              <a:rPr lang="sk-SK" sz="1733" kern="0" err="1">
                <a:solidFill>
                  <a:srgbClr val="BEE3DB"/>
                </a:solidFill>
              </a:rPr>
              <a:t>pracovat</a:t>
            </a: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sk-SK"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p:txBody>
      </p:sp>
    </p:spTree>
    <p:extLst>
      <p:ext uri="{BB962C8B-B14F-4D97-AF65-F5344CB8AC3E}">
        <p14:creationId xmlns:p14="http://schemas.microsoft.com/office/powerpoint/2010/main" val="38064776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153006-F2C3-6EF1-2511-B2F98A2CF22C}"/>
            </a:ext>
          </a:extLst>
        </p:cNvPr>
        <p:cNvGrpSpPr/>
        <p:nvPr/>
      </p:nvGrpSpPr>
      <p:grpSpPr>
        <a:xfrm>
          <a:off x="0" y="0"/>
          <a:ext cx="0" cy="0"/>
          <a:chOff x="0" y="0"/>
          <a:chExt cx="0" cy="0"/>
        </a:xfrm>
      </p:grpSpPr>
      <p:pic>
        <p:nvPicPr>
          <p:cNvPr id="4" name="Obrázek 3">
            <a:extLst>
              <a:ext uri="{FF2B5EF4-FFF2-40B4-BE49-F238E27FC236}">
                <a16:creationId xmlns:a16="http://schemas.microsoft.com/office/drawing/2014/main" id="{47F64F39-E193-FAE8-86F9-1F54CFA2B52D}"/>
              </a:ext>
            </a:extLst>
          </p:cNvPr>
          <p:cNvPicPr>
            <a:picLocks noChangeAspect="1"/>
          </p:cNvPicPr>
          <p:nvPr/>
        </p:nvPicPr>
        <p:blipFill>
          <a:blip r:embed="rId2"/>
          <a:stretch>
            <a:fillRect/>
          </a:stretch>
        </p:blipFill>
        <p:spPr>
          <a:xfrm>
            <a:off x="1931671" y="1005320"/>
            <a:ext cx="6639077" cy="4847360"/>
          </a:xfrm>
          <a:prstGeom prst="rect">
            <a:avLst/>
          </a:prstGeom>
        </p:spPr>
      </p:pic>
    </p:spTree>
    <p:extLst>
      <p:ext uri="{BB962C8B-B14F-4D97-AF65-F5344CB8AC3E}">
        <p14:creationId xmlns:p14="http://schemas.microsoft.com/office/powerpoint/2010/main" val="5524842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F95145F6-F154-AD46-8A16-60899778201E}"/>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EED4536E-A953-95E6-1A6A-AC373E32B1AD}"/>
              </a:ext>
            </a:extLst>
          </p:cNvPr>
          <p:cNvGraphicFramePr/>
          <p:nvPr/>
        </p:nvGraphicFramePr>
        <p:xfrm>
          <a:off x="-145337" y="1252182"/>
          <a:ext cx="5664097" cy="3955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251;p33">
            <a:extLst>
              <a:ext uri="{FF2B5EF4-FFF2-40B4-BE49-F238E27FC236}">
                <a16:creationId xmlns:a16="http://schemas.microsoft.com/office/drawing/2014/main" id="{58B56BB6-5613-48D4-0BED-DAA81F8E5DC7}"/>
              </a:ext>
            </a:extLst>
          </p:cNvPr>
          <p:cNvSpPr txBox="1">
            <a:spLocks/>
          </p:cNvSpPr>
          <p:nvPr/>
        </p:nvSpPr>
        <p:spPr>
          <a:xfrm>
            <a:off x="5317542" y="1578064"/>
            <a:ext cx="4303166" cy="361274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sk-SK" sz="1733" kern="0">
                <a:solidFill>
                  <a:srgbClr val="BEE3DB"/>
                </a:solidFill>
              </a:rPr>
              <a:t>Obecní a dostupné </a:t>
            </a:r>
            <a:r>
              <a:rPr lang="sk-SK" sz="1733" kern="0" err="1">
                <a:solidFill>
                  <a:srgbClr val="BEE3DB"/>
                </a:solidFill>
              </a:rPr>
              <a:t>bydlení</a:t>
            </a:r>
            <a:r>
              <a:rPr lang="sk-SK" sz="1733" kern="0">
                <a:solidFill>
                  <a:srgbClr val="BEE3DB"/>
                </a:solidFill>
              </a:rPr>
              <a:t> </a:t>
            </a:r>
            <a:r>
              <a:rPr lang="sk-SK" sz="1733" kern="0" err="1">
                <a:solidFill>
                  <a:srgbClr val="BEE3DB"/>
                </a:solidFill>
              </a:rPr>
              <a:t>místo</a:t>
            </a:r>
            <a:r>
              <a:rPr lang="sk-SK" sz="1733" kern="0">
                <a:solidFill>
                  <a:srgbClr val="BEE3DB"/>
                </a:solidFill>
              </a:rPr>
              <a:t> </a:t>
            </a:r>
            <a:r>
              <a:rPr lang="sk-SK" sz="1733" kern="0" err="1">
                <a:solidFill>
                  <a:srgbClr val="BEE3DB"/>
                </a:solidFill>
              </a:rPr>
              <a:t>spoléhání</a:t>
            </a:r>
            <a:r>
              <a:rPr lang="sk-SK" sz="1733" kern="0">
                <a:solidFill>
                  <a:srgbClr val="BEE3DB"/>
                </a:solidFill>
              </a:rPr>
              <a:t> na </a:t>
            </a:r>
            <a:r>
              <a:rPr lang="sk-SK" sz="1733" kern="0" err="1">
                <a:solidFill>
                  <a:srgbClr val="BEE3DB"/>
                </a:solidFill>
              </a:rPr>
              <a:t>příspěvky</a:t>
            </a:r>
            <a:endParaRPr lang="sk-SK"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sk-SK" sz="1733" kern="0">
                <a:solidFill>
                  <a:srgbClr val="BEE3DB"/>
                </a:solidFill>
              </a:rPr>
              <a:t>Nastavení </a:t>
            </a:r>
            <a:r>
              <a:rPr lang="sk-SK" sz="1733" kern="0" err="1">
                <a:solidFill>
                  <a:srgbClr val="BEE3DB"/>
                </a:solidFill>
              </a:rPr>
              <a:t>normativů</a:t>
            </a:r>
            <a:r>
              <a:rPr lang="sk-SK" sz="1733" kern="0">
                <a:solidFill>
                  <a:srgbClr val="BEE3DB"/>
                </a:solidFill>
              </a:rPr>
              <a:t> </a:t>
            </a:r>
            <a:r>
              <a:rPr lang="sk-SK" sz="1733" kern="0" err="1">
                <a:solidFill>
                  <a:srgbClr val="BEE3DB"/>
                </a:solidFill>
              </a:rPr>
              <a:t>podle</a:t>
            </a:r>
            <a:r>
              <a:rPr lang="sk-SK" sz="1733" kern="0">
                <a:solidFill>
                  <a:srgbClr val="BEE3DB"/>
                </a:solidFill>
              </a:rPr>
              <a:t> cenové mapy – </a:t>
            </a:r>
            <a:r>
              <a:rPr lang="sk-SK" sz="1733" kern="0" err="1">
                <a:solidFill>
                  <a:srgbClr val="BEE3DB"/>
                </a:solidFill>
              </a:rPr>
              <a:t>ne</a:t>
            </a:r>
            <a:r>
              <a:rPr lang="sk-SK" sz="1733" kern="0">
                <a:solidFill>
                  <a:srgbClr val="BEE3DB"/>
                </a:solidFill>
              </a:rPr>
              <a:t> vyšší hodnota v chudých </a:t>
            </a:r>
            <a:r>
              <a:rPr lang="sk-SK" sz="1733" kern="0" err="1">
                <a:solidFill>
                  <a:srgbClr val="BEE3DB"/>
                </a:solidFill>
              </a:rPr>
              <a:t>regionech</a:t>
            </a:r>
            <a:endParaRPr lang="sk-SK"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sk-SK" sz="1733" kern="0" err="1">
                <a:solidFill>
                  <a:srgbClr val="BEE3DB"/>
                </a:solidFill>
              </a:rPr>
              <a:t>Omezení</a:t>
            </a:r>
            <a:r>
              <a:rPr lang="sk-SK" sz="1733" kern="0">
                <a:solidFill>
                  <a:srgbClr val="BEE3DB"/>
                </a:solidFill>
              </a:rPr>
              <a:t> </a:t>
            </a:r>
            <a:r>
              <a:rPr lang="sk-SK" sz="1733" kern="0" err="1">
                <a:solidFill>
                  <a:srgbClr val="BEE3DB"/>
                </a:solidFill>
              </a:rPr>
              <a:t>vytlačování</a:t>
            </a:r>
            <a:r>
              <a:rPr lang="sk-SK" sz="1733" kern="0">
                <a:solidFill>
                  <a:srgbClr val="BEE3DB"/>
                </a:solidFill>
              </a:rPr>
              <a:t>  chudých do </a:t>
            </a:r>
            <a:r>
              <a:rPr lang="sk-SK" sz="1733" kern="0" err="1">
                <a:solidFill>
                  <a:srgbClr val="BEE3DB"/>
                </a:solidFill>
              </a:rPr>
              <a:t>míst</a:t>
            </a:r>
            <a:r>
              <a:rPr lang="sk-SK" sz="1733" kern="0">
                <a:solidFill>
                  <a:srgbClr val="BEE3DB"/>
                </a:solidFill>
              </a:rPr>
              <a:t> s vyšší hodnotou </a:t>
            </a:r>
            <a:r>
              <a:rPr lang="sk-SK" sz="1733" kern="0" err="1">
                <a:solidFill>
                  <a:srgbClr val="BEE3DB"/>
                </a:solidFill>
              </a:rPr>
              <a:t>dávek</a:t>
            </a: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sk-SK"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p:txBody>
      </p:sp>
    </p:spTree>
    <p:extLst>
      <p:ext uri="{BB962C8B-B14F-4D97-AF65-F5344CB8AC3E}">
        <p14:creationId xmlns:p14="http://schemas.microsoft.com/office/powerpoint/2010/main" val="2310827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A5875-1F73-0ADF-7CA6-E3C80ED637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1BF468-E2A7-F929-CE05-19A752A360DB}"/>
              </a:ext>
            </a:extLst>
          </p:cNvPr>
          <p:cNvSpPr>
            <a:spLocks noGrp="1"/>
          </p:cNvSpPr>
          <p:nvPr>
            <p:ph type="title"/>
          </p:nvPr>
        </p:nvSpPr>
        <p:spPr/>
        <p:txBody>
          <a:bodyPr lIns="91440" tIns="45720" rIns="91440" bIns="45720" anchor="t">
            <a:normAutofit/>
          </a:bodyPr>
          <a:lstStyle/>
          <a:p>
            <a:r>
              <a:rPr lang="en-US" sz="3600" err="1">
                <a:solidFill>
                  <a:srgbClr val="0C4CA3"/>
                </a:solidFill>
                <a:cs typeface="Calibri"/>
              </a:rPr>
              <a:t>Novinky</a:t>
            </a:r>
            <a:r>
              <a:rPr lang="en-US" sz="3600">
                <a:solidFill>
                  <a:srgbClr val="0C4CA3"/>
                </a:solidFill>
                <a:cs typeface="Calibri"/>
              </a:rPr>
              <a:t> RE:START</a:t>
            </a:r>
          </a:p>
        </p:txBody>
      </p:sp>
      <p:sp>
        <p:nvSpPr>
          <p:cNvPr id="3" name="Content Placeholder 2">
            <a:extLst>
              <a:ext uri="{FF2B5EF4-FFF2-40B4-BE49-F238E27FC236}">
                <a16:creationId xmlns:a16="http://schemas.microsoft.com/office/drawing/2014/main" id="{1BEF9562-428C-2C0B-09DD-5D8EF5B4B2BA}"/>
              </a:ext>
            </a:extLst>
          </p:cNvPr>
          <p:cNvSpPr>
            <a:spLocks noGrp="1"/>
          </p:cNvSpPr>
          <p:nvPr>
            <p:ph idx="1"/>
          </p:nvPr>
        </p:nvSpPr>
        <p:spPr>
          <a:xfrm>
            <a:off x="484648" y="1278627"/>
            <a:ext cx="8915400" cy="4709563"/>
          </a:xfrm>
        </p:spPr>
        <p:txBody>
          <a:bodyPr lIns="91440" tIns="45720" rIns="91440" bIns="45720" anchor="t"/>
          <a:lstStyle/>
          <a:p>
            <a:pPr marL="0" indent="0">
              <a:spcBef>
                <a:spcPts val="300"/>
              </a:spcBef>
              <a:buNone/>
            </a:pPr>
            <a:r>
              <a:rPr lang="en-US" sz="3000" b="1">
                <a:solidFill>
                  <a:srgbClr val="034EA2"/>
                </a:solidFill>
                <a:ea typeface="Calibri"/>
                <a:cs typeface="Calibri"/>
              </a:rPr>
              <a:t>TSI</a:t>
            </a:r>
            <a:endParaRPr lang="en-US" sz="3000" b="1">
              <a:solidFill>
                <a:srgbClr val="034EA2"/>
              </a:solidFill>
            </a:endParaRPr>
          </a:p>
          <a:p>
            <a:pPr marL="374650" indent="-374650">
              <a:spcBef>
                <a:spcPts val="300"/>
              </a:spcBef>
            </a:pPr>
            <a:r>
              <a:rPr lang="en-US" sz="2800" err="1">
                <a:ea typeface="Calibri"/>
                <a:cs typeface="Calibri"/>
              </a:rPr>
              <a:t>Téma</a:t>
            </a:r>
            <a:r>
              <a:rPr lang="en-US" sz="2800">
                <a:ea typeface="Calibri"/>
                <a:cs typeface="Calibri"/>
              </a:rPr>
              <a:t> - </a:t>
            </a:r>
            <a:r>
              <a:rPr lang="en-US" sz="2800" err="1">
                <a:ea typeface="Calibri"/>
                <a:cs typeface="Calibri"/>
              </a:rPr>
              <a:t>posílení</a:t>
            </a:r>
            <a:r>
              <a:rPr lang="en-US" sz="2800">
                <a:ea typeface="Calibri"/>
                <a:cs typeface="Calibri"/>
              </a:rPr>
              <a:t> </a:t>
            </a:r>
            <a:r>
              <a:rPr lang="en-US" sz="2800" err="1">
                <a:ea typeface="Calibri"/>
                <a:cs typeface="Calibri"/>
              </a:rPr>
              <a:t>odborné</a:t>
            </a:r>
            <a:r>
              <a:rPr lang="en-US" sz="2800">
                <a:ea typeface="Calibri"/>
                <a:cs typeface="Calibri"/>
              </a:rPr>
              <a:t> </a:t>
            </a:r>
            <a:r>
              <a:rPr lang="en-US" sz="2800" err="1">
                <a:ea typeface="Calibri"/>
                <a:cs typeface="Calibri"/>
              </a:rPr>
              <a:t>administrativní</a:t>
            </a:r>
            <a:r>
              <a:rPr lang="en-US" sz="2800">
                <a:ea typeface="Calibri"/>
                <a:cs typeface="Calibri"/>
              </a:rPr>
              <a:t> </a:t>
            </a:r>
            <a:r>
              <a:rPr lang="en-US" sz="2800" err="1">
                <a:ea typeface="Calibri"/>
                <a:cs typeface="Calibri"/>
              </a:rPr>
              <a:t>kapacity</a:t>
            </a:r>
            <a:endParaRPr lang="en-US" sz="2800">
              <a:ea typeface="Calibri"/>
              <a:cs typeface="Calibri"/>
            </a:endParaRPr>
          </a:p>
          <a:p>
            <a:pPr marL="374650" indent="-374650">
              <a:spcBef>
                <a:spcPts val="300"/>
              </a:spcBef>
            </a:pPr>
            <a:r>
              <a:rPr lang="en-US" sz="2800" err="1">
                <a:ea typeface="Calibri"/>
                <a:cs typeface="Calibri"/>
              </a:rPr>
              <a:t>Zvažujeme</a:t>
            </a:r>
            <a:r>
              <a:rPr lang="en-US" sz="2800">
                <a:ea typeface="Calibri"/>
                <a:cs typeface="Calibri"/>
              </a:rPr>
              <a:t> </a:t>
            </a:r>
            <a:r>
              <a:rPr lang="en-US" sz="2800" err="1">
                <a:ea typeface="Calibri"/>
                <a:cs typeface="Calibri"/>
              </a:rPr>
              <a:t>zahraničního</a:t>
            </a:r>
            <a:r>
              <a:rPr lang="en-US" sz="2800">
                <a:ea typeface="Calibri"/>
                <a:cs typeface="Calibri"/>
              </a:rPr>
              <a:t> </a:t>
            </a:r>
            <a:r>
              <a:rPr lang="en-US" sz="2800" err="1">
                <a:ea typeface="Calibri"/>
                <a:cs typeface="Calibri"/>
              </a:rPr>
              <a:t>partnera</a:t>
            </a:r>
            <a:endParaRPr lang="en-US" sz="2800">
              <a:ea typeface="Calibri"/>
              <a:cs typeface="Calibri"/>
            </a:endParaRPr>
          </a:p>
          <a:p>
            <a:pPr marL="374650" indent="-374650">
              <a:spcBef>
                <a:spcPts val="300"/>
              </a:spcBef>
            </a:pPr>
            <a:r>
              <a:rPr lang="en-US" sz="2800">
                <a:ea typeface="Calibri"/>
                <a:cs typeface="Calibri"/>
              </a:rPr>
              <a:t>3 </a:t>
            </a:r>
            <a:r>
              <a:rPr lang="en-US" sz="2800" err="1">
                <a:ea typeface="Calibri"/>
                <a:cs typeface="Calibri"/>
              </a:rPr>
              <a:t>pomyslné</a:t>
            </a:r>
            <a:r>
              <a:rPr lang="en-US" sz="2800">
                <a:ea typeface="Calibri"/>
                <a:cs typeface="Calibri"/>
              </a:rPr>
              <a:t> </a:t>
            </a:r>
            <a:r>
              <a:rPr lang="en-US" sz="2800" err="1">
                <a:ea typeface="Calibri"/>
                <a:cs typeface="Calibri"/>
              </a:rPr>
              <a:t>oblasti</a:t>
            </a:r>
            <a:r>
              <a:rPr lang="en-US" sz="2800">
                <a:ea typeface="Calibri"/>
                <a:cs typeface="Calibri"/>
              </a:rPr>
              <a:t> </a:t>
            </a:r>
            <a:r>
              <a:rPr lang="en-US" sz="2800" err="1">
                <a:ea typeface="Calibri"/>
                <a:cs typeface="Calibri"/>
              </a:rPr>
              <a:t>projektu</a:t>
            </a:r>
            <a:r>
              <a:rPr lang="en-US" sz="2800">
                <a:ea typeface="Calibri"/>
                <a:cs typeface="Calibri"/>
              </a:rPr>
              <a:t>:</a:t>
            </a:r>
          </a:p>
          <a:p>
            <a:pPr marL="1248410" lvl="2" indent="-249555">
              <a:spcBef>
                <a:spcPts val="300"/>
              </a:spcBef>
              <a:buFont typeface="Wingdings" pitchFamily="34" charset="0"/>
              <a:buChar char="§"/>
            </a:pPr>
            <a:r>
              <a:rPr lang="en-US" sz="2400" err="1">
                <a:ea typeface="Calibri"/>
                <a:cs typeface="Calibri"/>
              </a:rPr>
              <a:t>Analýza</a:t>
            </a:r>
            <a:r>
              <a:rPr lang="en-US" sz="2400">
                <a:ea typeface="Calibri"/>
                <a:cs typeface="Calibri"/>
              </a:rPr>
              <a:t>/ audit + </a:t>
            </a:r>
            <a:r>
              <a:rPr lang="en-US" sz="2400" err="1">
                <a:ea typeface="Calibri"/>
                <a:cs typeface="Calibri"/>
              </a:rPr>
              <a:t>doporučení</a:t>
            </a:r>
            <a:r>
              <a:rPr lang="en-US" sz="2400">
                <a:ea typeface="Calibri"/>
                <a:cs typeface="Calibri"/>
              </a:rPr>
              <a:t> a </a:t>
            </a:r>
            <a:r>
              <a:rPr lang="en-US" sz="2400" err="1">
                <a:ea typeface="Calibri"/>
                <a:cs typeface="Calibri"/>
              </a:rPr>
              <a:t>konkrétně</a:t>
            </a:r>
            <a:r>
              <a:rPr lang="en-US" sz="2400">
                <a:ea typeface="Calibri"/>
                <a:cs typeface="Calibri"/>
              </a:rPr>
              <a:t> </a:t>
            </a:r>
            <a:r>
              <a:rPr lang="en-US" sz="2400" err="1">
                <a:ea typeface="Calibri"/>
                <a:cs typeface="Calibri"/>
              </a:rPr>
              <a:t>zaměřená</a:t>
            </a:r>
            <a:r>
              <a:rPr lang="en-US" sz="2400">
                <a:ea typeface="Calibri"/>
                <a:cs typeface="Calibri"/>
              </a:rPr>
              <a:t> </a:t>
            </a:r>
            <a:r>
              <a:rPr lang="en-US" sz="2400" err="1">
                <a:ea typeface="Calibri"/>
                <a:cs typeface="Calibri"/>
              </a:rPr>
              <a:t>odborná</a:t>
            </a:r>
            <a:r>
              <a:rPr lang="en-US" sz="2400">
                <a:ea typeface="Calibri"/>
                <a:cs typeface="Calibri"/>
              </a:rPr>
              <a:t> </a:t>
            </a:r>
            <a:r>
              <a:rPr lang="en-US" sz="2400" err="1">
                <a:ea typeface="Calibri"/>
                <a:cs typeface="Calibri"/>
              </a:rPr>
              <a:t>školení</a:t>
            </a:r>
            <a:endParaRPr lang="en-US" sz="2400">
              <a:ea typeface="Calibri"/>
              <a:cs typeface="Calibri"/>
            </a:endParaRPr>
          </a:p>
          <a:p>
            <a:pPr marL="1248410" lvl="2" indent="-249555">
              <a:spcBef>
                <a:spcPts val="300"/>
              </a:spcBef>
              <a:buFont typeface="Wingdings" pitchFamily="34" charset="0"/>
              <a:buChar char="§"/>
            </a:pPr>
            <a:r>
              <a:rPr lang="en-US" sz="2400" err="1">
                <a:ea typeface="Calibri"/>
                <a:cs typeface="Calibri"/>
              </a:rPr>
              <a:t>Deštníkové</a:t>
            </a:r>
            <a:r>
              <a:rPr lang="en-US" sz="2400">
                <a:ea typeface="Calibri"/>
                <a:cs typeface="Calibri"/>
              </a:rPr>
              <a:t> </a:t>
            </a:r>
            <a:r>
              <a:rPr lang="en-US" sz="2400" err="1">
                <a:ea typeface="Calibri"/>
                <a:cs typeface="Calibri"/>
              </a:rPr>
              <a:t>projekty</a:t>
            </a:r>
            <a:r>
              <a:rPr lang="en-US" sz="2400">
                <a:ea typeface="Calibri"/>
                <a:cs typeface="Calibri"/>
              </a:rPr>
              <a:t> – u </a:t>
            </a:r>
            <a:r>
              <a:rPr lang="en-US" sz="2400" err="1">
                <a:ea typeface="Calibri"/>
                <a:cs typeface="Calibri"/>
              </a:rPr>
              <a:t>vybraných</a:t>
            </a:r>
            <a:r>
              <a:rPr lang="en-US" sz="2400">
                <a:ea typeface="Calibri"/>
                <a:cs typeface="Calibri"/>
              </a:rPr>
              <a:t> ORP </a:t>
            </a:r>
            <a:r>
              <a:rPr lang="en-US" sz="2400" err="1">
                <a:ea typeface="Calibri"/>
                <a:cs typeface="Calibri"/>
              </a:rPr>
              <a:t>zkušený</a:t>
            </a:r>
            <a:r>
              <a:rPr lang="en-US" sz="2400">
                <a:ea typeface="Calibri"/>
                <a:cs typeface="Calibri"/>
              </a:rPr>
              <a:t> </a:t>
            </a:r>
            <a:r>
              <a:rPr lang="en-US" sz="2400" err="1">
                <a:ea typeface="Calibri"/>
                <a:cs typeface="Calibri"/>
              </a:rPr>
              <a:t>projektový</a:t>
            </a:r>
            <a:r>
              <a:rPr lang="en-US" sz="2400">
                <a:ea typeface="Calibri"/>
                <a:cs typeface="Calibri"/>
              </a:rPr>
              <a:t> </a:t>
            </a:r>
            <a:r>
              <a:rPr lang="en-US" sz="2400" err="1">
                <a:ea typeface="Calibri"/>
                <a:cs typeface="Calibri"/>
              </a:rPr>
              <a:t>manažer</a:t>
            </a:r>
            <a:endParaRPr lang="en-US" sz="2400">
              <a:ea typeface="Calibri"/>
              <a:cs typeface="Calibri"/>
            </a:endParaRPr>
          </a:p>
          <a:p>
            <a:pPr marL="1248410" lvl="2" indent="-249555">
              <a:spcBef>
                <a:spcPts val="300"/>
              </a:spcBef>
              <a:buFont typeface="Wingdings" pitchFamily="34" charset="0"/>
              <a:buChar char="§"/>
            </a:pPr>
            <a:r>
              <a:rPr lang="en-US" sz="2400" err="1">
                <a:ea typeface="Calibri"/>
                <a:cs typeface="Calibri"/>
              </a:rPr>
              <a:t>Digitální</a:t>
            </a:r>
            <a:r>
              <a:rPr lang="en-US" sz="2400">
                <a:ea typeface="Calibri"/>
                <a:cs typeface="Calibri"/>
              </a:rPr>
              <a:t> </a:t>
            </a:r>
            <a:r>
              <a:rPr lang="en-US" sz="2400" err="1">
                <a:ea typeface="Calibri"/>
                <a:cs typeface="Calibri"/>
              </a:rPr>
              <a:t>nástroje</a:t>
            </a:r>
            <a:r>
              <a:rPr lang="en-US" sz="2400">
                <a:ea typeface="Calibri"/>
                <a:cs typeface="Calibri"/>
              </a:rPr>
              <a:t> - "</a:t>
            </a:r>
            <a:r>
              <a:rPr lang="en-US" sz="2400" err="1">
                <a:ea typeface="Calibri"/>
                <a:cs typeface="Calibri"/>
              </a:rPr>
              <a:t>Živý</a:t>
            </a:r>
            <a:r>
              <a:rPr lang="en-US" sz="2400">
                <a:ea typeface="Calibri"/>
                <a:cs typeface="Calibri"/>
              </a:rPr>
              <a:t> </a:t>
            </a:r>
            <a:r>
              <a:rPr lang="en-US" sz="2400" err="1">
                <a:ea typeface="Calibri"/>
                <a:cs typeface="Calibri"/>
              </a:rPr>
              <a:t>regionální</a:t>
            </a:r>
            <a:r>
              <a:rPr lang="en-US" sz="2400">
                <a:ea typeface="Calibri"/>
                <a:cs typeface="Calibri"/>
              </a:rPr>
              <a:t> atlas" a </a:t>
            </a:r>
            <a:r>
              <a:rPr lang="en-US" sz="2400" err="1">
                <a:ea typeface="Calibri"/>
                <a:cs typeface="Calibri"/>
              </a:rPr>
              <a:t>Příručka</a:t>
            </a:r>
            <a:r>
              <a:rPr lang="en-US" sz="2400">
                <a:ea typeface="Calibri"/>
                <a:cs typeface="Calibri"/>
              </a:rPr>
              <a:t> pro </a:t>
            </a:r>
            <a:r>
              <a:rPr lang="en-US" sz="2400" err="1">
                <a:ea typeface="Calibri"/>
                <a:cs typeface="Calibri"/>
              </a:rPr>
              <a:t>transformaci</a:t>
            </a:r>
            <a:r>
              <a:rPr lang="en-US" sz="2400">
                <a:ea typeface="Calibri"/>
                <a:cs typeface="Calibri"/>
              </a:rPr>
              <a:t>" </a:t>
            </a:r>
          </a:p>
          <a:p>
            <a:pPr marL="374650" indent="-374650">
              <a:spcBef>
                <a:spcPts val="300"/>
              </a:spcBef>
            </a:pPr>
            <a:r>
              <a:rPr lang="en-US" sz="2800" err="1">
                <a:ea typeface="Calibri"/>
                <a:cs typeface="Calibri"/>
              </a:rPr>
              <a:t>Kontakt</a:t>
            </a:r>
            <a:r>
              <a:rPr lang="en-US" sz="2800">
                <a:ea typeface="Calibri"/>
                <a:cs typeface="Calibri"/>
              </a:rPr>
              <a:t> za  </a:t>
            </a:r>
            <a:r>
              <a:rPr lang="en-US" sz="2800" err="1">
                <a:ea typeface="Calibri"/>
                <a:cs typeface="Calibri"/>
              </a:rPr>
              <a:t>kraje</a:t>
            </a:r>
            <a:r>
              <a:rPr lang="en-US" sz="2800">
                <a:ea typeface="Calibri"/>
                <a:cs typeface="Calibri"/>
              </a:rPr>
              <a:t> - </a:t>
            </a:r>
            <a:r>
              <a:rPr lang="en-US" sz="2800" err="1">
                <a:ea typeface="Calibri"/>
                <a:cs typeface="Calibri"/>
              </a:rPr>
              <a:t>připomínky</a:t>
            </a:r>
            <a:endParaRPr lang="en-US" sz="2800">
              <a:ea typeface="Calibri"/>
              <a:cs typeface="Calibri"/>
            </a:endParaRPr>
          </a:p>
          <a:p>
            <a:pPr marL="374650" indent="-374650">
              <a:spcBef>
                <a:spcPts val="300"/>
              </a:spcBef>
            </a:pPr>
            <a:endParaRPr lang="en-US">
              <a:ea typeface="Calibri"/>
              <a:cs typeface="Calibri"/>
            </a:endParaRPr>
          </a:p>
        </p:txBody>
      </p:sp>
      <p:pic>
        <p:nvPicPr>
          <p:cNvPr id="5" name="Picture 4">
            <a:extLst>
              <a:ext uri="{FF2B5EF4-FFF2-40B4-BE49-F238E27FC236}">
                <a16:creationId xmlns:a16="http://schemas.microsoft.com/office/drawing/2014/main" id="{4324197D-B80A-8105-D53B-839E08FB98EA}"/>
              </a:ext>
            </a:extLst>
          </p:cNvPr>
          <p:cNvPicPr>
            <a:picLocks noChangeAspect="1"/>
          </p:cNvPicPr>
          <p:nvPr/>
        </p:nvPicPr>
        <p:blipFill>
          <a:blip r:embed="rId2"/>
          <a:srcRect r="4762" b="980"/>
          <a:stretch>
            <a:fillRect/>
          </a:stretch>
        </p:blipFill>
        <p:spPr>
          <a:xfrm>
            <a:off x="8609056" y="116578"/>
            <a:ext cx="1068826" cy="1066128"/>
          </a:xfrm>
          <a:prstGeom prst="rect">
            <a:avLst/>
          </a:prstGeom>
        </p:spPr>
      </p:pic>
    </p:spTree>
    <p:extLst>
      <p:ext uri="{BB962C8B-B14F-4D97-AF65-F5344CB8AC3E}">
        <p14:creationId xmlns:p14="http://schemas.microsoft.com/office/powerpoint/2010/main" val="7845994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442">
          <a:extLst>
            <a:ext uri="{FF2B5EF4-FFF2-40B4-BE49-F238E27FC236}">
              <a16:creationId xmlns:a16="http://schemas.microsoft.com/office/drawing/2014/main" id="{0E40ABF2-4583-3490-222C-22B5763965A8}"/>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370DFF78-7ADA-EF8D-4DF1-D97324817B68}"/>
              </a:ext>
            </a:extLst>
          </p:cNvPr>
          <p:cNvGraphicFramePr/>
          <p:nvPr/>
        </p:nvGraphicFramePr>
        <p:xfrm>
          <a:off x="-145337" y="1252182"/>
          <a:ext cx="5664097" cy="3955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251;p33">
            <a:extLst>
              <a:ext uri="{FF2B5EF4-FFF2-40B4-BE49-F238E27FC236}">
                <a16:creationId xmlns:a16="http://schemas.microsoft.com/office/drawing/2014/main" id="{1AF607BD-E24C-E8E7-021A-8B8E99F1E0CB}"/>
              </a:ext>
            </a:extLst>
          </p:cNvPr>
          <p:cNvSpPr txBox="1">
            <a:spLocks/>
          </p:cNvSpPr>
          <p:nvPr/>
        </p:nvSpPr>
        <p:spPr>
          <a:xfrm>
            <a:off x="5317542" y="1578064"/>
            <a:ext cx="4303166" cy="361274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1pPr>
            <a:lvl2pPr marL="914400" marR="0" lvl="1"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2pPr>
            <a:lvl3pPr marL="1371600" marR="0" lvl="2"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3pPr>
            <a:lvl4pPr marL="1828800" marR="0" lvl="3"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4pPr>
            <a:lvl5pPr marL="2286000" marR="0" lvl="4"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5pPr>
            <a:lvl6pPr marL="2743200" marR="0" lvl="5"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6pPr>
            <a:lvl7pPr marL="3200400" marR="0" lvl="6"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7pPr>
            <a:lvl8pPr marL="3657600" marR="0" lvl="7" indent="-317500" algn="l" rtl="0">
              <a:lnSpc>
                <a:spcPct val="100000"/>
              </a:lnSpc>
              <a:spcBef>
                <a:spcPts val="1600"/>
              </a:spcBef>
              <a:spcAft>
                <a:spcPts val="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8pPr>
            <a:lvl9pPr marL="4114800" marR="0" lvl="8" indent="-317500" algn="l" rtl="0">
              <a:lnSpc>
                <a:spcPct val="100000"/>
              </a:lnSpc>
              <a:spcBef>
                <a:spcPts val="1600"/>
              </a:spcBef>
              <a:spcAft>
                <a:spcPts val="1600"/>
              </a:spcAft>
              <a:buClr>
                <a:schemeClr val="accent2"/>
              </a:buClr>
              <a:buSzPts val="1400"/>
              <a:buFont typeface="Open Sans"/>
              <a:buChar char="■"/>
              <a:defRPr sz="1400" b="0" i="0" u="none" strike="noStrike" cap="none">
                <a:solidFill>
                  <a:schemeClr val="accent2"/>
                </a:solidFill>
                <a:latin typeface="Open Sans"/>
                <a:ea typeface="Open Sans"/>
                <a:cs typeface="Open Sans"/>
                <a:sym typeface="Open Sans"/>
              </a:defRPr>
            </a:lvl9pPr>
          </a:lstStyle>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Zlepšení indexu sociálního vyloučení od ASZ</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Oddělení výsledkových ukazatelů regionálního rozvoje (exekuce, příjmy, vzdělání, produktivita) od opatření státu (dávky, investice do </a:t>
            </a:r>
            <a:r>
              <a:rPr lang="cs-CZ" sz="1733" kern="0" err="1">
                <a:solidFill>
                  <a:srgbClr val="BEE3DB"/>
                </a:solidFill>
              </a:rPr>
              <a:t>VaV</a:t>
            </a:r>
            <a:r>
              <a:rPr lang="cs-CZ" sz="1733" kern="0">
                <a:solidFill>
                  <a:srgbClr val="BEE3DB"/>
                </a:solidFill>
              </a:rPr>
              <a:t> atd.)</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r>
              <a:rPr lang="cs-CZ" sz="1733" kern="0">
                <a:solidFill>
                  <a:srgbClr val="BEE3DB"/>
                </a:solidFill>
              </a:rPr>
              <a:t>Regionální rozvoj skutečně v RIA</a:t>
            </a: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sk-SK"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a:p>
            <a:pPr marL="309553" indent="-309553" defTabSz="990570">
              <a:spcAft>
                <a:spcPts val="1950"/>
              </a:spcAft>
              <a:buClr>
                <a:srgbClr val="FFFFFF"/>
              </a:buClr>
              <a:buBlip>
                <a:blip r:embed="rId8">
                  <a:extLst>
                    <a:ext uri="{96DAC541-7B7A-43D3-8B79-37D633B846F1}">
                      <asvg:svgBlip xmlns:asvg="http://schemas.microsoft.com/office/drawing/2016/SVG/main" r:embed="rId9"/>
                    </a:ext>
                  </a:extLst>
                </a:blip>
              </a:buBlip>
            </a:pPr>
            <a:endParaRPr lang="cs-CZ" sz="1733" kern="0">
              <a:solidFill>
                <a:srgbClr val="BEE3DB"/>
              </a:solidFill>
            </a:endParaRPr>
          </a:p>
        </p:txBody>
      </p:sp>
    </p:spTree>
    <p:extLst>
      <p:ext uri="{BB962C8B-B14F-4D97-AF65-F5344CB8AC3E}">
        <p14:creationId xmlns:p14="http://schemas.microsoft.com/office/powerpoint/2010/main" val="28932257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08232D-B5B8-58F0-70BF-28901A9567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8A4A4F-A31E-BFBD-777E-D51D0AA0D52E}"/>
              </a:ext>
            </a:extLst>
          </p:cNvPr>
          <p:cNvSpPr>
            <a:spLocks noGrp="1"/>
          </p:cNvSpPr>
          <p:nvPr>
            <p:ph type="title"/>
          </p:nvPr>
        </p:nvSpPr>
        <p:spPr/>
        <p:txBody>
          <a:bodyPr lIns="91440" tIns="45720" rIns="91440" bIns="45720" anchor="t">
            <a:normAutofit/>
          </a:bodyPr>
          <a:lstStyle/>
          <a:p>
            <a:r>
              <a:rPr lang="cs-CZ" sz="4400">
                <a:ea typeface="Calibri"/>
                <a:cs typeface="Calibri"/>
              </a:rPr>
              <a:t>Plán pro Regiony příležitostí</a:t>
            </a:r>
            <a:endParaRPr lang="cs-CZ" sz="4400"/>
          </a:p>
        </p:txBody>
      </p:sp>
    </p:spTree>
    <p:extLst>
      <p:ext uri="{BB962C8B-B14F-4D97-AF65-F5344CB8AC3E}">
        <p14:creationId xmlns:p14="http://schemas.microsoft.com/office/powerpoint/2010/main" val="40631466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FA854-E4D7-004A-4A73-B8ECEF3F033E}"/>
              </a:ext>
            </a:extLst>
          </p:cNvPr>
          <p:cNvSpPr>
            <a:spLocks noGrp="1"/>
          </p:cNvSpPr>
          <p:nvPr>
            <p:ph type="title"/>
          </p:nvPr>
        </p:nvSpPr>
        <p:spPr/>
        <p:txBody>
          <a:bodyPr lIns="91440" tIns="45720" rIns="91440" bIns="45720" anchor="t">
            <a:normAutofit/>
          </a:bodyPr>
          <a:lstStyle/>
          <a:p>
            <a:r>
              <a:rPr lang="cs-CZ" sz="3600"/>
              <a:t>Regiony příležitostí </a:t>
            </a:r>
            <a:r>
              <a:rPr lang="en-US" sz="3600"/>
              <a:t>= HSOÚ a SPK </a:t>
            </a:r>
          </a:p>
          <a:p>
            <a:endParaRPr lang="en-US" sz="3600">
              <a:solidFill>
                <a:srgbClr val="0C4CA3"/>
              </a:solidFill>
              <a:ea typeface="Calibri"/>
              <a:cs typeface="Calibri"/>
            </a:endParaRPr>
          </a:p>
        </p:txBody>
      </p:sp>
      <p:sp>
        <p:nvSpPr>
          <p:cNvPr id="3" name="Content Placeholder 2">
            <a:extLst>
              <a:ext uri="{FF2B5EF4-FFF2-40B4-BE49-F238E27FC236}">
                <a16:creationId xmlns:a16="http://schemas.microsoft.com/office/drawing/2014/main" id="{1DE8978B-5939-53C7-044A-C47218272A4F}"/>
              </a:ext>
            </a:extLst>
          </p:cNvPr>
          <p:cNvSpPr>
            <a:spLocks noGrp="1"/>
          </p:cNvSpPr>
          <p:nvPr>
            <p:ph idx="1"/>
          </p:nvPr>
        </p:nvSpPr>
        <p:spPr>
          <a:xfrm>
            <a:off x="495300" y="1600204"/>
            <a:ext cx="9053302" cy="4525963"/>
          </a:xfrm>
        </p:spPr>
        <p:txBody>
          <a:bodyPr lIns="91440" tIns="45720" rIns="91440" bIns="45720" anchor="t"/>
          <a:lstStyle/>
          <a:p>
            <a:pPr marL="374650" indent="-374650"/>
            <a:r>
              <a:rPr lang="cs-CZ" sz="2200">
                <a:latin typeface="+mj-lt"/>
                <a:ea typeface="Calibri"/>
                <a:cs typeface="Arial"/>
              </a:rPr>
              <a:t>Nízký ekonomický výkon</a:t>
            </a:r>
            <a:endParaRPr lang="cs-CZ">
              <a:latin typeface="+mj-lt"/>
            </a:endParaRPr>
          </a:p>
          <a:p>
            <a:pPr marL="374650" indent="-374650"/>
            <a:r>
              <a:rPr lang="cs-CZ" sz="2200">
                <a:latin typeface="+mj-lt"/>
                <a:ea typeface="Calibri"/>
                <a:cs typeface="Arial"/>
              </a:rPr>
              <a:t>Nedobrý demografický trend – stárnutí obyvatel a odliv mladých a vzdělaných lidí</a:t>
            </a:r>
            <a:endParaRPr lang="cs-CZ">
              <a:latin typeface="+mj-lt"/>
            </a:endParaRPr>
          </a:p>
          <a:p>
            <a:pPr marL="374650" indent="-374650"/>
            <a:r>
              <a:rPr lang="cs-CZ" sz="2200">
                <a:latin typeface="+mj-lt"/>
                <a:ea typeface="Calibri"/>
                <a:cs typeface="Arial"/>
              </a:rPr>
              <a:t>Nízké mzdy a nedostatek kvalifikované práce</a:t>
            </a:r>
            <a:endParaRPr lang="cs-CZ">
              <a:latin typeface="+mj-lt"/>
            </a:endParaRPr>
          </a:p>
          <a:p>
            <a:pPr marL="374650" indent="-374650"/>
            <a:r>
              <a:rPr lang="cs-CZ" sz="2200">
                <a:latin typeface="+mj-lt"/>
                <a:ea typeface="Calibri"/>
                <a:cs typeface="Arial"/>
              </a:rPr>
              <a:t>Vyšší nezaměstnanost, nižší podnikatelská aktivita</a:t>
            </a:r>
            <a:endParaRPr lang="cs-CZ">
              <a:latin typeface="+mj-lt"/>
            </a:endParaRPr>
          </a:p>
          <a:p>
            <a:pPr marL="374650" indent="-374650"/>
            <a:r>
              <a:rPr lang="cs-CZ" sz="2200">
                <a:latin typeface="+mj-lt"/>
                <a:ea typeface="Calibri"/>
                <a:cs typeface="Arial"/>
              </a:rPr>
              <a:t>Nedobrá sociální a vzdělanostní struktura obyvatelstva </a:t>
            </a:r>
            <a:endParaRPr lang="cs-CZ">
              <a:latin typeface="+mj-lt"/>
            </a:endParaRPr>
          </a:p>
          <a:p>
            <a:pPr marL="374650" indent="-374650"/>
            <a:r>
              <a:rPr lang="cs-CZ" sz="2200">
                <a:latin typeface="+mj-lt"/>
                <a:ea typeface="Calibri"/>
                <a:cs typeface="Arial"/>
              </a:rPr>
              <a:t>Negativní atmosféra v území a často i negativní vnímání ve zbytku ČR</a:t>
            </a:r>
            <a:endParaRPr lang="cs-CZ">
              <a:latin typeface="+mj-lt"/>
            </a:endParaRPr>
          </a:p>
          <a:p>
            <a:pPr marL="374650" indent="-374650"/>
            <a:r>
              <a:rPr lang="cs-CZ" sz="2200">
                <a:latin typeface="+mj-lt"/>
                <a:ea typeface="Calibri"/>
                <a:cs typeface="Arial"/>
              </a:rPr>
              <a:t>Koncentrace sociopatologických jevů – vyloučené lokality, exekuce atd.</a:t>
            </a:r>
            <a:endParaRPr lang="cs-CZ">
              <a:latin typeface="+mj-lt"/>
            </a:endParaRPr>
          </a:p>
          <a:p>
            <a:pPr marL="0" indent="0">
              <a:buNone/>
            </a:pPr>
            <a:endParaRPr lang="en-US" sz="1200">
              <a:latin typeface="+mj-lt"/>
              <a:ea typeface="Calibri"/>
              <a:cs typeface="Arial"/>
            </a:endParaRPr>
          </a:p>
          <a:p>
            <a:pPr marL="374650" indent="-374650"/>
            <a:r>
              <a:rPr lang="en-US" sz="2200">
                <a:latin typeface="+mj-lt"/>
                <a:ea typeface="Calibri"/>
                <a:cs typeface="Arial"/>
              </a:rPr>
              <a:t>CELKOVÝ TREND JE V MNOHA PŘÍPADECH ALARMUJÍCÍ</a:t>
            </a:r>
            <a:endParaRPr lang="en-US">
              <a:latin typeface="+mj-lt"/>
            </a:endParaRPr>
          </a:p>
          <a:p>
            <a:pPr marL="374650" indent="-374650"/>
            <a:endParaRPr lang="en-US">
              <a:latin typeface="+mj-lt"/>
              <a:ea typeface="Calibri"/>
              <a:cs typeface="Calibri"/>
            </a:endParaRPr>
          </a:p>
        </p:txBody>
      </p:sp>
    </p:spTree>
    <p:extLst>
      <p:ext uri="{BB962C8B-B14F-4D97-AF65-F5344CB8AC3E}">
        <p14:creationId xmlns:p14="http://schemas.microsoft.com/office/powerpoint/2010/main" val="42449346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0ACDD-6FF7-5428-B0C0-B0940F6F29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EE1B5E-BDD1-62D9-A671-B7B723641D12}"/>
              </a:ext>
            </a:extLst>
          </p:cNvPr>
          <p:cNvSpPr>
            <a:spLocks noGrp="1"/>
          </p:cNvSpPr>
          <p:nvPr>
            <p:ph type="title"/>
          </p:nvPr>
        </p:nvSpPr>
        <p:spPr/>
        <p:txBody>
          <a:bodyPr lIns="91440" tIns="45720" rIns="91440" bIns="45720" anchor="t">
            <a:normAutofit fontScale="90000"/>
          </a:bodyPr>
          <a:lstStyle/>
          <a:p>
            <a:r>
              <a:rPr lang="cs-CZ" sz="3600">
                <a:ea typeface="Calibri"/>
                <a:cs typeface="Calibri"/>
              </a:rPr>
              <a:t>Regiony příležitostí – současné nástroje nefungují </a:t>
            </a:r>
          </a:p>
          <a:p>
            <a:endParaRPr lang="en-US" sz="3600">
              <a:ea typeface="Calibri"/>
              <a:cs typeface="Calibri"/>
            </a:endParaRPr>
          </a:p>
        </p:txBody>
      </p:sp>
      <p:sp>
        <p:nvSpPr>
          <p:cNvPr id="8" name="Content Placeholder 7">
            <a:extLst>
              <a:ext uri="{FF2B5EF4-FFF2-40B4-BE49-F238E27FC236}">
                <a16:creationId xmlns:a16="http://schemas.microsoft.com/office/drawing/2014/main" id="{B8ED5FB0-EDD0-D5A1-63A0-96C0D940808B}"/>
              </a:ext>
            </a:extLst>
          </p:cNvPr>
          <p:cNvSpPr>
            <a:spLocks noGrp="1"/>
          </p:cNvSpPr>
          <p:nvPr>
            <p:ph idx="1"/>
          </p:nvPr>
        </p:nvSpPr>
        <p:spPr/>
        <p:txBody>
          <a:bodyPr lIns="91440" tIns="45720" rIns="91440" bIns="45720" anchor="t"/>
          <a:lstStyle/>
          <a:p>
            <a:pPr marL="374650" indent="-374650">
              <a:buFont typeface="Calibri" pitchFamily="34" charset="0"/>
              <a:buChar char="-"/>
            </a:pPr>
            <a:r>
              <a:rPr lang="cs-CZ" sz="2200" b="1">
                <a:latin typeface="+mj-lt"/>
                <a:cs typeface="Arial"/>
              </a:rPr>
              <a:t>Nízká absorpční kapacita území - zejména v SPK</a:t>
            </a:r>
            <a:endParaRPr lang="cs-CZ">
              <a:latin typeface="+mj-lt"/>
              <a:ea typeface="Calibri"/>
              <a:cs typeface="Calibri"/>
            </a:endParaRPr>
          </a:p>
          <a:p>
            <a:pPr marL="0" indent="0">
              <a:buNone/>
            </a:pPr>
            <a:r>
              <a:rPr lang="cs-CZ" sz="2200">
                <a:latin typeface="+mj-lt"/>
                <a:cs typeface="Arial"/>
              </a:rPr>
              <a:t>  »Čerpání z kohezních fondů, které by měly rozdíly mezi regiony </a:t>
            </a:r>
            <a:endParaRPr lang="cs-CZ">
              <a:latin typeface="+mj-lt"/>
              <a:ea typeface="Calibri"/>
              <a:cs typeface="Calibri"/>
            </a:endParaRPr>
          </a:p>
          <a:p>
            <a:pPr marL="0" indent="0">
              <a:buNone/>
            </a:pPr>
            <a:r>
              <a:rPr lang="cs-CZ" sz="2200">
                <a:latin typeface="+mj-lt"/>
                <a:cs typeface="Arial"/>
              </a:rPr>
              <a:t>  snižovat je nižší než u zdravých území </a:t>
            </a:r>
            <a:endParaRPr lang="cs-CZ">
              <a:latin typeface="+mj-lt"/>
              <a:ea typeface="Calibri"/>
              <a:cs typeface="Calibri"/>
            </a:endParaRPr>
          </a:p>
          <a:p>
            <a:pPr marL="0" indent="0">
              <a:buNone/>
            </a:pPr>
            <a:r>
              <a:rPr lang="cs-CZ" sz="2200" b="1">
                <a:latin typeface="+mj-lt"/>
                <a:cs typeface="Arial"/>
              </a:rPr>
              <a:t>   – výsledek kohezní politiky za desetiletí?</a:t>
            </a:r>
            <a:endParaRPr lang="cs-CZ" sz="2200" b="1">
              <a:latin typeface="+mj-lt"/>
              <a:ea typeface="Calibri"/>
              <a:cs typeface="Arial"/>
            </a:endParaRPr>
          </a:p>
          <a:p>
            <a:pPr marL="342900" indent="-342900">
              <a:buFont typeface="Calibri" pitchFamily="34" charset="0"/>
              <a:buChar char="-"/>
            </a:pPr>
            <a:r>
              <a:rPr lang="cs-CZ" sz="2200" b="1">
                <a:latin typeface="+mj-lt"/>
                <a:cs typeface="Arial"/>
              </a:rPr>
              <a:t>DALŠÍ ZVÝŠENÍ ROZDÍLŮ A ZHORŠENÍ TRENDŮ</a:t>
            </a:r>
            <a:endParaRPr lang="cs-CZ">
              <a:latin typeface="+mj-lt"/>
              <a:ea typeface="Calibri"/>
              <a:cs typeface="Calibri"/>
            </a:endParaRPr>
          </a:p>
          <a:p>
            <a:pPr marL="342900" indent="-342900">
              <a:buFont typeface="Calibri" pitchFamily="34" charset="0"/>
              <a:buChar char="-"/>
            </a:pPr>
            <a:endParaRPr lang="cs-CZ" sz="2200" b="1">
              <a:latin typeface="+mj-lt"/>
              <a:cs typeface="Arial"/>
            </a:endParaRPr>
          </a:p>
          <a:p>
            <a:pPr marL="374650" indent="-374650">
              <a:buFont typeface="Calibri" pitchFamily="34" charset="0"/>
              <a:buChar char="-"/>
            </a:pPr>
            <a:r>
              <a:rPr lang="cs-CZ" sz="2200" b="1">
                <a:latin typeface="+mj-lt"/>
                <a:cs typeface="Arial"/>
              </a:rPr>
              <a:t>Dvě kategorie HSOÚ</a:t>
            </a:r>
            <a:endParaRPr lang="cs-CZ">
              <a:latin typeface="+mj-lt"/>
              <a:ea typeface="Calibri"/>
              <a:cs typeface="Calibri"/>
            </a:endParaRPr>
          </a:p>
          <a:p>
            <a:pPr marL="0" indent="0">
              <a:buNone/>
            </a:pPr>
            <a:r>
              <a:rPr lang="cs-CZ" sz="2200">
                <a:latin typeface="+mj-lt"/>
                <a:cs typeface="Arial"/>
              </a:rPr>
              <a:t>  »HSOÚ v SPK</a:t>
            </a:r>
            <a:endParaRPr lang="cs-CZ">
              <a:latin typeface="+mj-lt"/>
              <a:ea typeface="Calibri"/>
              <a:cs typeface="Calibri"/>
            </a:endParaRPr>
          </a:p>
          <a:p>
            <a:pPr marL="0" indent="0">
              <a:buNone/>
            </a:pPr>
            <a:r>
              <a:rPr lang="cs-CZ" sz="2200">
                <a:latin typeface="+mj-lt"/>
                <a:cs typeface="Arial"/>
              </a:rPr>
              <a:t>  »HSOÚ v ostatních regionech ČR</a:t>
            </a:r>
            <a:endParaRPr lang="cs-CZ">
              <a:latin typeface="+mj-lt"/>
              <a:ea typeface="Calibri"/>
              <a:cs typeface="Calibri"/>
            </a:endParaRPr>
          </a:p>
          <a:p>
            <a:pPr marL="0" indent="0">
              <a:buNone/>
            </a:pPr>
            <a:endParaRPr lang="cs-CZ" sz="2200" b="1">
              <a:latin typeface="+mj-lt"/>
              <a:cs typeface="Arial"/>
            </a:endParaRPr>
          </a:p>
          <a:p>
            <a:pPr marL="0" indent="0">
              <a:buNone/>
            </a:pPr>
            <a:r>
              <a:rPr lang="cs-CZ" sz="2200" b="1">
                <a:latin typeface="+mj-lt"/>
                <a:cs typeface="Arial"/>
              </a:rPr>
              <a:t> Velké příležitosti pro zlepšení budoucnosti</a:t>
            </a:r>
            <a:endParaRPr lang="cs-CZ">
              <a:latin typeface="+mj-lt"/>
              <a:ea typeface="Calibri"/>
              <a:cs typeface="Calibri"/>
            </a:endParaRPr>
          </a:p>
          <a:p>
            <a:pPr marL="374650" indent="-374650">
              <a:buFont typeface="Calibri" pitchFamily="34" charset="0"/>
              <a:buChar char="-"/>
            </a:pPr>
            <a:endParaRPr lang="en-US">
              <a:latin typeface="+mj-lt"/>
              <a:ea typeface="Calibri"/>
              <a:cs typeface="Calibri"/>
            </a:endParaRPr>
          </a:p>
        </p:txBody>
      </p:sp>
    </p:spTree>
    <p:extLst>
      <p:ext uri="{BB962C8B-B14F-4D97-AF65-F5344CB8AC3E}">
        <p14:creationId xmlns:p14="http://schemas.microsoft.com/office/powerpoint/2010/main" val="38887824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501A2A-9F4C-EB62-9102-54001ED531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2C36A5-134B-38E8-0D9D-F74EDB594AB2}"/>
              </a:ext>
            </a:extLst>
          </p:cNvPr>
          <p:cNvSpPr>
            <a:spLocks noGrp="1"/>
          </p:cNvSpPr>
          <p:nvPr>
            <p:ph type="title"/>
          </p:nvPr>
        </p:nvSpPr>
        <p:spPr/>
        <p:txBody>
          <a:bodyPr lIns="91440" tIns="45720" rIns="91440" bIns="45720" anchor="t">
            <a:normAutofit/>
          </a:bodyPr>
          <a:lstStyle/>
          <a:p>
            <a:r>
              <a:rPr lang="cs-CZ" sz="3600"/>
              <a:t>Plán pro Regiony příležitostí</a:t>
            </a:r>
          </a:p>
        </p:txBody>
      </p:sp>
      <p:sp>
        <p:nvSpPr>
          <p:cNvPr id="3" name="Content Placeholder 2">
            <a:extLst>
              <a:ext uri="{FF2B5EF4-FFF2-40B4-BE49-F238E27FC236}">
                <a16:creationId xmlns:a16="http://schemas.microsoft.com/office/drawing/2014/main" id="{ED07CE5E-7BD3-BB28-1CF7-399820597883}"/>
              </a:ext>
            </a:extLst>
          </p:cNvPr>
          <p:cNvSpPr>
            <a:spLocks noGrp="1"/>
          </p:cNvSpPr>
          <p:nvPr>
            <p:ph idx="1"/>
          </p:nvPr>
        </p:nvSpPr>
        <p:spPr>
          <a:xfrm>
            <a:off x="495300" y="1484118"/>
            <a:ext cx="8915400" cy="4525963"/>
          </a:xfrm>
        </p:spPr>
        <p:txBody>
          <a:bodyPr lIns="91440" tIns="45720" rIns="91440" bIns="45720" anchor="t"/>
          <a:lstStyle/>
          <a:p>
            <a:pPr marL="0" indent="0">
              <a:buNone/>
            </a:pPr>
            <a:r>
              <a:rPr lang="cs-CZ" sz="2200" b="1">
                <a:latin typeface="+mj-lt"/>
                <a:ea typeface="Calibri"/>
                <a:cs typeface="Arial"/>
              </a:rPr>
              <a:t>Představen na jednání Výboru pro regionální politiku 4. 3. 2025</a:t>
            </a:r>
            <a:endParaRPr lang="cs-CZ">
              <a:latin typeface="+mj-lt"/>
              <a:ea typeface="Calibri"/>
              <a:cs typeface="Calibri"/>
            </a:endParaRPr>
          </a:p>
          <a:p>
            <a:pPr marL="374650" indent="-374650"/>
            <a:r>
              <a:rPr lang="cs-CZ" sz="2400" b="1">
                <a:latin typeface="+mj-lt"/>
                <a:ea typeface="Calibri"/>
                <a:cs typeface="Arial"/>
              </a:rPr>
              <a:t>Cíle</a:t>
            </a:r>
          </a:p>
          <a:p>
            <a:pPr marL="811530" lvl="1" indent="-311785"/>
            <a:r>
              <a:rPr lang="cs-CZ" sz="2400">
                <a:latin typeface="+mj-lt"/>
                <a:ea typeface="Calibri"/>
                <a:cs typeface="Arial"/>
              </a:rPr>
              <a:t>Řešení problematiky RP a zajištění kontinuity</a:t>
            </a:r>
          </a:p>
          <a:p>
            <a:pPr marL="811530" lvl="1" indent="-311785"/>
            <a:r>
              <a:rPr lang="cs-CZ" sz="2400">
                <a:latin typeface="+mj-lt"/>
                <a:ea typeface="Calibri"/>
                <a:cs typeface="Arial"/>
              </a:rPr>
              <a:t>Spojení – spolupráce regionů, krajů, ministerstev a vlády</a:t>
            </a:r>
            <a:endParaRPr lang="cs-CZ" sz="2900">
              <a:latin typeface="+mj-lt"/>
              <a:ea typeface="Calibri"/>
              <a:cs typeface="Calibri"/>
            </a:endParaRPr>
          </a:p>
          <a:p>
            <a:pPr marL="811530" lvl="1" indent="-311785"/>
            <a:r>
              <a:rPr lang="cs-CZ" sz="2400">
                <a:latin typeface="+mj-lt"/>
                <a:ea typeface="Calibri"/>
                <a:cs typeface="Arial"/>
              </a:rPr>
              <a:t>Systematické řešení opatření </a:t>
            </a:r>
            <a:r>
              <a:rPr lang="cs-CZ" sz="2400" b="1">
                <a:latin typeface="+mj-lt"/>
                <a:ea typeface="Calibri"/>
                <a:cs typeface="Arial"/>
              </a:rPr>
              <a:t>v celé šíři</a:t>
            </a:r>
            <a:r>
              <a:rPr lang="cs-CZ" sz="2400">
                <a:latin typeface="+mj-lt"/>
                <a:ea typeface="Calibri"/>
                <a:cs typeface="Arial"/>
              </a:rPr>
              <a:t> (</a:t>
            </a:r>
            <a:r>
              <a:rPr lang="cs-CZ" sz="2400" err="1">
                <a:latin typeface="+mj-lt"/>
                <a:ea typeface="Calibri"/>
                <a:cs typeface="Arial"/>
              </a:rPr>
              <a:t>nadresortnost</a:t>
            </a:r>
            <a:r>
              <a:rPr lang="cs-CZ" sz="2400">
                <a:latin typeface="+mj-lt"/>
                <a:ea typeface="Calibri"/>
                <a:cs typeface="Arial"/>
              </a:rPr>
              <a:t>)</a:t>
            </a:r>
            <a:endParaRPr lang="cs-CZ">
              <a:latin typeface="+mj-lt"/>
            </a:endParaRPr>
          </a:p>
          <a:p>
            <a:pPr marL="811530" lvl="1" indent="-311785"/>
            <a:r>
              <a:rPr lang="cs-CZ" sz="2400">
                <a:latin typeface="+mj-lt"/>
                <a:ea typeface="Calibri"/>
                <a:cs typeface="Arial"/>
              </a:rPr>
              <a:t>PVRP a VVRP – prostor, kde jednotlivá opatření řešit</a:t>
            </a:r>
            <a:endParaRPr lang="cs-CZ">
              <a:latin typeface="+mj-lt"/>
            </a:endParaRPr>
          </a:p>
          <a:p>
            <a:pPr marL="811530" lvl="1" indent="-311785"/>
            <a:r>
              <a:rPr lang="cs-CZ" sz="2400" b="1">
                <a:latin typeface="+mj-lt"/>
                <a:ea typeface="Calibri"/>
                <a:cs typeface="Arial"/>
              </a:rPr>
              <a:t>Opatření a doporučení pro RP na jednom místě </a:t>
            </a:r>
            <a:endParaRPr lang="cs-CZ">
              <a:latin typeface="+mj-lt"/>
            </a:endParaRPr>
          </a:p>
          <a:p>
            <a:pPr marL="499745" lvl="1" indent="0">
              <a:buNone/>
            </a:pPr>
            <a:r>
              <a:rPr lang="cs-CZ" sz="2400">
                <a:latin typeface="+mj-lt"/>
                <a:ea typeface="Calibri"/>
                <a:cs typeface="Arial"/>
              </a:rPr>
              <a:t>  – TO DO list v.0</a:t>
            </a:r>
            <a:endParaRPr lang="cs-CZ">
              <a:latin typeface="+mj-lt"/>
              <a:ea typeface="Calibri"/>
              <a:cs typeface="Calibri"/>
            </a:endParaRPr>
          </a:p>
          <a:p>
            <a:pPr marL="998855" lvl="2" indent="0">
              <a:buNone/>
            </a:pPr>
            <a:r>
              <a:rPr lang="cs-CZ" sz="1600">
                <a:latin typeface="+mj-lt"/>
                <a:ea typeface="Calibri"/>
                <a:cs typeface="Arial"/>
              </a:rPr>
              <a:t>»Jasná formulace toho, co k řešení situace tyto regiony (nejen) od státu potřebují</a:t>
            </a:r>
            <a:endParaRPr lang="cs-CZ">
              <a:latin typeface="+mj-lt"/>
              <a:ea typeface="Calibri"/>
              <a:cs typeface="Calibri"/>
            </a:endParaRPr>
          </a:p>
          <a:p>
            <a:pPr marL="0" indent="0">
              <a:buNone/>
            </a:pPr>
            <a:endParaRPr lang="en-US">
              <a:latin typeface="+mj-lt"/>
              <a:ea typeface="Calibri"/>
              <a:cs typeface="Calibri"/>
            </a:endParaRPr>
          </a:p>
        </p:txBody>
      </p:sp>
    </p:spTree>
    <p:extLst>
      <p:ext uri="{BB962C8B-B14F-4D97-AF65-F5344CB8AC3E}">
        <p14:creationId xmlns:p14="http://schemas.microsoft.com/office/powerpoint/2010/main" val="29009726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0A853-8F19-7635-72F7-1458E159CD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D00D7C-8D8C-A2AD-CBB6-421E8E3777D9}"/>
              </a:ext>
            </a:extLst>
          </p:cNvPr>
          <p:cNvSpPr>
            <a:spLocks noGrp="1"/>
          </p:cNvSpPr>
          <p:nvPr>
            <p:ph type="title"/>
          </p:nvPr>
        </p:nvSpPr>
        <p:spPr/>
        <p:txBody>
          <a:bodyPr lIns="91440" tIns="45720" rIns="91440" bIns="45720" anchor="t">
            <a:normAutofit/>
          </a:bodyPr>
          <a:lstStyle/>
          <a:p>
            <a:r>
              <a:rPr lang="cs-CZ" sz="3600"/>
              <a:t>Plán pro Regiony příležitostí - co se dělo</a:t>
            </a:r>
          </a:p>
        </p:txBody>
      </p:sp>
      <p:sp>
        <p:nvSpPr>
          <p:cNvPr id="7" name="TextBox 6">
            <a:extLst>
              <a:ext uri="{FF2B5EF4-FFF2-40B4-BE49-F238E27FC236}">
                <a16:creationId xmlns:a16="http://schemas.microsoft.com/office/drawing/2014/main" id="{0A26447A-F9DC-B2CF-B197-AC4447D4C886}"/>
              </a:ext>
            </a:extLst>
          </p:cNvPr>
          <p:cNvSpPr txBox="1"/>
          <p:nvPr/>
        </p:nvSpPr>
        <p:spPr>
          <a:xfrm>
            <a:off x="495300" y="1473762"/>
            <a:ext cx="9008614"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7345" indent="-347345">
              <a:buFont typeface="Arial"/>
              <a:buChar char="•"/>
            </a:pPr>
            <a:r>
              <a:rPr lang="cs-CZ" sz="2400">
                <a:latin typeface="+mj-lt"/>
                <a:cs typeface="Arial"/>
              </a:rPr>
              <a:t>25. 3. 2025 – Představení plánu a TO DO listu v.1 </a:t>
            </a:r>
            <a:endParaRPr lang="en-US">
              <a:latin typeface="+mj-lt"/>
              <a:ea typeface="Calibri"/>
              <a:cs typeface="Calibri"/>
            </a:endParaRPr>
          </a:p>
          <a:p>
            <a:r>
              <a:rPr lang="cs-CZ" sz="2400">
                <a:latin typeface="+mj-lt"/>
                <a:cs typeface="Arial"/>
              </a:rPr>
              <a:t>    na konferenci o HSOÚ ve Svitavách</a:t>
            </a:r>
            <a:endParaRPr lang="en-US" sz="2050">
              <a:latin typeface="+mj-lt"/>
              <a:ea typeface="Calibri"/>
              <a:cs typeface="Calibri"/>
            </a:endParaRPr>
          </a:p>
          <a:p>
            <a:pPr marL="347345" indent="-347345">
              <a:buFont typeface="Arial"/>
              <a:buChar char="•"/>
            </a:pPr>
            <a:r>
              <a:rPr lang="cs-CZ" sz="2400">
                <a:latin typeface="+mj-lt"/>
                <a:cs typeface="Arial"/>
              </a:rPr>
              <a:t>3. 4. 2025 – Online jednání s kraji a dalšími územními partnery - výzva k doplňování opatření</a:t>
            </a:r>
          </a:p>
          <a:p>
            <a:pPr marL="347345" indent="-347345">
              <a:buFont typeface="Arial"/>
              <a:buChar char="•"/>
            </a:pPr>
            <a:r>
              <a:rPr lang="cs-CZ" sz="2400">
                <a:latin typeface="+mj-lt"/>
                <a:cs typeface="Arial"/>
              </a:rPr>
              <a:t>15. 5. 2025 – ukončen sběr námětů ministerstev</a:t>
            </a:r>
          </a:p>
          <a:p>
            <a:pPr marL="347345" indent="-347345">
              <a:buFont typeface="Arial"/>
              <a:buChar char="•"/>
            </a:pPr>
            <a:r>
              <a:rPr lang="cs-CZ" sz="2400">
                <a:latin typeface="+mj-lt"/>
                <a:cs typeface="Arial"/>
              </a:rPr>
              <a:t>30. 5. 2025 – ukončen sběr námětů krajů, MAS a dalších územních partnerů</a:t>
            </a:r>
          </a:p>
          <a:p>
            <a:pPr marL="740410" indent="-283210">
              <a:buFont typeface="Arial"/>
              <a:buChar char="»"/>
            </a:pPr>
            <a:r>
              <a:rPr lang="cs-CZ" sz="2100">
                <a:latin typeface="+mj-lt"/>
                <a:cs typeface="Arial"/>
              </a:rPr>
              <a:t>Sešlo se více než 230 námětů - velký zájem</a:t>
            </a:r>
          </a:p>
          <a:p>
            <a:pPr marL="347345" indent="-347345">
              <a:buFont typeface="Arial,Sans-Serif"/>
              <a:buChar char="•"/>
            </a:pPr>
            <a:r>
              <a:rPr lang="cs-CZ" sz="2400">
                <a:latin typeface="+mj-lt"/>
                <a:cs typeface="Arial"/>
              </a:rPr>
              <a:t>12. 6. 2025 – představení TO DO listu v 1.0 a 150 návrhů na opatření na PV-RP</a:t>
            </a:r>
          </a:p>
          <a:p>
            <a:pPr marL="347345" indent="-347345">
              <a:buFont typeface="Arial,Sans-Serif"/>
              <a:buChar char="•"/>
            </a:pPr>
            <a:r>
              <a:rPr lang="cs-CZ" sz="2400">
                <a:latin typeface="+mj-lt"/>
                <a:cs typeface="Arial"/>
              </a:rPr>
              <a:t>25. 6. 2025 - představení TO DO listu v 1.0 krajům a územním partnerům</a:t>
            </a:r>
          </a:p>
          <a:p>
            <a:pPr marL="740410" indent="-283210">
              <a:buFont typeface="Arial"/>
              <a:buChar char="»"/>
            </a:pPr>
            <a:endParaRPr lang="cs-CZ" sz="2100">
              <a:latin typeface="+mj-lt"/>
              <a:cs typeface="Arial"/>
            </a:endParaRPr>
          </a:p>
        </p:txBody>
      </p:sp>
    </p:spTree>
    <p:extLst>
      <p:ext uri="{BB962C8B-B14F-4D97-AF65-F5344CB8AC3E}">
        <p14:creationId xmlns:p14="http://schemas.microsoft.com/office/powerpoint/2010/main" val="3009592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A84E3F-7AC1-C2DC-15DF-12F1C969E6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515DA7-B234-7A0D-048F-2F7BE6D8DEAF}"/>
              </a:ext>
            </a:extLst>
          </p:cNvPr>
          <p:cNvSpPr>
            <a:spLocks noGrp="1"/>
          </p:cNvSpPr>
          <p:nvPr>
            <p:ph type="title"/>
          </p:nvPr>
        </p:nvSpPr>
        <p:spPr/>
        <p:txBody>
          <a:bodyPr lIns="91440" tIns="45720" rIns="91440" bIns="45720" anchor="t">
            <a:normAutofit/>
          </a:bodyPr>
          <a:lstStyle/>
          <a:p>
            <a:r>
              <a:rPr lang="cs-CZ" sz="3600">
                <a:solidFill>
                  <a:srgbClr val="0C4CA3"/>
                </a:solidFill>
                <a:ea typeface="Calibri"/>
                <a:cs typeface="Calibri"/>
              </a:rPr>
              <a:t>Plán pro Regiony příležitostí</a:t>
            </a:r>
            <a:endParaRPr lang="cs-CZ" sz="3600">
              <a:solidFill>
                <a:srgbClr val="0C4CA3"/>
              </a:solidFill>
            </a:endParaRPr>
          </a:p>
        </p:txBody>
      </p:sp>
      <p:sp>
        <p:nvSpPr>
          <p:cNvPr id="7" name="TextBox 6">
            <a:extLst>
              <a:ext uri="{FF2B5EF4-FFF2-40B4-BE49-F238E27FC236}">
                <a16:creationId xmlns:a16="http://schemas.microsoft.com/office/drawing/2014/main" id="{5A4B3AE4-42C9-5092-FCF1-2D10F037BF9E}"/>
              </a:ext>
            </a:extLst>
          </p:cNvPr>
          <p:cNvSpPr txBox="1"/>
          <p:nvPr/>
        </p:nvSpPr>
        <p:spPr>
          <a:xfrm>
            <a:off x="495300" y="1566599"/>
            <a:ext cx="8915400" cy="44319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Arial"/>
              <a:buChar char="•"/>
            </a:pPr>
            <a:r>
              <a:rPr lang="cs-CZ" sz="2700">
                <a:latin typeface="+mj-lt"/>
                <a:cs typeface="Arial"/>
              </a:rPr>
              <a:t> </a:t>
            </a:r>
            <a:r>
              <a:rPr lang="cs-CZ" sz="2700" b="1">
                <a:latin typeface="+mj-lt"/>
                <a:cs typeface="Arial"/>
              </a:rPr>
              <a:t>TO DO list v 1.0 </a:t>
            </a:r>
            <a:endParaRPr lang="en-US" sz="2700" b="1">
              <a:latin typeface="+mj-lt"/>
              <a:ea typeface="Calibri"/>
              <a:cs typeface="Calibri"/>
            </a:endParaRPr>
          </a:p>
          <a:p>
            <a:pPr>
              <a:buFont typeface="Arial"/>
              <a:buChar char="•"/>
            </a:pPr>
            <a:endParaRPr lang="cs-CZ" sz="1400">
              <a:latin typeface="+mj-lt"/>
              <a:cs typeface="Arial"/>
            </a:endParaRPr>
          </a:p>
          <a:p>
            <a:r>
              <a:rPr lang="cs-CZ" sz="2800">
                <a:latin typeface="+mj-lt"/>
                <a:cs typeface="Arial"/>
              </a:rPr>
              <a:t> »Ukazuje </a:t>
            </a:r>
            <a:r>
              <a:rPr lang="cs-CZ" sz="2800" b="1">
                <a:latin typeface="+mj-lt"/>
                <a:cs typeface="Arial"/>
              </a:rPr>
              <a:t>šíři a komplexnost</a:t>
            </a:r>
            <a:r>
              <a:rPr lang="cs-CZ" sz="2800">
                <a:latin typeface="+mj-lt"/>
                <a:cs typeface="Arial"/>
              </a:rPr>
              <a:t> problematiky RP </a:t>
            </a:r>
            <a:endParaRPr lang="cs-CZ">
              <a:latin typeface="+mj-lt"/>
              <a:ea typeface="Calibri"/>
              <a:cs typeface="Calibri"/>
            </a:endParaRPr>
          </a:p>
          <a:p>
            <a:endParaRPr lang="cs-CZ" sz="1400">
              <a:latin typeface="+mj-lt"/>
              <a:cs typeface="Arial"/>
            </a:endParaRPr>
          </a:p>
          <a:p>
            <a:pPr marL="533400" indent="-533400"/>
            <a:r>
              <a:rPr lang="cs-CZ" sz="2800">
                <a:latin typeface="+mj-lt"/>
                <a:cs typeface="Arial"/>
              </a:rPr>
              <a:t> »Velký rozsah (150+) možná nepřímo odpovídá na otázku, proč se s Regiony příležitostí dlouhodobě s nesystematickým přístupem mnoho nedělo</a:t>
            </a:r>
            <a:endParaRPr lang="cs-CZ" sz="2050">
              <a:latin typeface="+mj-lt"/>
              <a:ea typeface="Calibri"/>
              <a:cs typeface="Calibri"/>
            </a:endParaRPr>
          </a:p>
          <a:p>
            <a:endParaRPr lang="cs-CZ" sz="1400">
              <a:latin typeface="+mj-lt"/>
              <a:cs typeface="Arial"/>
            </a:endParaRPr>
          </a:p>
          <a:p>
            <a:pPr marL="533400" indent="-533400"/>
            <a:r>
              <a:rPr lang="cs-CZ" sz="2800">
                <a:latin typeface="+mj-lt"/>
                <a:cs typeface="Arial"/>
              </a:rPr>
              <a:t> »Některá opatření se během sběru námětů dostala do fáze realizace</a:t>
            </a:r>
            <a:endParaRPr lang="cs-CZ" sz="2050">
              <a:latin typeface="+mj-lt"/>
              <a:ea typeface="Calibri"/>
              <a:cs typeface="Calibri"/>
            </a:endParaRPr>
          </a:p>
          <a:p>
            <a:pPr marL="347345" indent="-347345">
              <a:buFont typeface="Arial"/>
              <a:buChar char="•"/>
            </a:pPr>
            <a:endParaRPr lang="cs-CZ" sz="2400">
              <a:latin typeface="+mj-lt"/>
              <a:cs typeface="Arial"/>
            </a:endParaRPr>
          </a:p>
          <a:p>
            <a:pPr marL="740410" indent="-283210">
              <a:buFont typeface="Arial"/>
              <a:buChar char="»"/>
            </a:pPr>
            <a:endParaRPr lang="cs-CZ" sz="2100">
              <a:latin typeface="+mj-lt"/>
              <a:cs typeface="Arial"/>
            </a:endParaRPr>
          </a:p>
        </p:txBody>
      </p:sp>
    </p:spTree>
    <p:extLst>
      <p:ext uri="{BB962C8B-B14F-4D97-AF65-F5344CB8AC3E}">
        <p14:creationId xmlns:p14="http://schemas.microsoft.com/office/powerpoint/2010/main" val="26546127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EC4344-9503-50D4-8537-253B156234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445D5C-12EE-E0D9-D998-5E460FDAB963}"/>
              </a:ext>
            </a:extLst>
          </p:cNvPr>
          <p:cNvSpPr>
            <a:spLocks noGrp="1"/>
          </p:cNvSpPr>
          <p:nvPr>
            <p:ph type="title"/>
          </p:nvPr>
        </p:nvSpPr>
        <p:spPr>
          <a:xfrm>
            <a:off x="495300" y="293497"/>
            <a:ext cx="8915400" cy="903765"/>
          </a:xfrm>
        </p:spPr>
        <p:txBody>
          <a:bodyPr lIns="91440" tIns="45720" rIns="91440" bIns="45720" anchor="t">
            <a:normAutofit/>
          </a:bodyPr>
          <a:lstStyle/>
          <a:p>
            <a:r>
              <a:rPr lang="en-US" sz="3600">
                <a:solidFill>
                  <a:srgbClr val="0C4CA3"/>
                </a:solidFill>
                <a:cs typeface="Calibri"/>
              </a:rPr>
              <a:t>TO DO list v. 1.0</a:t>
            </a:r>
          </a:p>
        </p:txBody>
      </p:sp>
      <p:sp>
        <p:nvSpPr>
          <p:cNvPr id="7" name="TextBox 6">
            <a:extLst>
              <a:ext uri="{FF2B5EF4-FFF2-40B4-BE49-F238E27FC236}">
                <a16:creationId xmlns:a16="http://schemas.microsoft.com/office/drawing/2014/main" id="{D73701F2-9E3C-8A6B-AB64-40B758D1AC34}"/>
              </a:ext>
            </a:extLst>
          </p:cNvPr>
          <p:cNvSpPr txBox="1"/>
          <p:nvPr/>
        </p:nvSpPr>
        <p:spPr>
          <a:xfrm>
            <a:off x="495300" y="1523449"/>
            <a:ext cx="8305267" cy="51552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cs-CZ" sz="2700" b="1">
                <a:latin typeface="+mj-lt"/>
                <a:ea typeface="Calibri"/>
                <a:cs typeface="Arial"/>
              </a:rPr>
              <a:t>Obsahuje:</a:t>
            </a:r>
            <a:endParaRPr lang="en-US" sz="2050" b="1">
              <a:latin typeface="+mj-lt"/>
              <a:ea typeface="Calibri"/>
              <a:cs typeface="Calibri"/>
            </a:endParaRPr>
          </a:p>
          <a:p>
            <a:endParaRPr lang="cs-CZ" sz="1600">
              <a:latin typeface="+mj-lt"/>
              <a:cs typeface="Arial"/>
            </a:endParaRPr>
          </a:p>
          <a:p>
            <a:r>
              <a:rPr lang="cs-CZ" sz="2800">
                <a:latin typeface="+mj-lt"/>
                <a:cs typeface="Arial"/>
              </a:rPr>
              <a:t>»Návrhy opatření ministerstev </a:t>
            </a:r>
          </a:p>
          <a:p>
            <a:r>
              <a:rPr lang="cs-CZ" sz="2800">
                <a:latin typeface="+mj-lt"/>
                <a:cs typeface="Arial"/>
              </a:rPr>
              <a:t>»Návrhy opatření krajů a dalších územních</a:t>
            </a:r>
          </a:p>
          <a:p>
            <a:r>
              <a:rPr lang="cs-CZ" sz="2800">
                <a:latin typeface="+mj-lt"/>
                <a:cs typeface="Arial"/>
              </a:rPr>
              <a:t>  partnerů</a:t>
            </a:r>
            <a:endParaRPr lang="cs-CZ">
              <a:latin typeface="+mj-lt"/>
            </a:endParaRPr>
          </a:p>
          <a:p>
            <a:r>
              <a:rPr lang="cs-CZ" sz="2800">
                <a:latin typeface="+mj-lt"/>
                <a:cs typeface="Arial"/>
              </a:rPr>
              <a:t>»Agregace podobných námětů - autoři námětů</a:t>
            </a:r>
          </a:p>
          <a:p>
            <a:r>
              <a:rPr lang="cs-CZ" sz="2800">
                <a:latin typeface="+mj-lt"/>
                <a:cs typeface="Arial"/>
              </a:rPr>
              <a:t>  nebo připomínek uvedeni u každého návrhu</a:t>
            </a:r>
            <a:endParaRPr lang="cs-CZ">
              <a:latin typeface="+mj-lt"/>
            </a:endParaRPr>
          </a:p>
          <a:p>
            <a:endParaRPr lang="cs-CZ" sz="1800">
              <a:latin typeface="+mj-lt"/>
              <a:cs typeface="Arial"/>
            </a:endParaRPr>
          </a:p>
          <a:p>
            <a:r>
              <a:rPr lang="cs-CZ" sz="2400">
                <a:latin typeface="+mj-lt"/>
                <a:cs typeface="Arial"/>
              </a:rPr>
              <a:t>»Doporučení nebo náměty dobré praxe z regionů</a:t>
            </a:r>
          </a:p>
          <a:p>
            <a:r>
              <a:rPr lang="cs-CZ" sz="2400">
                <a:latin typeface="+mj-lt"/>
                <a:cs typeface="Arial"/>
              </a:rPr>
              <a:t>»Informaci o případných lokálních projektech</a:t>
            </a:r>
          </a:p>
          <a:p>
            <a:endParaRPr lang="cs-CZ" sz="2700" b="1">
              <a:latin typeface="+mj-lt"/>
              <a:ea typeface="Calibri"/>
              <a:cs typeface="Arial"/>
            </a:endParaRPr>
          </a:p>
          <a:p>
            <a:pPr marL="347345" indent="-347345">
              <a:buFont typeface="Arial"/>
              <a:buChar char="•"/>
            </a:pPr>
            <a:endParaRPr lang="cs-CZ" sz="2400">
              <a:latin typeface="+mj-lt"/>
              <a:cs typeface="Arial"/>
            </a:endParaRPr>
          </a:p>
          <a:p>
            <a:pPr marL="740410" indent="-283210">
              <a:buFont typeface="Arial"/>
              <a:buChar char="»"/>
            </a:pPr>
            <a:endParaRPr lang="cs-CZ" sz="2100">
              <a:latin typeface="+mj-lt"/>
              <a:cs typeface="Arial"/>
            </a:endParaRPr>
          </a:p>
        </p:txBody>
      </p:sp>
    </p:spTree>
    <p:extLst>
      <p:ext uri="{BB962C8B-B14F-4D97-AF65-F5344CB8AC3E}">
        <p14:creationId xmlns:p14="http://schemas.microsoft.com/office/powerpoint/2010/main" val="4911660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BB108-445F-969D-8506-45CE5A8C2A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E09A67-595B-88FE-656F-4D15681B56D2}"/>
              </a:ext>
            </a:extLst>
          </p:cNvPr>
          <p:cNvSpPr>
            <a:spLocks noGrp="1"/>
          </p:cNvSpPr>
          <p:nvPr>
            <p:ph type="title"/>
          </p:nvPr>
        </p:nvSpPr>
        <p:spPr/>
        <p:txBody>
          <a:bodyPr lIns="91440" tIns="45720" rIns="91440" bIns="45720" anchor="t">
            <a:normAutofit/>
          </a:bodyPr>
          <a:lstStyle/>
          <a:p>
            <a:r>
              <a:rPr lang="en-US" sz="3600">
                <a:solidFill>
                  <a:srgbClr val="0C4CA3"/>
                </a:solidFill>
                <a:cs typeface="Calibri"/>
              </a:rPr>
              <a:t>TO DO list v. 1.0</a:t>
            </a:r>
          </a:p>
        </p:txBody>
      </p:sp>
      <p:sp>
        <p:nvSpPr>
          <p:cNvPr id="7" name="TextBox 6">
            <a:extLst>
              <a:ext uri="{FF2B5EF4-FFF2-40B4-BE49-F238E27FC236}">
                <a16:creationId xmlns:a16="http://schemas.microsoft.com/office/drawing/2014/main" id="{1003B2B2-4102-AA6A-498F-268065F311E7}"/>
              </a:ext>
            </a:extLst>
          </p:cNvPr>
          <p:cNvSpPr txBox="1"/>
          <p:nvPr/>
        </p:nvSpPr>
        <p:spPr>
          <a:xfrm>
            <a:off x="490086" y="1546209"/>
            <a:ext cx="8305267" cy="48628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cs-CZ" sz="2800">
                <a:latin typeface="+mj-lt"/>
                <a:cs typeface="Arial"/>
              </a:rPr>
              <a:t>TO DO list v.1.0 poskytuje unikátní a poměrně objemný plastický obraz podnětů z centra i z území </a:t>
            </a:r>
            <a:endParaRPr lang="en-US" sz="2800">
              <a:latin typeface="+mj-lt"/>
              <a:cs typeface="Calibri"/>
            </a:endParaRPr>
          </a:p>
          <a:p>
            <a:pPr algn="ctr"/>
            <a:r>
              <a:rPr lang="cs-CZ" sz="2800">
                <a:latin typeface="+mj-lt"/>
                <a:cs typeface="Arial"/>
              </a:rPr>
              <a:t>na řešení problematiky</a:t>
            </a:r>
            <a:endParaRPr lang="en-US" sz="2800">
              <a:latin typeface="+mj-lt"/>
              <a:ea typeface="Calibri"/>
              <a:cs typeface="Calibri"/>
            </a:endParaRPr>
          </a:p>
          <a:p>
            <a:pPr algn="ctr"/>
            <a:r>
              <a:rPr lang="cs-CZ" sz="4000" b="1">
                <a:latin typeface="+mj-lt"/>
                <a:cs typeface="Arial"/>
              </a:rPr>
              <a:t>Co dál?</a:t>
            </a:r>
            <a:endParaRPr lang="cs-CZ">
              <a:latin typeface="+mj-lt"/>
            </a:endParaRPr>
          </a:p>
          <a:p>
            <a:pPr algn="ctr"/>
            <a:endParaRPr lang="cs-CZ" sz="3100" b="1">
              <a:latin typeface="+mj-lt"/>
              <a:cs typeface="Arial"/>
            </a:endParaRPr>
          </a:p>
          <a:p>
            <a:pPr algn="ctr"/>
            <a:r>
              <a:rPr lang="cs-CZ" sz="2400">
                <a:latin typeface="+mj-lt"/>
                <a:cs typeface="Arial"/>
              </a:rPr>
              <a:t>Nutné zúžení počtu opatření, </a:t>
            </a:r>
            <a:endParaRPr lang="cs-CZ" sz="2400">
              <a:latin typeface="+mj-lt"/>
              <a:ea typeface="Calibri"/>
              <a:cs typeface="Calibri"/>
            </a:endParaRPr>
          </a:p>
          <a:p>
            <a:pPr algn="ctr"/>
            <a:r>
              <a:rPr lang="cs-CZ" sz="2400">
                <a:latin typeface="+mj-lt"/>
                <a:cs typeface="Arial"/>
              </a:rPr>
              <a:t>na kterých se dá efektivně pracovat</a:t>
            </a:r>
            <a:endParaRPr lang="cs-CZ" sz="2400">
              <a:latin typeface="+mj-lt"/>
              <a:ea typeface="Calibri"/>
              <a:cs typeface="Calibri"/>
            </a:endParaRPr>
          </a:p>
          <a:p>
            <a:pPr algn="ctr"/>
            <a:endParaRPr lang="cs-CZ" sz="1600">
              <a:latin typeface="+mj-lt"/>
              <a:ea typeface="Calibri"/>
              <a:cs typeface="Arial"/>
            </a:endParaRPr>
          </a:p>
          <a:p>
            <a:pPr algn="ctr"/>
            <a:r>
              <a:rPr lang="cs-CZ" sz="3100" b="1">
                <a:latin typeface="+mj-lt"/>
                <a:ea typeface="Calibri"/>
                <a:cs typeface="Arial"/>
              </a:rPr>
              <a:t>TO DO list byl zaslán </a:t>
            </a:r>
          </a:p>
          <a:p>
            <a:pPr algn="ctr"/>
            <a:r>
              <a:rPr lang="cs-CZ" sz="3100" b="1">
                <a:latin typeface="+mj-lt"/>
                <a:ea typeface="Calibri"/>
                <a:cs typeface="Arial"/>
              </a:rPr>
              <a:t>všem aktérům k prioritizaci</a:t>
            </a:r>
          </a:p>
          <a:p>
            <a:pPr marL="740410" indent="-283210">
              <a:buFont typeface="Arial"/>
              <a:buChar char="»"/>
            </a:pPr>
            <a:endParaRPr lang="cs-CZ" sz="2100">
              <a:latin typeface="+mj-lt"/>
              <a:ea typeface="Calibri"/>
              <a:cs typeface="Arial"/>
            </a:endParaRPr>
          </a:p>
        </p:txBody>
      </p:sp>
      <p:pic>
        <p:nvPicPr>
          <p:cNvPr id="3" name="Picture 2">
            <a:extLst>
              <a:ext uri="{FF2B5EF4-FFF2-40B4-BE49-F238E27FC236}">
                <a16:creationId xmlns:a16="http://schemas.microsoft.com/office/drawing/2014/main" id="{3274D7F9-927E-E718-1F36-E6A6FD19176B}"/>
              </a:ext>
            </a:extLst>
          </p:cNvPr>
          <p:cNvPicPr>
            <a:picLocks noChangeAspect="1"/>
          </p:cNvPicPr>
          <p:nvPr/>
        </p:nvPicPr>
        <p:blipFill>
          <a:blip r:embed="rId2"/>
          <a:stretch>
            <a:fillRect/>
          </a:stretch>
        </p:blipFill>
        <p:spPr>
          <a:xfrm>
            <a:off x="4333586" y="3523196"/>
            <a:ext cx="610603" cy="454904"/>
          </a:xfrm>
          <a:prstGeom prst="rect">
            <a:avLst/>
          </a:prstGeom>
        </p:spPr>
      </p:pic>
    </p:spTree>
    <p:extLst>
      <p:ext uri="{BB962C8B-B14F-4D97-AF65-F5344CB8AC3E}">
        <p14:creationId xmlns:p14="http://schemas.microsoft.com/office/powerpoint/2010/main" val="12860228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7EDA8-6038-AC39-43F7-10C95724B6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F662ED-2547-A083-BB73-4039C1F2059E}"/>
              </a:ext>
            </a:extLst>
          </p:cNvPr>
          <p:cNvSpPr>
            <a:spLocks noGrp="1"/>
          </p:cNvSpPr>
          <p:nvPr>
            <p:ph type="title"/>
          </p:nvPr>
        </p:nvSpPr>
        <p:spPr>
          <a:xfrm>
            <a:off x="495300" y="293497"/>
            <a:ext cx="8915400" cy="903765"/>
          </a:xfrm>
        </p:spPr>
        <p:txBody>
          <a:bodyPr lIns="91440" tIns="45720" rIns="91440" bIns="45720" anchor="t">
            <a:normAutofit/>
          </a:bodyPr>
          <a:lstStyle/>
          <a:p>
            <a:r>
              <a:rPr lang="en-US" sz="3600">
                <a:solidFill>
                  <a:srgbClr val="0C4CA3"/>
                </a:solidFill>
                <a:cs typeface="Calibri"/>
              </a:rPr>
              <a:t>TO DO list v. 1.0 - </a:t>
            </a:r>
            <a:r>
              <a:rPr lang="cs-CZ" sz="3600">
                <a:solidFill>
                  <a:srgbClr val="0C4CA3"/>
                </a:solidFill>
                <a:cs typeface="Calibri"/>
              </a:rPr>
              <a:t>aktuální stav</a:t>
            </a:r>
          </a:p>
        </p:txBody>
      </p:sp>
      <p:sp>
        <p:nvSpPr>
          <p:cNvPr id="7" name="TextBox 6">
            <a:extLst>
              <a:ext uri="{FF2B5EF4-FFF2-40B4-BE49-F238E27FC236}">
                <a16:creationId xmlns:a16="http://schemas.microsoft.com/office/drawing/2014/main" id="{1FBE9B4D-A8C8-9F38-E9CF-E24FEB4CC57B}"/>
              </a:ext>
            </a:extLst>
          </p:cNvPr>
          <p:cNvSpPr txBox="1"/>
          <p:nvPr/>
        </p:nvSpPr>
        <p:spPr>
          <a:xfrm>
            <a:off x="490087" y="1327948"/>
            <a:ext cx="8316758" cy="47551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cs-CZ" sz="900">
              <a:latin typeface="+mj-lt"/>
              <a:ea typeface="Calibri"/>
              <a:cs typeface="Arial"/>
            </a:endParaRPr>
          </a:p>
          <a:p>
            <a:r>
              <a:rPr lang="cs-CZ" sz="2800">
                <a:latin typeface="+mj-lt"/>
                <a:cs typeface="Arial"/>
              </a:rPr>
              <a:t>» 15. 8. byl dokončen sběr priorit - velká odezva,</a:t>
            </a:r>
            <a:endParaRPr lang="cs-CZ" sz="2800">
              <a:latin typeface="+mj-lt"/>
              <a:ea typeface="Calibri"/>
              <a:cs typeface="Arial"/>
            </a:endParaRPr>
          </a:p>
          <a:p>
            <a:r>
              <a:rPr lang="cs-CZ" sz="2800">
                <a:latin typeface="+mj-lt"/>
                <a:cs typeface="Arial"/>
              </a:rPr>
              <a:t>   děkujeme</a:t>
            </a:r>
            <a:endParaRPr lang="cs-CZ" sz="2800">
              <a:latin typeface="+mj-lt"/>
              <a:ea typeface="Calibri"/>
              <a:cs typeface="Arial"/>
            </a:endParaRPr>
          </a:p>
          <a:p>
            <a:endParaRPr lang="cs-CZ" sz="1100">
              <a:latin typeface="+mj-lt"/>
              <a:cs typeface="Arial"/>
            </a:endParaRPr>
          </a:p>
          <a:p>
            <a:r>
              <a:rPr lang="cs-CZ" sz="2800">
                <a:latin typeface="+mj-lt"/>
                <a:cs typeface="Arial"/>
              </a:rPr>
              <a:t>» nyní probíhá </a:t>
            </a:r>
            <a:r>
              <a:rPr lang="cs-CZ" sz="2800" b="1">
                <a:latin typeface="+mj-lt"/>
                <a:cs typeface="Arial"/>
              </a:rPr>
              <a:t>prioritizace</a:t>
            </a:r>
            <a:r>
              <a:rPr lang="cs-CZ" sz="2800">
                <a:latin typeface="+mj-lt"/>
                <a:cs typeface="Arial"/>
              </a:rPr>
              <a:t> dle zaslaných odpovědí </a:t>
            </a:r>
            <a:endParaRPr lang="cs-CZ">
              <a:latin typeface="+mj-lt"/>
              <a:ea typeface="Calibri"/>
              <a:cs typeface="Calibri"/>
            </a:endParaRPr>
          </a:p>
          <a:p>
            <a:r>
              <a:rPr lang="cs-CZ" sz="2800">
                <a:latin typeface="+mj-lt"/>
                <a:cs typeface="Arial"/>
              </a:rPr>
              <a:t>   aktérů - ministerstev a územních partnerů včetně</a:t>
            </a:r>
            <a:endParaRPr lang="cs-CZ" sz="2050">
              <a:latin typeface="+mj-lt"/>
              <a:ea typeface="Calibri"/>
              <a:cs typeface="Calibri"/>
            </a:endParaRPr>
          </a:p>
          <a:p>
            <a:r>
              <a:rPr lang="cs-CZ" sz="2800">
                <a:latin typeface="+mj-lt"/>
                <a:cs typeface="Arial"/>
              </a:rPr>
              <a:t>   všech krajů</a:t>
            </a:r>
            <a:endParaRPr lang="cs-CZ" sz="2050">
              <a:latin typeface="+mj-lt"/>
              <a:ea typeface="Calibri"/>
              <a:cs typeface="Calibri"/>
            </a:endParaRPr>
          </a:p>
          <a:p>
            <a:endParaRPr lang="cs-CZ" sz="1000">
              <a:latin typeface="+mj-lt"/>
              <a:cs typeface="Arial"/>
            </a:endParaRPr>
          </a:p>
          <a:p>
            <a:r>
              <a:rPr lang="cs-CZ" sz="2800">
                <a:latin typeface="+mj-lt"/>
                <a:cs typeface="Arial"/>
              </a:rPr>
              <a:t>» 26. 9. bude na PV-RP představena </a:t>
            </a:r>
            <a:endParaRPr lang="cs-CZ" sz="2800">
              <a:latin typeface="+mj-lt"/>
              <a:ea typeface="Calibri"/>
              <a:cs typeface="Arial"/>
            </a:endParaRPr>
          </a:p>
          <a:p>
            <a:r>
              <a:rPr lang="cs-CZ" sz="2800">
                <a:latin typeface="+mj-lt"/>
                <a:cs typeface="Arial"/>
              </a:rPr>
              <a:t>   prioritní opatření Plánu pro Regiony příležitostí</a:t>
            </a:r>
            <a:endParaRPr lang="cs-CZ">
              <a:latin typeface="+mj-lt"/>
            </a:endParaRPr>
          </a:p>
          <a:p>
            <a:endParaRPr lang="cs-CZ" sz="1800">
              <a:latin typeface="+mj-lt"/>
              <a:cs typeface="Arial"/>
            </a:endParaRPr>
          </a:p>
          <a:p>
            <a:r>
              <a:rPr lang="cs-CZ" sz="2000" i="1">
                <a:latin typeface="+mj-lt"/>
                <a:cs typeface="Arial"/>
              </a:rPr>
              <a:t>» Plán i TO DO list bude sloužit také např. jako jeden z podkladů pro vypracování nové SRR28+, která se začne tvořit na podzim</a:t>
            </a:r>
            <a:endParaRPr lang="cs-CZ" sz="2000" i="1">
              <a:latin typeface="+mj-lt"/>
              <a:ea typeface="Calibri"/>
              <a:cs typeface="Calibri"/>
            </a:endParaRPr>
          </a:p>
          <a:p>
            <a:pPr marL="740410" indent="-283210">
              <a:buFont typeface="Arial"/>
              <a:buChar char="»"/>
            </a:pPr>
            <a:endParaRPr lang="cs-CZ" sz="2100">
              <a:latin typeface="+mj-lt"/>
              <a:cs typeface="Arial"/>
            </a:endParaRPr>
          </a:p>
        </p:txBody>
      </p:sp>
    </p:spTree>
    <p:extLst>
      <p:ext uri="{BB962C8B-B14F-4D97-AF65-F5344CB8AC3E}">
        <p14:creationId xmlns:p14="http://schemas.microsoft.com/office/powerpoint/2010/main" val="8987163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33333-E97B-8940-4C14-6FEFC9F796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65D8DC-938F-92CB-8C08-99BF80411051}"/>
              </a:ext>
            </a:extLst>
          </p:cNvPr>
          <p:cNvSpPr>
            <a:spLocks noGrp="1"/>
          </p:cNvSpPr>
          <p:nvPr>
            <p:ph type="title"/>
          </p:nvPr>
        </p:nvSpPr>
        <p:spPr/>
        <p:txBody>
          <a:bodyPr lIns="91440" tIns="45720" rIns="91440" bIns="45720" anchor="t">
            <a:normAutofit/>
          </a:bodyPr>
          <a:lstStyle/>
          <a:p>
            <a:r>
              <a:rPr lang="en-US" sz="3600" err="1">
                <a:solidFill>
                  <a:srgbClr val="0C4CA3"/>
                </a:solidFill>
                <a:cs typeface="Calibri"/>
              </a:rPr>
              <a:t>Novinky</a:t>
            </a:r>
            <a:r>
              <a:rPr lang="en-US" sz="3600">
                <a:solidFill>
                  <a:srgbClr val="0C4CA3"/>
                </a:solidFill>
                <a:cs typeface="Calibri"/>
              </a:rPr>
              <a:t> RE:START</a:t>
            </a:r>
          </a:p>
        </p:txBody>
      </p:sp>
      <p:sp>
        <p:nvSpPr>
          <p:cNvPr id="3" name="Content Placeholder 2">
            <a:extLst>
              <a:ext uri="{FF2B5EF4-FFF2-40B4-BE49-F238E27FC236}">
                <a16:creationId xmlns:a16="http://schemas.microsoft.com/office/drawing/2014/main" id="{073F6400-691F-2012-4698-F90B4204948A}"/>
              </a:ext>
            </a:extLst>
          </p:cNvPr>
          <p:cNvSpPr>
            <a:spLocks noGrp="1"/>
          </p:cNvSpPr>
          <p:nvPr>
            <p:ph idx="1"/>
          </p:nvPr>
        </p:nvSpPr>
        <p:spPr/>
        <p:txBody>
          <a:bodyPr lIns="91440" tIns="45720" rIns="91440" bIns="45720" anchor="t"/>
          <a:lstStyle/>
          <a:p>
            <a:pPr marL="0" indent="0">
              <a:buNone/>
            </a:pPr>
            <a:r>
              <a:rPr lang="en-US" sz="3000" b="1" err="1">
                <a:solidFill>
                  <a:srgbClr val="034EA2"/>
                </a:solidFill>
                <a:ea typeface="Calibri"/>
                <a:cs typeface="Calibri"/>
              </a:rPr>
              <a:t>Kulaté</a:t>
            </a:r>
            <a:r>
              <a:rPr lang="en-US" sz="3000" b="1">
                <a:solidFill>
                  <a:srgbClr val="034EA2"/>
                </a:solidFill>
                <a:ea typeface="Calibri"/>
                <a:cs typeface="Calibri"/>
              </a:rPr>
              <a:t> </a:t>
            </a:r>
            <a:r>
              <a:rPr lang="en-US" sz="3000" b="1" err="1">
                <a:solidFill>
                  <a:srgbClr val="034EA2"/>
                </a:solidFill>
                <a:ea typeface="Calibri"/>
                <a:cs typeface="Calibri"/>
              </a:rPr>
              <a:t>stoly</a:t>
            </a:r>
            <a:r>
              <a:rPr lang="en-US" sz="3000" b="1">
                <a:solidFill>
                  <a:srgbClr val="034EA2"/>
                </a:solidFill>
                <a:ea typeface="Calibri"/>
                <a:cs typeface="Calibri"/>
              </a:rPr>
              <a:t> s </a:t>
            </a:r>
            <a:r>
              <a:rPr lang="en-US" sz="3000" b="1" err="1">
                <a:solidFill>
                  <a:srgbClr val="034EA2"/>
                </a:solidFill>
                <a:ea typeface="Calibri"/>
                <a:cs typeface="Calibri"/>
              </a:rPr>
              <a:t>mladými</a:t>
            </a:r>
            <a:endParaRPr lang="en-US" sz="3000" b="1">
              <a:solidFill>
                <a:srgbClr val="034EA2"/>
              </a:solidFill>
              <a:ea typeface="Calibri"/>
              <a:cs typeface="Calibri"/>
            </a:endParaRPr>
          </a:p>
          <a:p>
            <a:pPr marL="374650" indent="-374650"/>
            <a:r>
              <a:rPr lang="en-US" sz="2800" err="1">
                <a:ea typeface="Calibri"/>
                <a:cs typeface="Calibri"/>
              </a:rPr>
              <a:t>Začátek</a:t>
            </a:r>
            <a:r>
              <a:rPr lang="en-US" sz="2800">
                <a:ea typeface="Calibri"/>
                <a:cs typeface="Calibri"/>
              </a:rPr>
              <a:t> - 7.10.2025</a:t>
            </a:r>
          </a:p>
          <a:p>
            <a:pPr marL="374650" indent="-374650"/>
            <a:r>
              <a:rPr lang="en-US" sz="2800" err="1">
                <a:ea typeface="Calibri"/>
                <a:cs typeface="Calibri"/>
              </a:rPr>
              <a:t>První</a:t>
            </a:r>
            <a:r>
              <a:rPr lang="en-US" sz="2800">
                <a:ea typeface="Calibri"/>
                <a:cs typeface="Calibri"/>
              </a:rPr>
              <a:t> </a:t>
            </a:r>
            <a:r>
              <a:rPr lang="en-US" sz="2800" err="1">
                <a:ea typeface="Calibri"/>
                <a:cs typeface="Calibri"/>
              </a:rPr>
              <a:t>téma</a:t>
            </a:r>
            <a:r>
              <a:rPr lang="en-US" sz="2800">
                <a:ea typeface="Calibri"/>
                <a:cs typeface="Calibri"/>
              </a:rPr>
              <a:t> - Brain drain</a:t>
            </a:r>
          </a:p>
          <a:p>
            <a:pPr marL="374650" indent="-374650"/>
            <a:r>
              <a:rPr lang="en-US" sz="2800" err="1">
                <a:ea typeface="Calibri"/>
                <a:cs typeface="Calibri"/>
              </a:rPr>
              <a:t>Definice</a:t>
            </a:r>
            <a:r>
              <a:rPr lang="en-US" sz="2800">
                <a:ea typeface="Calibri"/>
                <a:cs typeface="Calibri"/>
              </a:rPr>
              <a:t> </a:t>
            </a:r>
            <a:r>
              <a:rPr lang="en-US" sz="2800" err="1">
                <a:ea typeface="Calibri"/>
                <a:cs typeface="Calibri"/>
              </a:rPr>
              <a:t>skupiny</a:t>
            </a:r>
            <a:r>
              <a:rPr lang="en-US" sz="2800">
                <a:ea typeface="Calibri"/>
                <a:cs typeface="Calibri"/>
              </a:rPr>
              <a:t>: </a:t>
            </a:r>
          </a:p>
          <a:p>
            <a:pPr marL="1748155" lvl="3" indent="-249555">
              <a:buFont typeface="Arial" pitchFamily="34" charset="0"/>
              <a:buChar char="•"/>
            </a:pPr>
            <a:r>
              <a:rPr lang="en-US" sz="2800" err="1">
                <a:ea typeface="Calibri"/>
                <a:cs typeface="Calibri"/>
              </a:rPr>
              <a:t>Mladí</a:t>
            </a:r>
            <a:r>
              <a:rPr lang="en-US" sz="2800">
                <a:ea typeface="Calibri"/>
                <a:cs typeface="Calibri"/>
              </a:rPr>
              <a:t> od 19 do 30 let</a:t>
            </a:r>
          </a:p>
          <a:p>
            <a:pPr marL="1748155" lvl="3" indent="-249555">
              <a:buFont typeface="Arial" pitchFamily="34" charset="0"/>
              <a:buChar char="•"/>
            </a:pPr>
            <a:r>
              <a:rPr lang="en-US" sz="2800" err="1">
                <a:ea typeface="Calibri"/>
                <a:cs typeface="Calibri"/>
              </a:rPr>
              <a:t>Původem</a:t>
            </a:r>
            <a:r>
              <a:rPr lang="en-US" sz="2800">
                <a:ea typeface="Calibri"/>
                <a:cs typeface="Calibri"/>
              </a:rPr>
              <a:t> ze SPR</a:t>
            </a:r>
          </a:p>
          <a:p>
            <a:pPr marL="1748155" lvl="3" indent="-249555">
              <a:buFont typeface="Arial" pitchFamily="34" charset="0"/>
              <a:buChar char="•"/>
            </a:pPr>
            <a:r>
              <a:rPr lang="en-US" sz="2800" err="1">
                <a:ea typeface="Calibri"/>
                <a:cs typeface="Calibri"/>
              </a:rPr>
              <a:t>Různorodost</a:t>
            </a:r>
            <a:r>
              <a:rPr lang="en-US" sz="2800">
                <a:ea typeface="Calibri"/>
                <a:cs typeface="Calibri"/>
              </a:rPr>
              <a:t> </a:t>
            </a:r>
            <a:r>
              <a:rPr lang="en-US" sz="2800" err="1">
                <a:ea typeface="Calibri"/>
                <a:cs typeface="Calibri"/>
              </a:rPr>
              <a:t>skupiny</a:t>
            </a:r>
            <a:r>
              <a:rPr lang="en-US" sz="2800">
                <a:ea typeface="Calibri"/>
                <a:cs typeface="Calibri"/>
              </a:rPr>
              <a:t> (gender, </a:t>
            </a:r>
            <a:r>
              <a:rPr lang="en-US" sz="2800" err="1">
                <a:ea typeface="Calibri"/>
                <a:cs typeface="Calibri"/>
              </a:rPr>
              <a:t>město</a:t>
            </a:r>
            <a:r>
              <a:rPr lang="en-US" sz="2800">
                <a:ea typeface="Calibri"/>
                <a:cs typeface="Calibri"/>
              </a:rPr>
              <a:t> x </a:t>
            </a:r>
            <a:r>
              <a:rPr lang="en-US" sz="2800" err="1">
                <a:ea typeface="Calibri"/>
                <a:cs typeface="Calibri"/>
              </a:rPr>
              <a:t>venokov</a:t>
            </a:r>
            <a:r>
              <a:rPr lang="en-US" sz="2800">
                <a:ea typeface="Calibri"/>
                <a:cs typeface="Calibri"/>
              </a:rPr>
              <a:t> x </a:t>
            </a:r>
            <a:r>
              <a:rPr lang="en-US" sz="2800" err="1">
                <a:ea typeface="Calibri"/>
                <a:cs typeface="Calibri"/>
              </a:rPr>
              <a:t>periferie</a:t>
            </a:r>
            <a:r>
              <a:rPr lang="en-US" sz="2800">
                <a:ea typeface="Calibri"/>
                <a:cs typeface="Calibri"/>
              </a:rPr>
              <a:t>, </a:t>
            </a:r>
            <a:r>
              <a:rPr lang="en-US" sz="2800" err="1">
                <a:ea typeface="Calibri"/>
                <a:cs typeface="Calibri"/>
              </a:rPr>
              <a:t>znevýhodněné</a:t>
            </a:r>
            <a:r>
              <a:rPr lang="en-US" sz="2800">
                <a:ea typeface="Calibri"/>
                <a:cs typeface="Calibri"/>
              </a:rPr>
              <a:t> </a:t>
            </a:r>
            <a:r>
              <a:rPr lang="en-US" sz="2800" err="1">
                <a:ea typeface="Calibri"/>
                <a:cs typeface="Calibri"/>
              </a:rPr>
              <a:t>skupiny</a:t>
            </a:r>
            <a:r>
              <a:rPr lang="en-US" sz="2800">
                <a:ea typeface="Calibri"/>
                <a:cs typeface="Calibri"/>
              </a:rPr>
              <a:t>, </a:t>
            </a:r>
            <a:r>
              <a:rPr lang="en-US" sz="2800" err="1">
                <a:ea typeface="Calibri"/>
                <a:cs typeface="Calibri"/>
              </a:rPr>
              <a:t>různé</a:t>
            </a:r>
            <a:r>
              <a:rPr lang="en-US" sz="2800">
                <a:ea typeface="Calibri"/>
                <a:cs typeface="Calibri"/>
              </a:rPr>
              <a:t> </a:t>
            </a:r>
            <a:r>
              <a:rPr lang="en-US" sz="2800" err="1">
                <a:ea typeface="Calibri"/>
                <a:cs typeface="Calibri"/>
              </a:rPr>
              <a:t>obory</a:t>
            </a:r>
            <a:r>
              <a:rPr lang="en-US" sz="2800">
                <a:ea typeface="Calibri"/>
                <a:cs typeface="Calibri"/>
              </a:rPr>
              <a:t>)</a:t>
            </a:r>
          </a:p>
          <a:p>
            <a:pPr marL="1748155" lvl="3" indent="-249555">
              <a:buFont typeface="Arial" pitchFamily="34" charset="0"/>
              <a:buChar char="•"/>
            </a:pPr>
            <a:endParaRPr lang="en-US" sz="2800">
              <a:ea typeface="Calibri"/>
              <a:cs typeface="Calibri"/>
            </a:endParaRPr>
          </a:p>
          <a:p>
            <a:pPr marL="2747010" lvl="5" indent="-249555">
              <a:buFont typeface="Wingdings" pitchFamily="34" charset="0"/>
              <a:buChar char="§"/>
            </a:pPr>
            <a:endParaRPr lang="en-US" sz="2800">
              <a:ea typeface="Calibri"/>
              <a:cs typeface="Calibri"/>
            </a:endParaRPr>
          </a:p>
          <a:p>
            <a:pPr marL="374650" indent="-374650"/>
            <a:endParaRPr lang="en-US">
              <a:ea typeface="Calibri"/>
              <a:cs typeface="Calibri"/>
            </a:endParaRPr>
          </a:p>
        </p:txBody>
      </p:sp>
      <p:pic>
        <p:nvPicPr>
          <p:cNvPr id="7" name="Picture 6">
            <a:extLst>
              <a:ext uri="{FF2B5EF4-FFF2-40B4-BE49-F238E27FC236}">
                <a16:creationId xmlns:a16="http://schemas.microsoft.com/office/drawing/2014/main" id="{8443CF82-B6F2-C7CF-5CDD-D112B7446081}"/>
              </a:ext>
            </a:extLst>
          </p:cNvPr>
          <p:cNvPicPr>
            <a:picLocks noChangeAspect="1"/>
          </p:cNvPicPr>
          <p:nvPr/>
        </p:nvPicPr>
        <p:blipFill>
          <a:blip r:embed="rId2"/>
          <a:srcRect r="3809" b="980"/>
          <a:stretch>
            <a:fillRect/>
          </a:stretch>
        </p:blipFill>
        <p:spPr>
          <a:xfrm>
            <a:off x="8609056" y="116578"/>
            <a:ext cx="1079515" cy="1066128"/>
          </a:xfrm>
          <a:prstGeom prst="rect">
            <a:avLst/>
          </a:prstGeom>
        </p:spPr>
      </p:pic>
    </p:spTree>
    <p:extLst>
      <p:ext uri="{BB962C8B-B14F-4D97-AF65-F5344CB8AC3E}">
        <p14:creationId xmlns:p14="http://schemas.microsoft.com/office/powerpoint/2010/main" val="213223472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1A7728-21BA-B68D-6B1F-1C863EE297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9E8CC1-16F5-38FA-BA14-D1728C6CEE01}"/>
              </a:ext>
            </a:extLst>
          </p:cNvPr>
          <p:cNvSpPr>
            <a:spLocks noGrp="1"/>
          </p:cNvSpPr>
          <p:nvPr>
            <p:ph type="title"/>
          </p:nvPr>
        </p:nvSpPr>
        <p:spPr/>
        <p:txBody>
          <a:bodyPr lIns="91440" tIns="45720" rIns="91440" bIns="45720" anchor="t">
            <a:normAutofit/>
          </a:bodyPr>
          <a:lstStyle/>
          <a:p>
            <a:r>
              <a:rPr lang="cs-CZ" sz="4400">
                <a:ea typeface="Calibri"/>
                <a:cs typeface="Calibri"/>
              </a:rPr>
              <a:t>Různé</a:t>
            </a:r>
            <a:endParaRPr lang="cs-CZ" sz="4400"/>
          </a:p>
        </p:txBody>
      </p:sp>
    </p:spTree>
    <p:extLst>
      <p:ext uri="{BB962C8B-B14F-4D97-AF65-F5344CB8AC3E}">
        <p14:creationId xmlns:p14="http://schemas.microsoft.com/office/powerpoint/2010/main" val="10909027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odnadpis 1"/>
          <p:cNvSpPr>
            <a:spLocks noGrp="1"/>
          </p:cNvSpPr>
          <p:nvPr>
            <p:ph type="subTitle" idx="1"/>
          </p:nvPr>
        </p:nvSpPr>
        <p:spPr>
          <a:xfrm>
            <a:off x="556182" y="5410986"/>
            <a:ext cx="5203596" cy="413742"/>
          </a:xfrm>
        </p:spPr>
        <p:txBody>
          <a:bodyPr lIns="74961" tIns="45720" rIns="91440" bIns="45720" anchor="t">
            <a:normAutofit/>
          </a:bodyPr>
          <a:lstStyle/>
          <a:p>
            <a:pPr hangingPunct="0">
              <a:lnSpc>
                <a:spcPts val="1700"/>
              </a:lnSpc>
              <a:spcAft>
                <a:spcPts val="800"/>
              </a:spcAft>
            </a:pPr>
            <a:r>
              <a:rPr lang="cs-CZ" sz="1400">
                <a:cs typeface="Times New Roman" panose="02020603050405020304" pitchFamily="18" charset="0"/>
              </a:rPr>
              <a:t>Praha, 10. září 2025</a:t>
            </a:r>
          </a:p>
        </p:txBody>
      </p:sp>
      <p:sp>
        <p:nvSpPr>
          <p:cNvPr id="3" name="Nadpis 2"/>
          <p:cNvSpPr>
            <a:spLocks noGrp="1"/>
          </p:cNvSpPr>
          <p:nvPr>
            <p:ph type="title"/>
          </p:nvPr>
        </p:nvSpPr>
        <p:spPr>
          <a:xfrm>
            <a:off x="1178117" y="2651760"/>
            <a:ext cx="7205653" cy="901926"/>
          </a:xfrm>
        </p:spPr>
        <p:txBody>
          <a:bodyPr lIns="74961" tIns="45720" rIns="91440" bIns="45720" anchor="t">
            <a:normAutofit fontScale="90000"/>
          </a:bodyPr>
          <a:lstStyle/>
          <a:p>
            <a:pPr algn="ctr"/>
            <a:r>
              <a:rPr lang="cs-CZ" sz="3600">
                <a:solidFill>
                  <a:srgbClr val="0C4CA3"/>
                </a:solidFill>
                <a:latin typeface="Arial"/>
                <a:cs typeface="Arial"/>
              </a:rPr>
              <a:t>Děkujeme za pozornost</a:t>
            </a:r>
            <a:br>
              <a:rPr lang="cs-CZ">
                <a:solidFill>
                  <a:srgbClr val="0C4CA3"/>
                </a:solidFill>
                <a:latin typeface="Arial"/>
                <a:cs typeface="Arial"/>
              </a:rPr>
            </a:br>
            <a:endParaRPr lang="cs-CZ">
              <a:solidFill>
                <a:srgbClr val="0C4CA3"/>
              </a:solidFill>
            </a:endParaRPr>
          </a:p>
        </p:txBody>
      </p:sp>
      <p:pic>
        <p:nvPicPr>
          <p:cNvPr id="5" name="Picture 2">
            <a:extLst>
              <a:ext uri="{FF2B5EF4-FFF2-40B4-BE49-F238E27FC236}">
                <a16:creationId xmlns:a16="http://schemas.microsoft.com/office/drawing/2014/main" id="{430BC470-7660-561B-B600-F8E17834C0A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733" b="3426"/>
          <a:stretch/>
        </p:blipFill>
        <p:spPr bwMode="auto">
          <a:xfrm>
            <a:off x="6926657" y="4218495"/>
            <a:ext cx="2738613" cy="2384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8913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3D46920C-395D-03CE-07B9-EC73DD9B23B7}"/>
              </a:ext>
            </a:extLst>
          </p:cNvPr>
          <p:cNvSpPr>
            <a:spLocks noGrp="1"/>
          </p:cNvSpPr>
          <p:nvPr>
            <p:ph type="title"/>
          </p:nvPr>
        </p:nvSpPr>
        <p:spPr>
          <a:xfrm>
            <a:off x="495300" y="263951"/>
            <a:ext cx="8915400" cy="678785"/>
          </a:xfrm>
        </p:spPr>
        <p:txBody>
          <a:bodyPr lIns="91440" tIns="45720" rIns="91440" bIns="45720" anchor="t">
            <a:noAutofit/>
          </a:bodyPr>
          <a:lstStyle/>
          <a:p>
            <a:r>
              <a:rPr lang="cs-CZ" sz="3600">
                <a:solidFill>
                  <a:srgbClr val="0C4CA3"/>
                </a:solidFill>
                <a:cs typeface="Calibri"/>
              </a:rPr>
              <a:t>Strategie regionálního rozvoje ČR 2028+</a:t>
            </a:r>
            <a:endParaRPr lang="en-US" sz="3600">
              <a:solidFill>
                <a:srgbClr val="0C4CA3"/>
              </a:solidFill>
              <a:cs typeface="Calibri"/>
            </a:endParaRPr>
          </a:p>
        </p:txBody>
      </p:sp>
      <p:sp>
        <p:nvSpPr>
          <p:cNvPr id="4" name="Zástupný obsah 3">
            <a:extLst>
              <a:ext uri="{FF2B5EF4-FFF2-40B4-BE49-F238E27FC236}">
                <a16:creationId xmlns:a16="http://schemas.microsoft.com/office/drawing/2014/main" id="{DBBA1076-6B4B-BE2E-2A7B-A623DC64BD54}"/>
              </a:ext>
            </a:extLst>
          </p:cNvPr>
          <p:cNvSpPr>
            <a:spLocks noGrp="1"/>
          </p:cNvSpPr>
          <p:nvPr>
            <p:ph idx="1"/>
          </p:nvPr>
        </p:nvSpPr>
        <p:spPr>
          <a:xfrm>
            <a:off x="495300" y="1539229"/>
            <a:ext cx="8915400" cy="3779542"/>
          </a:xfrm>
        </p:spPr>
        <p:txBody>
          <a:bodyPr lIns="91440" tIns="45720" rIns="91440" bIns="45720" anchor="t"/>
          <a:lstStyle/>
          <a:p>
            <a:pPr marL="0" indent="0">
              <a:buNone/>
            </a:pPr>
            <a:r>
              <a:rPr lang="cs-CZ" sz="2900" b="1">
                <a:solidFill>
                  <a:srgbClr val="034EA2"/>
                </a:solidFill>
                <a:latin typeface="+mj-lt"/>
                <a:ea typeface="Calibri"/>
                <a:cs typeface="Calibri"/>
              </a:rPr>
              <a:t>Strategie regionálního rozvoje ČR 2028+</a:t>
            </a:r>
            <a:endParaRPr lang="cs-CZ" sz="2900">
              <a:solidFill>
                <a:srgbClr val="000000"/>
              </a:solidFill>
              <a:latin typeface="+mj-lt"/>
              <a:ea typeface="Calibri"/>
              <a:cs typeface="Calibri"/>
            </a:endParaRPr>
          </a:p>
          <a:p>
            <a:pPr marL="374650" indent="-374650">
              <a:spcBef>
                <a:spcPts val="0"/>
              </a:spcBef>
            </a:pPr>
            <a:r>
              <a:rPr lang="cs-CZ" sz="2400" b="1">
                <a:solidFill>
                  <a:srgbClr val="034EA2"/>
                </a:solidFill>
                <a:latin typeface="+mj-lt"/>
                <a:ea typeface="+mj-ea"/>
                <a:cs typeface="+mj-cs"/>
              </a:rPr>
              <a:t>Ambice:</a:t>
            </a:r>
            <a:r>
              <a:rPr lang="cs-CZ" sz="2400" b="1"/>
              <a:t> </a:t>
            </a:r>
            <a:r>
              <a:rPr lang="cs-CZ" sz="2400">
                <a:cs typeface="Arial"/>
              </a:rPr>
              <a:t>stanovení hlavních cílů regionální politiky v horizontu 7 až 10 let</a:t>
            </a:r>
          </a:p>
          <a:p>
            <a:pPr marL="374650" indent="-374650">
              <a:spcBef>
                <a:spcPts val="0"/>
              </a:spcBef>
            </a:pPr>
            <a:r>
              <a:rPr lang="cs-CZ" sz="2400" b="1">
                <a:solidFill>
                  <a:srgbClr val="034EA2"/>
                </a:solidFill>
                <a:latin typeface="+mj-lt"/>
                <a:ea typeface="+mj-ea"/>
                <a:cs typeface="+mj-cs"/>
              </a:rPr>
              <a:t>Právní základ: </a:t>
            </a:r>
            <a:r>
              <a:rPr lang="cs-CZ" sz="2400"/>
              <a:t>zákon č. 248/2000 Sb., § 5 až 10</a:t>
            </a:r>
            <a:endParaRPr lang="cs-CZ" sz="2400">
              <a:ea typeface="Calibri"/>
              <a:cs typeface="Calibri"/>
            </a:endParaRPr>
          </a:p>
          <a:p>
            <a:pPr marL="374650" indent="-374650">
              <a:spcBef>
                <a:spcPts val="0"/>
              </a:spcBef>
            </a:pPr>
            <a:r>
              <a:rPr lang="cs-CZ" sz="2400"/>
              <a:t>SRR 28+ bude </a:t>
            </a:r>
            <a:r>
              <a:rPr lang="cs-CZ" sz="2400" b="1"/>
              <a:t>metodicky</a:t>
            </a:r>
            <a:r>
              <a:rPr lang="cs-CZ" sz="2400"/>
              <a:t> a </a:t>
            </a:r>
            <a:r>
              <a:rPr lang="cs-CZ" sz="2400" b="1"/>
              <a:t>obsahově</a:t>
            </a:r>
            <a:r>
              <a:rPr lang="cs-CZ" sz="2400"/>
              <a:t> vycházet ze SRR21+</a:t>
            </a:r>
            <a:endParaRPr lang="cs-CZ" sz="2400">
              <a:ea typeface="Calibri"/>
              <a:cs typeface="Calibri"/>
            </a:endParaRPr>
          </a:p>
          <a:p>
            <a:pPr marL="374650" indent="-374650">
              <a:spcBef>
                <a:spcPts val="0"/>
              </a:spcBef>
            </a:pPr>
            <a:r>
              <a:rPr lang="cs-CZ" sz="2400"/>
              <a:t>SRR 28+ </a:t>
            </a:r>
            <a:endParaRPr lang="cs-CZ" sz="2400">
              <a:ea typeface="Calibri"/>
              <a:cs typeface="Calibri"/>
            </a:endParaRPr>
          </a:p>
          <a:p>
            <a:pPr marL="811530" lvl="1" indent="-311785">
              <a:spcBef>
                <a:spcPts val="0"/>
              </a:spcBef>
            </a:pPr>
            <a:r>
              <a:rPr lang="cs-CZ" sz="1800" b="1"/>
              <a:t>vychází</a:t>
            </a:r>
            <a:r>
              <a:rPr lang="cs-CZ" sz="1800"/>
              <a:t> ze Strategického rámce Česko 2030</a:t>
            </a:r>
            <a:endParaRPr lang="cs-CZ" sz="1800">
              <a:ea typeface="Calibri"/>
              <a:cs typeface="Calibri"/>
            </a:endParaRPr>
          </a:p>
          <a:p>
            <a:pPr marL="811530" lvl="1" indent="-311785">
              <a:spcBef>
                <a:spcPts val="0"/>
              </a:spcBef>
            </a:pPr>
            <a:r>
              <a:rPr lang="cs-CZ" sz="1800" b="1"/>
              <a:t>není</a:t>
            </a:r>
            <a:r>
              <a:rPr lang="cs-CZ" sz="1800"/>
              <a:t> nadřazená ostatním resortním dokumentům, vstupuje do nich při definování územní dimenzí</a:t>
            </a:r>
            <a:endParaRPr lang="cs-CZ" sz="1800">
              <a:ea typeface="Calibri"/>
              <a:cs typeface="Calibri"/>
            </a:endParaRPr>
          </a:p>
          <a:p>
            <a:pPr marL="811530" lvl="1" indent="-311785">
              <a:spcBef>
                <a:spcPts val="0"/>
              </a:spcBef>
            </a:pPr>
            <a:r>
              <a:rPr lang="cs-CZ" sz="1800" b="1"/>
              <a:t>aktuálně: </a:t>
            </a:r>
            <a:r>
              <a:rPr lang="cs-CZ" sz="1800"/>
              <a:t>Interní ladění mezi SRR a NRPP; soulad s PUR / Územně rozvojovým plánem (pojmově, terminologicky); </a:t>
            </a:r>
            <a:endParaRPr lang="cs-CZ" sz="1800">
              <a:ea typeface="Calibri"/>
              <a:cs typeface="Calibri"/>
            </a:endParaRPr>
          </a:p>
          <a:p>
            <a:pPr marL="374650" indent="-374650">
              <a:spcBef>
                <a:spcPts val="0"/>
              </a:spcBef>
            </a:pPr>
            <a:r>
              <a:rPr lang="cs-CZ" sz="2400" b="1">
                <a:solidFill>
                  <a:srgbClr val="034EA2"/>
                </a:solidFill>
                <a:latin typeface="+mj-lt"/>
                <a:ea typeface="+mj-ea"/>
                <a:cs typeface="+mj-cs"/>
              </a:rPr>
              <a:t>Principy implementace: </a:t>
            </a:r>
            <a:r>
              <a:rPr lang="cs-CZ" sz="2400"/>
              <a:t>partnerský přístup, integrované přístupy, územní dimenze</a:t>
            </a:r>
            <a:endParaRPr lang="cs-CZ" sz="2400">
              <a:ea typeface="Calibri"/>
              <a:cs typeface="Calibri"/>
            </a:endParaRPr>
          </a:p>
          <a:p>
            <a:pPr marL="811530" lvl="1" indent="-311785"/>
            <a:endParaRPr lang="cs-CZ" sz="1788">
              <a:ea typeface="Calibri"/>
              <a:cs typeface="Calibri"/>
            </a:endParaRPr>
          </a:p>
          <a:p>
            <a:pPr marL="374650" indent="-374650"/>
            <a:endParaRPr lang="cs-CZ" sz="1788">
              <a:ea typeface="Calibri"/>
              <a:cs typeface="Calibri"/>
            </a:endParaRPr>
          </a:p>
          <a:p>
            <a:pPr marL="374650" indent="-374650"/>
            <a:endParaRPr lang="cs-CZ" sz="1788">
              <a:ea typeface="Calibri"/>
              <a:cs typeface="Calibri"/>
            </a:endParaRPr>
          </a:p>
        </p:txBody>
      </p:sp>
    </p:spTree>
    <p:extLst>
      <p:ext uri="{BB962C8B-B14F-4D97-AF65-F5344CB8AC3E}">
        <p14:creationId xmlns:p14="http://schemas.microsoft.com/office/powerpoint/2010/main" val="22778448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C2A6B27-746A-69A8-B01F-BE7BCC397274}"/>
              </a:ext>
            </a:extLst>
          </p:cNvPr>
          <p:cNvSpPr>
            <a:spLocks noGrp="1"/>
          </p:cNvSpPr>
          <p:nvPr>
            <p:ph type="title"/>
          </p:nvPr>
        </p:nvSpPr>
        <p:spPr/>
        <p:txBody>
          <a:bodyPr>
            <a:normAutofit/>
          </a:bodyPr>
          <a:lstStyle/>
          <a:p>
            <a:r>
              <a:rPr lang="cs-CZ" sz="3600">
                <a:solidFill>
                  <a:srgbClr val="0C4CA3"/>
                </a:solidFill>
                <a:cs typeface="Calibri"/>
              </a:rPr>
              <a:t>Strategie regionálního rozvoje ČR 2028+</a:t>
            </a:r>
          </a:p>
        </p:txBody>
      </p:sp>
      <p:sp>
        <p:nvSpPr>
          <p:cNvPr id="3" name="Zástupný obsah 2">
            <a:extLst>
              <a:ext uri="{FF2B5EF4-FFF2-40B4-BE49-F238E27FC236}">
                <a16:creationId xmlns:a16="http://schemas.microsoft.com/office/drawing/2014/main" id="{7C2EC2BC-38D4-6BEA-03D7-45183B96280A}"/>
              </a:ext>
            </a:extLst>
          </p:cNvPr>
          <p:cNvSpPr>
            <a:spLocks noGrp="1"/>
          </p:cNvSpPr>
          <p:nvPr>
            <p:ph idx="1"/>
          </p:nvPr>
        </p:nvSpPr>
        <p:spPr>
          <a:xfrm>
            <a:off x="495300" y="1505935"/>
            <a:ext cx="8915400" cy="4525963"/>
          </a:xfrm>
        </p:spPr>
        <p:txBody>
          <a:bodyPr/>
          <a:lstStyle/>
          <a:p>
            <a:pPr marL="0" indent="0">
              <a:buNone/>
            </a:pPr>
            <a:r>
              <a:rPr lang="cs-CZ" sz="2800" b="1">
                <a:solidFill>
                  <a:srgbClr val="034EA2"/>
                </a:solidFill>
                <a:latin typeface="+mj-lt"/>
                <a:ea typeface="+mj-ea"/>
                <a:cs typeface="+mj-cs"/>
              </a:rPr>
              <a:t>Harmonogram:</a:t>
            </a:r>
          </a:p>
          <a:p>
            <a:pPr lvl="1"/>
            <a:r>
              <a:rPr lang="cs-CZ" sz="2400" b="1"/>
              <a:t>zahájení: </a:t>
            </a:r>
            <a:r>
              <a:rPr lang="cs-CZ" sz="2400"/>
              <a:t>9/2025</a:t>
            </a:r>
          </a:p>
          <a:p>
            <a:pPr lvl="1"/>
            <a:r>
              <a:rPr lang="cs-CZ" sz="2400" b="1"/>
              <a:t>analytická část: </a:t>
            </a:r>
            <a:r>
              <a:rPr lang="cs-CZ" sz="2400"/>
              <a:t>9-12/2025</a:t>
            </a:r>
          </a:p>
          <a:p>
            <a:pPr lvl="1"/>
            <a:r>
              <a:rPr lang="cs-CZ" sz="2400" b="1"/>
              <a:t>strategická část: </a:t>
            </a:r>
            <a:r>
              <a:rPr lang="cs-CZ" sz="2400"/>
              <a:t>1-6/2026</a:t>
            </a:r>
          </a:p>
          <a:p>
            <a:pPr lvl="1"/>
            <a:r>
              <a:rPr lang="cs-CZ" sz="2400" b="1"/>
              <a:t>1. MPŘ: </a:t>
            </a:r>
            <a:r>
              <a:rPr lang="cs-CZ" sz="2400"/>
              <a:t>léto 2026</a:t>
            </a:r>
          </a:p>
          <a:p>
            <a:pPr lvl="1"/>
            <a:r>
              <a:rPr lang="cs-CZ" sz="2400" b="1"/>
              <a:t>implementační část + AP SRR 28–29: </a:t>
            </a:r>
            <a:r>
              <a:rPr lang="cs-CZ" sz="2400"/>
              <a:t>léto 2026 – jaro 2027</a:t>
            </a:r>
          </a:p>
          <a:p>
            <a:pPr lvl="1"/>
            <a:r>
              <a:rPr lang="cs-CZ" sz="2400" b="1"/>
              <a:t>finální MPŘ: </a:t>
            </a:r>
            <a:r>
              <a:rPr lang="cs-CZ" sz="2400"/>
              <a:t>jaro 2027</a:t>
            </a:r>
          </a:p>
          <a:p>
            <a:pPr lvl="1"/>
            <a:r>
              <a:rPr lang="cs-CZ" sz="2400" b="1"/>
              <a:t>SEA, NATURA: </a:t>
            </a:r>
            <a:r>
              <a:rPr lang="cs-CZ" sz="2400"/>
              <a:t>léto 2027</a:t>
            </a:r>
          </a:p>
          <a:p>
            <a:pPr lvl="1"/>
            <a:r>
              <a:rPr lang="cs-CZ" sz="2400" b="1"/>
              <a:t>schválení vládou ČR: </a:t>
            </a:r>
            <a:r>
              <a:rPr lang="cs-CZ" sz="2400"/>
              <a:t>podzim 2027</a:t>
            </a:r>
          </a:p>
          <a:p>
            <a:pPr lvl="1"/>
            <a:r>
              <a:rPr lang="cs-CZ" sz="2400" b="1"/>
              <a:t>platnost: </a:t>
            </a:r>
            <a:r>
              <a:rPr lang="cs-CZ" sz="2400"/>
              <a:t>od 1. 1. 2028</a:t>
            </a:r>
          </a:p>
        </p:txBody>
      </p:sp>
    </p:spTree>
    <p:extLst>
      <p:ext uri="{BB962C8B-B14F-4D97-AF65-F5344CB8AC3E}">
        <p14:creationId xmlns:p14="http://schemas.microsoft.com/office/powerpoint/2010/main" val="851397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1Oed0J4Q6uZfrvhSrk8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n0SFFaVc6BqF8XC8Ru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oYqkE3wSjrbLI1n6IF.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fyEqjMadM8P5DDICmOv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Uvd5042nZR4JxvqtE9gBA"/>
</p:tagLst>
</file>

<file path=ppt/theme/theme1.xml><?xml version="1.0" encoding="utf-8"?>
<a:theme xmlns:a="http://schemas.openxmlformats.org/drawingml/2006/main" name="Šablona final">
  <a:themeElements>
    <a:clrScheme name="NOK">
      <a:dk1>
        <a:srgbClr val="262626"/>
      </a:dk1>
      <a:lt1>
        <a:sysClr val="window" lastClr="FFFFFF"/>
      </a:lt1>
      <a:dk2>
        <a:srgbClr val="1F497D"/>
      </a:dk2>
      <a:lt2>
        <a:srgbClr val="EEECE1"/>
      </a:lt2>
      <a:accent1>
        <a:srgbClr val="17365D"/>
      </a:accent1>
      <a:accent2>
        <a:srgbClr val="548DD4"/>
      </a:accent2>
      <a:accent3>
        <a:srgbClr val="8DB3E2"/>
      </a:accent3>
      <a:accent4>
        <a:srgbClr val="C6D9F0"/>
      </a:accent4>
      <a:accent5>
        <a:srgbClr val="C6D9F0"/>
      </a:accent5>
      <a:accent6>
        <a:srgbClr val="C6D9F0"/>
      </a:accent6>
      <a:hlink>
        <a:srgbClr val="0000FF"/>
      </a:hlink>
      <a:folHlink>
        <a:srgbClr val="80008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Vlastní návrh">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Vlastní návrh">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otiv Office">
  <a:themeElements>
    <a:clrScheme name="Vlastní 5">
      <a:dk1>
        <a:srgbClr val="000000"/>
      </a:dk1>
      <a:lt1>
        <a:srgbClr val="FFFFFF"/>
      </a:lt1>
      <a:dk2>
        <a:srgbClr val="44546A"/>
      </a:dk2>
      <a:lt2>
        <a:srgbClr val="E7E6E6"/>
      </a:lt2>
      <a:accent1>
        <a:srgbClr val="7F3A7B"/>
      </a:accent1>
      <a:accent2>
        <a:srgbClr val="976195"/>
      </a:accent2>
      <a:accent3>
        <a:srgbClr val="B288AE"/>
      </a:accent3>
      <a:accent4>
        <a:srgbClr val="CAB0CB"/>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eme_v0">
  <a:themeElements>
    <a:clrScheme name="paq">
      <a:dk1>
        <a:srgbClr val="1D2023"/>
      </a:dk1>
      <a:lt1>
        <a:srgbClr val="FFFFFF"/>
      </a:lt1>
      <a:dk2>
        <a:srgbClr val="00254B"/>
      </a:dk2>
      <a:lt2>
        <a:srgbClr val="E7E6E6"/>
      </a:lt2>
      <a:accent1>
        <a:srgbClr val="ECB926"/>
      </a:accent1>
      <a:accent2>
        <a:srgbClr val="00254B"/>
      </a:accent2>
      <a:accent3>
        <a:srgbClr val="FF764B"/>
      </a:accent3>
      <a:accent4>
        <a:srgbClr val="018CFF"/>
      </a:accent4>
      <a:accent5>
        <a:srgbClr val="9CE1FA"/>
      </a:accent5>
      <a:accent6>
        <a:srgbClr val="70AD47"/>
      </a:accent6>
      <a:hlink>
        <a:srgbClr val="5F6970"/>
      </a:hlink>
      <a:folHlink>
        <a:srgbClr val="69747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ch Business Conference by Slidesgo">
  <a:themeElements>
    <a:clrScheme name="Simple Light">
      <a:dk1>
        <a:srgbClr val="2E2E2E"/>
      </a:dk1>
      <a:lt1>
        <a:srgbClr val="F59AFF"/>
      </a:lt1>
      <a:dk2>
        <a:srgbClr val="BA67EF"/>
      </a:dk2>
      <a:lt2>
        <a:srgbClr val="386DFD"/>
      </a:lt2>
      <a:accent1>
        <a:srgbClr val="02F6FF"/>
      </a:accent1>
      <a:accent2>
        <a:srgbClr val="FFFFFF"/>
      </a:accent2>
      <a:accent3>
        <a:srgbClr val="FFFFFF"/>
      </a:accent3>
      <a:accent4>
        <a:srgbClr val="FFFFFF"/>
      </a:accent4>
      <a:accent5>
        <a:srgbClr val="FFFFFF"/>
      </a:accent5>
      <a:accent6>
        <a:srgbClr val="FFFFF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OK">
    <a:dk1>
      <a:srgbClr val="262626"/>
    </a:dk1>
    <a:lt1>
      <a:sysClr val="window" lastClr="FFFFFF"/>
    </a:lt1>
    <a:dk2>
      <a:srgbClr val="1F497D"/>
    </a:dk2>
    <a:lt2>
      <a:srgbClr val="EEECE1"/>
    </a:lt2>
    <a:accent1>
      <a:srgbClr val="17365D"/>
    </a:accent1>
    <a:accent2>
      <a:srgbClr val="548DD4"/>
    </a:accent2>
    <a:accent3>
      <a:srgbClr val="8DB3E2"/>
    </a:accent3>
    <a:accent4>
      <a:srgbClr val="C6D9F0"/>
    </a:accent4>
    <a:accent5>
      <a:srgbClr val="C6D9F0"/>
    </a:accent5>
    <a:accent6>
      <a:srgbClr val="C6D9F0"/>
    </a:accent6>
    <a:hlink>
      <a:srgbClr val="0000FF"/>
    </a:hlink>
    <a:folHlink>
      <a:srgbClr val="800080"/>
    </a:folHlink>
  </a:clrScheme>
</a:themeOverride>
</file>

<file path=ppt/theme/themeOverride2.xml><?xml version="1.0" encoding="utf-8"?>
<a:themeOverride xmlns:a="http://schemas.openxmlformats.org/drawingml/2006/main">
  <a:clrScheme name="NOK">
    <a:dk1>
      <a:srgbClr val="262626"/>
    </a:dk1>
    <a:lt1>
      <a:sysClr val="window" lastClr="FFFFFF"/>
    </a:lt1>
    <a:dk2>
      <a:srgbClr val="1F497D"/>
    </a:dk2>
    <a:lt2>
      <a:srgbClr val="EEECE1"/>
    </a:lt2>
    <a:accent1>
      <a:srgbClr val="17365D"/>
    </a:accent1>
    <a:accent2>
      <a:srgbClr val="548DD4"/>
    </a:accent2>
    <a:accent3>
      <a:srgbClr val="8DB3E2"/>
    </a:accent3>
    <a:accent4>
      <a:srgbClr val="C6D9F0"/>
    </a:accent4>
    <a:accent5>
      <a:srgbClr val="C6D9F0"/>
    </a:accent5>
    <a:accent6>
      <a:srgbClr val="C6D9F0"/>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867a263-4c00-4944-a435-72febfd70997">
      <UserInfo>
        <DisplayName>Pergl Ondřej</DisplayName>
        <AccountId>9</AccountId>
        <AccountType/>
      </UserInfo>
      <UserInfo>
        <DisplayName>Puršl František</DisplayName>
        <AccountId>13</AccountId>
        <AccountType/>
      </UserInfo>
      <UserInfo>
        <DisplayName>Opravil Zdeněk</DisplayName>
        <AccountId>14</AccountId>
        <AccountType/>
      </UserInfo>
      <UserInfo>
        <DisplayName>Kratochvílová Radana</DisplayName>
        <AccountId>11</AccountId>
        <AccountType/>
      </UserInfo>
      <UserInfo>
        <DisplayName>Hanousková Beáta</DisplayName>
        <AccountId>212</AccountId>
        <AccountType/>
      </UserInfo>
      <UserInfo>
        <DisplayName>Karkošková Martina</DisplayName>
        <AccountId>171</AccountId>
        <AccountType/>
      </UserInfo>
      <UserInfo>
        <DisplayName>Nosek Štěpán</DisplayName>
        <AccountId>19</AccountId>
        <AccountType/>
      </UserInfo>
      <UserInfo>
        <DisplayName>Nikischer Richard</DisplayName>
        <AccountId>23</AccountId>
        <AccountType/>
      </UserInfo>
      <UserInfo>
        <DisplayName>Pekárek Aleš</DisplayName>
        <AccountId>205</AccountId>
        <AccountType/>
      </UserInfo>
      <UserInfo>
        <DisplayName>Sokol Daniel</DisplayName>
        <AccountId>62</AccountId>
        <AccountType/>
      </UserInfo>
      <UserInfo>
        <DisplayName>Svojtková Ivana</DisplayName>
        <AccountId>64</AccountId>
        <AccountType/>
      </UserInfo>
      <UserInfo>
        <DisplayName>Moravcová Ivana</DisplayName>
        <AccountId>18</AccountId>
        <AccountType/>
      </UserInfo>
      <UserInfo>
        <DisplayName>Doleželová Sabina</DisplayName>
        <AccountId>692</AccountId>
        <AccountType/>
      </UserInfo>
      <UserInfo>
        <DisplayName>Květoň Viktor</DisplayName>
        <AccountId>852</AccountId>
        <AccountType/>
      </UserInfo>
      <UserInfo>
        <DisplayName>Zezůlková Marie</DisplayName>
        <AccountId>117</AccountId>
        <AccountType/>
      </UserInfo>
      <UserInfo>
        <DisplayName>Matoušek Roman</DisplayName>
        <AccountId>379</AccountId>
        <AccountType/>
      </UserInfo>
      <UserInfo>
        <DisplayName>Gregorová Hana</DisplayName>
        <AccountId>1279</AccountId>
        <AccountType/>
      </UserInfo>
      <UserInfo>
        <DisplayName>Brendzová Alica</DisplayName>
        <AccountId>2050</AccountId>
        <AccountType/>
      </UserInfo>
      <UserInfo>
        <DisplayName>Krauzová Anna</DisplayName>
        <AccountId>762</AccountId>
        <AccountType/>
      </UserInfo>
      <UserInfo>
        <DisplayName>Šťastnová Pavlína</DisplayName>
        <AccountId>1278</AccountId>
        <AccountType/>
      </UserInfo>
      <UserInfo>
        <DisplayName>Novotný Tomáš</DisplayName>
        <AccountId>88</AccountId>
        <AccountType/>
      </UserInfo>
      <UserInfo>
        <DisplayName>Průšová Lenka</DisplayName>
        <AccountId>1711</AccountId>
        <AccountType/>
      </UserInfo>
      <UserInfo>
        <DisplayName>Khendriche-Trhlínová Zuzana</DisplayName>
        <AccountId>2020</AccountId>
        <AccountType/>
      </UserInfo>
      <UserInfo>
        <DisplayName>Vališ Daniel</DisplayName>
        <AccountId>2051</AccountId>
        <AccountType/>
      </UserInfo>
    </SharedWithUsers>
    <MediaLengthInSeconds xmlns="ae529b29-b2bb-4f0f-bf76-47ede62a77b9" xsi:nil="true"/>
    <TaxCatchAll xmlns="a867a263-4c00-4944-a435-72febfd70997" xsi:nil="true"/>
    <lcf76f155ced4ddcb4097134ff3c332f xmlns="ae529b29-b2bb-4f0f-bf76-47ede62a77b9">
      <Terms xmlns="http://schemas.microsoft.com/office/infopath/2007/PartnerControls"/>
    </lcf76f155ced4ddcb4097134ff3c332f>
    <_Flow_SignoffStatus xmlns="ae529b29-b2bb-4f0f-bf76-47ede62a77b9" xsi:nil="true"/>
    <Zpracov_x00e1_no xmlns="ae529b29-b2bb-4f0f-bf76-47ede62a77b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FC60E23A6042254D9AC27A8652D978CA" ma:contentTypeVersion="23" ma:contentTypeDescription="Vytvoří nový dokument" ma:contentTypeScope="" ma:versionID="cfc1c433d9a618593749c3271aa2d136">
  <xsd:schema xmlns:xsd="http://www.w3.org/2001/XMLSchema" xmlns:xs="http://www.w3.org/2001/XMLSchema" xmlns:p="http://schemas.microsoft.com/office/2006/metadata/properties" xmlns:ns2="ae529b29-b2bb-4f0f-bf76-47ede62a77b9" xmlns:ns3="a867a263-4c00-4944-a435-72febfd70997" targetNamespace="http://schemas.microsoft.com/office/2006/metadata/properties" ma:root="true" ma:fieldsID="bca1a7154fc5fa0b41f35d87c812e42e" ns2:_="" ns3:_="">
    <xsd:import namespace="ae529b29-b2bb-4f0f-bf76-47ede62a77b9"/>
    <xsd:import namespace="a867a263-4c00-4944-a435-72febfd7099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_Flow_SignoffStatus" minOccurs="0"/>
                <xsd:element ref="ns2:MediaServiceDateTaken"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Location" minOccurs="0"/>
                <xsd:element ref="ns2:MediaLengthInSeconds" minOccurs="0"/>
                <xsd:element ref="ns3:TaxCatchAll" minOccurs="0"/>
                <xsd:element ref="ns2:lcf76f155ced4ddcb4097134ff3c332f" minOccurs="0"/>
                <xsd:element ref="ns2:MediaServiceObjectDetectorVersions" minOccurs="0"/>
                <xsd:element ref="ns2:MediaServiceSearchProperties" minOccurs="0"/>
                <xsd:element ref="ns2:MediaServiceBillingMetadata" minOccurs="0"/>
                <xsd:element ref="ns2:Zpracov_x00e1_n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529b29-b2bb-4f0f-bf76-47ede62a77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Flow_SignoffStatus" ma:index="12" nillable="true" ma:displayName="Stav odsouhlasení" ma:internalName="Stav_x0020_odsouhlasen_x00ed_">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Značky obrázků" ma:readOnly="false" ma:fieldId="{5cf76f15-5ced-4ddc-b409-7134ff3c332f}" ma:taxonomyMulti="true" ma:sspId="de97acfe-e349-49a2-9112-0b04129138d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BillingMetadata" ma:index="27" nillable="true" ma:displayName="MediaServiceBillingMetadata" ma:hidden="true" ma:internalName="MediaServiceBillingMetadata" ma:readOnly="true">
      <xsd:simpleType>
        <xsd:restriction base="dms:Note"/>
      </xsd:simpleType>
    </xsd:element>
    <xsd:element name="Zpracov_x00e1_no" ma:index="28" nillable="true" ma:displayName="Zpracováno" ma:format="Dropdown" ma:internalName="Zpracov_x00e1_no">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867a263-4c00-4944-a435-72febfd70997" elementFormDefault="qualified">
    <xsd:import namespace="http://schemas.microsoft.com/office/2006/documentManagement/types"/>
    <xsd:import namespace="http://schemas.microsoft.com/office/infopath/2007/PartnerControls"/>
    <xsd:element name="SharedWithUsers" ma:index="10" nillable="true" ma:displayName="Sdílí se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dílené s podrobnostmi" ma:internalName="SharedWithDetails" ma:readOnly="true">
      <xsd:simpleType>
        <xsd:restriction base="dms:Note">
          <xsd:maxLength value="255"/>
        </xsd:restriction>
      </xsd:simpleType>
    </xsd:element>
    <xsd:element name="TaxCatchAll" ma:index="22" nillable="true" ma:displayName="Taxonomy Catch All Column" ma:hidden="true" ma:list="{4b6e955f-6355-4a61-ae3b-658e8d2c932c}" ma:internalName="TaxCatchAll" ma:showField="CatchAllData" ma:web="a867a263-4c00-4944-a435-72febfd7099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84C1EA-91CD-44BE-A075-5363549EF7EE}">
  <ds:schemaRefs>
    <ds:schemaRef ds:uri="http://schemas.openxmlformats.org/package/2006/metadata/core-properties"/>
    <ds:schemaRef ds:uri="http://purl.org/dc/terms/"/>
    <ds:schemaRef ds:uri="http://purl.org/dc/elements/1.1/"/>
    <ds:schemaRef ds:uri="http://www.w3.org/XML/1998/namespace"/>
    <ds:schemaRef ds:uri="http://schemas.microsoft.com/office/2006/documentManagement/types"/>
    <ds:schemaRef ds:uri="http://schemas.microsoft.com/office/2006/metadata/properties"/>
    <ds:schemaRef ds:uri="ae529b29-b2bb-4f0f-bf76-47ede62a77b9"/>
    <ds:schemaRef ds:uri="a867a263-4c00-4944-a435-72febfd70997"/>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1C9E19A8-47D4-42BB-AED8-4EB206095B78}">
  <ds:schemaRefs>
    <ds:schemaRef ds:uri="http://schemas.microsoft.com/sharepoint/v3/contenttype/forms"/>
  </ds:schemaRefs>
</ds:datastoreItem>
</file>

<file path=customXml/itemProps3.xml><?xml version="1.0" encoding="utf-8"?>
<ds:datastoreItem xmlns:ds="http://schemas.openxmlformats.org/officeDocument/2006/customXml" ds:itemID="{36397EA4-FFD5-4ECD-A695-C6BBE653DD2C}">
  <ds:schemaRefs>
    <ds:schemaRef ds:uri="a867a263-4c00-4944-a435-72febfd70997"/>
    <ds:schemaRef ds:uri="ae529b29-b2bb-4f0f-bf76-47ede62a77b9"/>
    <ds:schemaRef ds:uri="http://schemas.microsoft.com/office/2006/metadata/contentType"/>
    <ds:schemaRef ds:uri="http://schemas.microsoft.com/office/2006/metadata/properties/metaAttributes"/>
    <ds:schemaRef ds:uri="http://www.w3.org/2000/xmlns/"/>
    <ds:schemaRef ds:uri="http://www.w3.org/2001/XMLSchema"/>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TotalTime>
  <Words>4986</Words>
  <Application>Microsoft Office PowerPoint</Application>
  <PresentationFormat>A4 (210 × 297 mm)</PresentationFormat>
  <Paragraphs>653</Paragraphs>
  <Slides>71</Slides>
  <Notes>37</Notes>
  <HiddenSlides>0</HiddenSlides>
  <MMClips>0</MMClips>
  <ScaleCrop>false</ScaleCrop>
  <HeadingPairs>
    <vt:vector size="8" baseType="variant">
      <vt:variant>
        <vt:lpstr>Použitá písma</vt:lpstr>
      </vt:variant>
      <vt:variant>
        <vt:i4>19</vt:i4>
      </vt:variant>
      <vt:variant>
        <vt:lpstr>Motiv</vt:lpstr>
      </vt:variant>
      <vt:variant>
        <vt:i4>7</vt:i4>
      </vt:variant>
      <vt:variant>
        <vt:lpstr>Vložené servery OLE</vt:lpstr>
      </vt:variant>
      <vt:variant>
        <vt:i4>1</vt:i4>
      </vt:variant>
      <vt:variant>
        <vt:lpstr>Nadpisy snímků</vt:lpstr>
      </vt:variant>
      <vt:variant>
        <vt:i4>71</vt:i4>
      </vt:variant>
    </vt:vector>
  </HeadingPairs>
  <TitlesOfParts>
    <vt:vector size="98" baseType="lpstr">
      <vt:lpstr>Aptos</vt:lpstr>
      <vt:lpstr>Arial</vt:lpstr>
      <vt:lpstr>Arial,Sans-Serif</vt:lpstr>
      <vt:lpstr>Avenir Next LT Pro</vt:lpstr>
      <vt:lpstr>Avenir Next LT Pro Light</vt:lpstr>
      <vt:lpstr>Calibri</vt:lpstr>
      <vt:lpstr>Calibri Light</vt:lpstr>
      <vt:lpstr>Courier New</vt:lpstr>
      <vt:lpstr>DM Serif Display</vt:lpstr>
      <vt:lpstr>Fira Sans</vt:lpstr>
      <vt:lpstr>IBM Plex Sans</vt:lpstr>
      <vt:lpstr>IBM Plex Sans Medium</vt:lpstr>
      <vt:lpstr>IBM Plex Sans SemiBold</vt:lpstr>
      <vt:lpstr>Inter</vt:lpstr>
      <vt:lpstr>Inter ExtraBold</vt:lpstr>
      <vt:lpstr>Open Sans</vt:lpstr>
      <vt:lpstr>Symbol</vt:lpstr>
      <vt:lpstr>Times New Roman</vt:lpstr>
      <vt:lpstr>Wingdings</vt:lpstr>
      <vt:lpstr>Šablona final</vt:lpstr>
      <vt:lpstr>3_Vlastní návrh</vt:lpstr>
      <vt:lpstr>5_Vlastní návrh</vt:lpstr>
      <vt:lpstr>2_Motiv Office</vt:lpstr>
      <vt:lpstr>Motiv Office</vt:lpstr>
      <vt:lpstr>Theme_v0</vt:lpstr>
      <vt:lpstr>Tech Business Conference by Slidesgo</vt:lpstr>
      <vt:lpstr>think-cell Slide</vt:lpstr>
      <vt:lpstr>Transformační komise </vt:lpstr>
      <vt:lpstr>Program </vt:lpstr>
      <vt:lpstr>Aktuální informace</vt:lpstr>
      <vt:lpstr>Plnění úkolů z TK </vt:lpstr>
      <vt:lpstr>Novinky RE:START</vt:lpstr>
      <vt:lpstr>Novinky RE:START</vt:lpstr>
      <vt:lpstr>Novinky RE:START</vt:lpstr>
      <vt:lpstr>Strategie regionálního rozvoje ČR 2028+</vt:lpstr>
      <vt:lpstr>Strategie regionálního rozvoje ČR 2028+</vt:lpstr>
      <vt:lpstr>            Rozšíření podpory  cestovního ruchu v IROP  </vt:lpstr>
      <vt:lpstr>Výzvy pro cestovní ruch v IROP</vt:lpstr>
      <vt:lpstr>81. výzva – nově rozšířená o Strukturálně postižené kraje (původně jen HSOÚ)</vt:lpstr>
      <vt:lpstr>Podporované aktivity</vt:lpstr>
      <vt:lpstr>Oprávnění žadatelé</vt:lpstr>
      <vt:lpstr>Zvláště chráněná území</vt:lpstr>
      <vt:lpstr>Aktuální stav výzev v cestovním ruchu</vt:lpstr>
      <vt:lpstr>Informace k výzvám</vt:lpstr>
      <vt:lpstr>            Rozšíření podpory  cestovního ruchu v IROP  </vt:lpstr>
      <vt:lpstr>Evropský fond pro hospodářskou, sociální  a územní soudržnost, zemědělství a rozvoj venkova, rybolov a námořní záležitosti,   prosperitu a bezpečnost </vt:lpstr>
      <vt:lpstr>Legislativní balíček pro období 2028–2034</vt:lpstr>
      <vt:lpstr>MMR ve vztahu k legislativě 2028+</vt:lpstr>
      <vt:lpstr>Role MMR pro budoucí období 2028+</vt:lpstr>
      <vt:lpstr>Alokace NRPP pro ČR</vt:lpstr>
      <vt:lpstr>Základní principy NRPP (čl. 21 – 25)</vt:lpstr>
      <vt:lpstr>Pozitivní návrhy z pohledu ČR</vt:lpstr>
      <vt:lpstr>Pozice ČR k návrhům legislativy 2028+</vt:lpstr>
      <vt:lpstr>Pozice ČR k návrhům legislativy 2028+</vt:lpstr>
      <vt:lpstr>RoadMap aktivit</vt:lpstr>
      <vt:lpstr>Územní dimenze u Evropského fondu - obecně</vt:lpstr>
      <vt:lpstr>Čl. 75 Integrated territorial and urban development</vt:lpstr>
      <vt:lpstr>Čl. 76 Community-led local development</vt:lpstr>
      <vt:lpstr>Evropský fond pro konkurenceschopnost</vt:lpstr>
      <vt:lpstr>Evropský fond pro konkurenceschopnost (ECF)</vt:lpstr>
      <vt:lpstr>ECF – možnosti pro české regiony</vt:lpstr>
      <vt:lpstr>ECF: zhodnocení a postoj MMR-ORP</vt:lpstr>
      <vt:lpstr>Růst chudších regionů: investice, motivace, efektivita samospráv a rozvoj služeb</vt:lpstr>
      <vt:lpstr>NERV: Jak posílit prosperitu chudších regionů</vt:lpstr>
      <vt:lpstr>Prezentace aplikace PowerPoint</vt:lpstr>
      <vt:lpstr>Nevyužitý potenciál regionů … .. a nejde jen o HDP (produktivita, vzdělávání, atd.)</vt:lpstr>
      <vt:lpstr>Principy doporučení NERV</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lán pro Regiony příležitostí</vt:lpstr>
      <vt:lpstr>Regiony příležitostí = HSOÚ a SPK  </vt:lpstr>
      <vt:lpstr>Regiony příležitostí – současné nástroje nefungují  </vt:lpstr>
      <vt:lpstr>Plán pro Regiony příležitostí</vt:lpstr>
      <vt:lpstr>Plán pro Regiony příležitostí - co se dělo</vt:lpstr>
      <vt:lpstr>Plán pro Regiony příležitostí</vt:lpstr>
      <vt:lpstr>TO DO list v. 1.0</vt:lpstr>
      <vt:lpstr>TO DO list v. 1.0</vt:lpstr>
      <vt:lpstr>TO DO list v. 1.0 - aktuální stav</vt:lpstr>
      <vt:lpstr>Různé</vt:lpstr>
      <vt:lpstr>Děkujeme za pozornos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ednání sekretariátů RSK</dc:title>
  <dc:creator>Doleželová Sabina</dc:creator>
  <cp:lastModifiedBy>Puršl František</cp:lastModifiedBy>
  <cp:revision>1</cp:revision>
  <cp:lastPrinted>2024-11-19T08:15:08Z</cp:lastPrinted>
  <dcterms:created xsi:type="dcterms:W3CDTF">2022-01-18T13:54:09Z</dcterms:created>
  <dcterms:modified xsi:type="dcterms:W3CDTF">2025-09-15T08:0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60E23A6042254D9AC27A8652D978CA</vt:lpwstr>
  </property>
  <property fmtid="{D5CDD505-2E9C-101B-9397-08002B2CF9AE}" pid="3" name="MediaServiceImageTags">
    <vt:lpwstr/>
  </property>
  <property fmtid="{D5CDD505-2E9C-101B-9397-08002B2CF9AE}" pid="4" name="Order">
    <vt:r8>79378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